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6.xml" ContentType="application/vnd.openxmlformats-officedocument.drawingml.chart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charts/chart9.xml" ContentType="application/vnd.openxmlformats-officedocument.drawingml.chart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charts/chart10.xml" ContentType="application/vnd.openxmlformats-officedocument.drawingml.chart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charts/chart11.xml" ContentType="application/vnd.openxmlformats-officedocument.drawingml.chart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charts/chart12.xml" ContentType="application/vnd.openxmlformats-officedocument.drawingml.chart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charts/chart13.xml" ContentType="application/vnd.openxmlformats-officedocument.drawingml.chart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charts/chart14.xml" ContentType="application/vnd.openxmlformats-officedocument.drawingml.chart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charts/chart15.xml" ContentType="application/vnd.openxmlformats-officedocument.drawingml.chart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6.xml" ContentType="application/vnd.openxmlformats-officedocument.drawingml.chart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charts/chart17.xml" ContentType="application/vnd.openxmlformats-officedocument.drawingml.chart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charts/chart18.xml" ContentType="application/vnd.openxmlformats-officedocument.drawingml.chart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charts/chart19.xml" ContentType="application/vnd.openxmlformats-officedocument.drawingml.chart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charts/chart22.xml" ContentType="application/vnd.openxmlformats-officedocument.drawingml.chart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charts/chart23.xml" ContentType="application/vnd.openxmlformats-officedocument.drawingml.chart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charts/chart24.xml" ContentType="application/vnd.openxmlformats-officedocument.drawingml.chart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charts/chart25.xml" ContentType="application/vnd.openxmlformats-officedocument.drawingml.chart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charts/chart29.xml" ContentType="application/vnd.openxmlformats-officedocument.drawingml.chart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0.xml" ContentType="application/vnd.openxmlformats-officedocument.drawingml.chart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1.xml" ContentType="application/vnd.openxmlformats-officedocument.drawingml.chart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2.xml" ContentType="application/vnd.openxmlformats-officedocument.drawingml.chart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3.xml" ContentType="application/vnd.openxmlformats-officedocument.drawingml.chart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0.xml" ContentType="application/vnd.openxmlformats-officedocument.presentationml.tags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charts/chart34.xml" ContentType="application/vnd.openxmlformats-officedocument.drawingml.chart+xml"/>
  <Override PartName="/ppt/tags/tag1679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tags/tag1682.xml" ContentType="application/vnd.openxmlformats-officedocument.presentationml.tags+xml"/>
  <Override PartName="/ppt/tags/tag1683.xml" ContentType="application/vnd.openxmlformats-officedocument.presentationml.tags+xml"/>
  <Override PartName="/ppt/tags/tag1684.xml" ContentType="application/vnd.openxmlformats-officedocument.presentationml.tags+xml"/>
  <Override PartName="/ppt/tags/tag1685.xml" ContentType="application/vnd.openxmlformats-officedocument.presentationml.tags+xml"/>
  <Override PartName="/ppt/tags/tag1686.xml" ContentType="application/vnd.openxmlformats-officedocument.presentationml.tags+xml"/>
  <Override PartName="/ppt/tags/tag1687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0.xml" ContentType="application/vnd.openxmlformats-officedocument.presentationml.tags+xml"/>
  <Override PartName="/ppt/tags/tag1691.xml" ContentType="application/vnd.openxmlformats-officedocument.presentationml.tags+xml"/>
  <Override PartName="/ppt/tags/tag1692.xml" ContentType="application/vnd.openxmlformats-officedocument.presentationml.tags+xml"/>
  <Override PartName="/ppt/tags/tag1693.xml" ContentType="application/vnd.openxmlformats-officedocument.presentationml.tags+xml"/>
  <Override PartName="/ppt/tags/tag1694.xml" ContentType="application/vnd.openxmlformats-officedocument.presentationml.tags+xml"/>
  <Override PartName="/ppt/tags/tag1695.xml" ContentType="application/vnd.openxmlformats-officedocument.presentationml.tags+xml"/>
  <Override PartName="/ppt/tags/tag1696.xml" ContentType="application/vnd.openxmlformats-officedocument.presentationml.tags+xml"/>
  <Override PartName="/ppt/tags/tag1697.xml" ContentType="application/vnd.openxmlformats-officedocument.presentationml.tags+xml"/>
  <Override PartName="/ppt/tags/tag1698.xml" ContentType="application/vnd.openxmlformats-officedocument.presentationml.tags+xml"/>
  <Override PartName="/ppt/tags/tag1699.xml" ContentType="application/vnd.openxmlformats-officedocument.presentationml.tags+xml"/>
  <Override PartName="/ppt/tags/tag1700.xml" ContentType="application/vnd.openxmlformats-officedocument.presentationml.tags+xml"/>
  <Override PartName="/ppt/tags/tag1701.xml" ContentType="application/vnd.openxmlformats-officedocument.presentationml.tags+xml"/>
  <Override PartName="/ppt/tags/tag170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35.xml" ContentType="application/vnd.openxmlformats-officedocument.drawingml.chart+xml"/>
  <Override PartName="/ppt/tags/tag1703.xml" ContentType="application/vnd.openxmlformats-officedocument.presentationml.tags+xml"/>
  <Override PartName="/ppt/tags/tag1704.xml" ContentType="application/vnd.openxmlformats-officedocument.presentationml.tags+xml"/>
  <Override PartName="/ppt/tags/tag1705.xml" ContentType="application/vnd.openxmlformats-officedocument.presentationml.tags+xml"/>
  <Override PartName="/ppt/tags/tag1706.xml" ContentType="application/vnd.openxmlformats-officedocument.presentationml.tags+xml"/>
  <Override PartName="/ppt/tags/tag1707.xml" ContentType="application/vnd.openxmlformats-officedocument.presentationml.tags+xml"/>
  <Override PartName="/ppt/tags/tag1708.xml" ContentType="application/vnd.openxmlformats-officedocument.presentationml.tags+xml"/>
  <Override PartName="/ppt/tags/tag1709.xml" ContentType="application/vnd.openxmlformats-officedocument.presentationml.tags+xml"/>
  <Override PartName="/ppt/tags/tag1710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14.xml" ContentType="application/vnd.openxmlformats-officedocument.presentationml.tags+xml"/>
  <Override PartName="/ppt/tags/tag1715.xml" ContentType="application/vnd.openxmlformats-officedocument.presentationml.tags+xml"/>
  <Override PartName="/ppt/tags/tag1716.xml" ContentType="application/vnd.openxmlformats-officedocument.presentationml.tags+xml"/>
  <Override PartName="/ppt/tags/tag1717.xml" ContentType="application/vnd.openxmlformats-officedocument.presentationml.tags+xml"/>
  <Override PartName="/ppt/tags/tag1718.xml" ContentType="application/vnd.openxmlformats-officedocument.presentationml.tags+xml"/>
  <Override PartName="/ppt/tags/tag1719.xml" ContentType="application/vnd.openxmlformats-officedocument.presentationml.tags+xml"/>
  <Override PartName="/ppt/tags/tag1720.xml" ContentType="application/vnd.openxmlformats-officedocument.presentationml.tags+xml"/>
  <Override PartName="/ppt/tags/tag172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25.xml" ContentType="application/vnd.openxmlformats-officedocument.presentationml.tags+xml"/>
  <Override PartName="/ppt/tags/tag1726.xml" ContentType="application/vnd.openxmlformats-officedocument.presentationml.tags+xml"/>
  <Override PartName="/ppt/tags/tag1727.xml" ContentType="application/vnd.openxmlformats-officedocument.presentationml.tags+xml"/>
  <Override PartName="/ppt/tags/tag1728.xml" ContentType="application/vnd.openxmlformats-officedocument.presentationml.tags+xml"/>
  <Override PartName="/ppt/tags/tag1729.xml" ContentType="application/vnd.openxmlformats-officedocument.presentationml.tags+xml"/>
  <Override PartName="/ppt/tags/tag1730.xml" ContentType="application/vnd.openxmlformats-officedocument.presentationml.tags+xml"/>
  <Override PartName="/ppt/tags/tag1731.xml" ContentType="application/vnd.openxmlformats-officedocument.presentationml.tags+xml"/>
  <Override PartName="/ppt/tags/tag1732.xml" ContentType="application/vnd.openxmlformats-officedocument.presentationml.tags+xml"/>
  <Override PartName="/ppt/tags/tag1733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37.xml" ContentType="application/vnd.openxmlformats-officedocument.presentationml.tags+xml"/>
  <Override PartName="/ppt/tags/tag1738.xml" ContentType="application/vnd.openxmlformats-officedocument.presentationml.tags+xml"/>
  <Override PartName="/ppt/tags/tag1739.xml" ContentType="application/vnd.openxmlformats-officedocument.presentationml.tags+xml"/>
  <Override PartName="/ppt/tags/tag1740.xml" ContentType="application/vnd.openxmlformats-officedocument.presentationml.tags+xml"/>
  <Override PartName="/ppt/tags/tag1741.xml" ContentType="application/vnd.openxmlformats-officedocument.presentationml.tags+xml"/>
  <Override PartName="/ppt/tags/tag1742.xml" ContentType="application/vnd.openxmlformats-officedocument.presentationml.tags+xml"/>
  <Override PartName="/ppt/tags/tag1743.xml" ContentType="application/vnd.openxmlformats-officedocument.presentationml.tags+xml"/>
  <Override PartName="/ppt/tags/tag1744.xml" ContentType="application/vnd.openxmlformats-officedocument.presentationml.tags+xml"/>
  <Override PartName="/ppt/tags/tag1745.xml" ContentType="application/vnd.openxmlformats-officedocument.presentationml.tags+xml"/>
  <Override PartName="/ppt/tags/tag1746.xml" ContentType="application/vnd.openxmlformats-officedocument.presentationml.tags+xml"/>
  <Override PartName="/ppt/tags/tag1747.xml" ContentType="application/vnd.openxmlformats-officedocument.presentationml.tags+xml"/>
  <Override PartName="/ppt/tags/tag1748.xml" ContentType="application/vnd.openxmlformats-officedocument.presentationml.tags+xml"/>
  <Override PartName="/ppt/tags/tag1749.xml" ContentType="application/vnd.openxmlformats-officedocument.presentationml.tags+xml"/>
  <Override PartName="/ppt/tags/tag1750.xml" ContentType="application/vnd.openxmlformats-officedocument.presentationml.tags+xml"/>
  <Override PartName="/ppt/tags/tag1751.xml" ContentType="application/vnd.openxmlformats-officedocument.presentationml.tags+xml"/>
  <Override PartName="/ppt/tags/tag1752.xml" ContentType="application/vnd.openxmlformats-officedocument.presentationml.tags+xml"/>
  <Override PartName="/ppt/tags/tag1753.xml" ContentType="application/vnd.openxmlformats-officedocument.presentationml.tags+xml"/>
  <Override PartName="/ppt/tags/tag1754.xml" ContentType="application/vnd.openxmlformats-officedocument.presentationml.tags+xml"/>
  <Override PartName="/ppt/tags/tag1755.xml" ContentType="application/vnd.openxmlformats-officedocument.presentationml.tags+xml"/>
  <Override PartName="/ppt/charts/chart36.xml" ContentType="application/vnd.openxmlformats-officedocument.drawingml.chart+xml"/>
  <Override PartName="/ppt/tags/tag1756.xml" ContentType="application/vnd.openxmlformats-officedocument.presentationml.tags+xml"/>
  <Override PartName="/ppt/tags/tag1757.xml" ContentType="application/vnd.openxmlformats-officedocument.presentationml.tags+xml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tags/tag1760.xml" ContentType="application/vnd.openxmlformats-officedocument.presentationml.tags+xml"/>
  <Override PartName="/ppt/tags/tag1761.xml" ContentType="application/vnd.openxmlformats-officedocument.presentationml.tags+xml"/>
  <Override PartName="/ppt/tags/tag1762.xml" ContentType="application/vnd.openxmlformats-officedocument.presentationml.tags+xml"/>
  <Override PartName="/ppt/tags/tag1763.xml" ContentType="application/vnd.openxmlformats-officedocument.presentationml.tags+xml"/>
  <Override PartName="/ppt/tags/tag1764.xml" ContentType="application/vnd.openxmlformats-officedocument.presentationml.tags+xml"/>
  <Override PartName="/ppt/tags/tag1765.xml" ContentType="application/vnd.openxmlformats-officedocument.presentationml.tags+xml"/>
  <Override PartName="/ppt/tags/tag1766.xml" ContentType="application/vnd.openxmlformats-officedocument.presentationml.tags+xml"/>
  <Override PartName="/ppt/tags/tag1767.xml" ContentType="application/vnd.openxmlformats-officedocument.presentationml.tags+xml"/>
  <Override PartName="/ppt/tags/tag1768.xml" ContentType="application/vnd.openxmlformats-officedocument.presentationml.tags+xml"/>
  <Override PartName="/ppt/tags/tag1769.xml" ContentType="application/vnd.openxmlformats-officedocument.presentationml.tags+xml"/>
  <Override PartName="/ppt/tags/tag1770.xml" ContentType="application/vnd.openxmlformats-officedocument.presentationml.tags+xml"/>
  <Override PartName="/ppt/tags/tag1771.xml" ContentType="application/vnd.openxmlformats-officedocument.presentationml.tags+xml"/>
  <Override PartName="/ppt/tags/tag1772.xml" ContentType="application/vnd.openxmlformats-officedocument.presentationml.tags+xml"/>
  <Override PartName="/ppt/tags/tag1773.xml" ContentType="application/vnd.openxmlformats-officedocument.presentationml.tags+xml"/>
  <Override PartName="/ppt/tags/tag1774.xml" ContentType="application/vnd.openxmlformats-officedocument.presentationml.tags+xml"/>
  <Override PartName="/ppt/tags/tag1775.xml" ContentType="application/vnd.openxmlformats-officedocument.presentationml.tags+xml"/>
  <Override PartName="/ppt/tags/tag1776.xml" ContentType="application/vnd.openxmlformats-officedocument.presentationml.tags+xml"/>
  <Override PartName="/ppt/tags/tag1777.xml" ContentType="application/vnd.openxmlformats-officedocument.presentationml.tags+xml"/>
  <Override PartName="/ppt/tags/tag1778.xml" ContentType="application/vnd.openxmlformats-officedocument.presentationml.tags+xml"/>
  <Override PartName="/ppt/tags/tag1779.xml" ContentType="application/vnd.openxmlformats-officedocument.presentationml.tags+xml"/>
  <Override PartName="/ppt/tags/tag1780.xml" ContentType="application/vnd.openxmlformats-officedocument.presentationml.tags+xml"/>
  <Override PartName="/ppt/tags/tag1781.xml" ContentType="application/vnd.openxmlformats-officedocument.presentationml.tags+xml"/>
  <Override PartName="/ppt/tags/tag1782.xml" ContentType="application/vnd.openxmlformats-officedocument.presentationml.tags+xml"/>
  <Override PartName="/ppt/tags/tag1783.xml" ContentType="application/vnd.openxmlformats-officedocument.presentationml.tags+xml"/>
  <Override PartName="/ppt/tags/tag1784.xml" ContentType="application/vnd.openxmlformats-officedocument.presentationml.tags+xml"/>
  <Override PartName="/ppt/tags/tag1785.xml" ContentType="application/vnd.openxmlformats-officedocument.presentationml.tags+xml"/>
  <Override PartName="/ppt/tags/tag1786.xml" ContentType="application/vnd.openxmlformats-officedocument.presentationml.tags+xml"/>
  <Override PartName="/ppt/tags/tag1787.xml" ContentType="application/vnd.openxmlformats-officedocument.presentationml.tags+xml"/>
  <Override PartName="/ppt/tags/tag1788.xml" ContentType="application/vnd.openxmlformats-officedocument.presentationml.tags+xml"/>
  <Override PartName="/ppt/tags/tag1789.xml" ContentType="application/vnd.openxmlformats-officedocument.presentationml.tags+xml"/>
  <Override PartName="/ppt/tags/tag1790.xml" ContentType="application/vnd.openxmlformats-officedocument.presentationml.tags+xml"/>
  <Override PartName="/ppt/tags/tag1791.xml" ContentType="application/vnd.openxmlformats-officedocument.presentationml.tags+xml"/>
  <Override PartName="/ppt/tags/tag1792.xml" ContentType="application/vnd.openxmlformats-officedocument.presentationml.tags+xml"/>
  <Override PartName="/ppt/tags/tag1793.xml" ContentType="application/vnd.openxmlformats-officedocument.presentationml.tags+xml"/>
  <Override PartName="/ppt/tags/tag1794.xml" ContentType="application/vnd.openxmlformats-officedocument.presentationml.tags+xml"/>
  <Override PartName="/ppt/tags/tag1795.xml" ContentType="application/vnd.openxmlformats-officedocument.presentationml.tags+xml"/>
  <Override PartName="/ppt/tags/tag1796.xml" ContentType="application/vnd.openxmlformats-officedocument.presentationml.tags+xml"/>
  <Override PartName="/ppt/tags/tag1797.xml" ContentType="application/vnd.openxmlformats-officedocument.presentationml.tags+xml"/>
  <Override PartName="/ppt/tags/tag1798.xml" ContentType="application/vnd.openxmlformats-officedocument.presentationml.tags+xml"/>
  <Override PartName="/ppt/notesSlides/notesSlide9.xml" ContentType="application/vnd.openxmlformats-officedocument.presentationml.notesSlide+xml"/>
  <Override PartName="/ppt/charts/chart37.xml" ContentType="application/vnd.openxmlformats-officedocument.drawingml.chart+xml"/>
  <Override PartName="/ppt/tags/tag1799.xml" ContentType="application/vnd.openxmlformats-officedocument.presentationml.tags+xml"/>
  <Override PartName="/ppt/tags/tag1800.xml" ContentType="application/vnd.openxmlformats-officedocument.presentationml.tags+xml"/>
  <Override PartName="/ppt/tags/tag1801.xml" ContentType="application/vnd.openxmlformats-officedocument.presentationml.tags+xml"/>
  <Override PartName="/ppt/tags/tag1802.xml" ContentType="application/vnd.openxmlformats-officedocument.presentationml.tags+xml"/>
  <Override PartName="/ppt/tags/tag1803.xml" ContentType="application/vnd.openxmlformats-officedocument.presentationml.tags+xml"/>
  <Override PartName="/ppt/tags/tag1804.xml" ContentType="application/vnd.openxmlformats-officedocument.presentationml.tags+xml"/>
  <Override PartName="/ppt/tags/tag1805.xml" ContentType="application/vnd.openxmlformats-officedocument.presentationml.tags+xml"/>
  <Override PartName="/ppt/tags/tag1806.xml" ContentType="application/vnd.openxmlformats-officedocument.presentationml.tags+xml"/>
  <Override PartName="/ppt/tags/tag1807.xml" ContentType="application/vnd.openxmlformats-officedocument.presentationml.tags+xml"/>
  <Override PartName="/ppt/tags/tag1808.xml" ContentType="application/vnd.openxmlformats-officedocument.presentationml.tags+xml"/>
  <Override PartName="/ppt/tags/tag1809.xml" ContentType="application/vnd.openxmlformats-officedocument.presentationml.tags+xml"/>
  <Override PartName="/ppt/tags/tag1810.xml" ContentType="application/vnd.openxmlformats-officedocument.presentationml.tags+xml"/>
  <Override PartName="/ppt/tags/tag1811.xml" ContentType="application/vnd.openxmlformats-officedocument.presentationml.tags+xml"/>
  <Override PartName="/ppt/tags/tag1812.xml" ContentType="application/vnd.openxmlformats-officedocument.presentationml.tags+xml"/>
  <Override PartName="/ppt/tags/tag1813.xml" ContentType="application/vnd.openxmlformats-officedocument.presentationml.tags+xml"/>
  <Override PartName="/ppt/tags/tag1814.xml" ContentType="application/vnd.openxmlformats-officedocument.presentationml.tags+xml"/>
  <Override PartName="/ppt/tags/tag1815.xml" ContentType="application/vnd.openxmlformats-officedocument.presentationml.tags+xml"/>
  <Override PartName="/ppt/tags/tag1816.xml" ContentType="application/vnd.openxmlformats-officedocument.presentationml.tags+xml"/>
  <Override PartName="/ppt/tags/tag1817.xml" ContentType="application/vnd.openxmlformats-officedocument.presentationml.tags+xml"/>
  <Override PartName="/ppt/tags/tag1818.xml" ContentType="application/vnd.openxmlformats-officedocument.presentationml.tags+xml"/>
  <Override PartName="/ppt/tags/tag1819.xml" ContentType="application/vnd.openxmlformats-officedocument.presentationml.tags+xml"/>
  <Override PartName="/ppt/tags/tag1820.xml" ContentType="application/vnd.openxmlformats-officedocument.presentationml.tags+xml"/>
  <Override PartName="/ppt/tags/tag1821.xml" ContentType="application/vnd.openxmlformats-officedocument.presentationml.tags+xml"/>
  <Override PartName="/ppt/tags/tag1822.xml" ContentType="application/vnd.openxmlformats-officedocument.presentationml.tags+xml"/>
  <Override PartName="/ppt/tags/tag1823.xml" ContentType="application/vnd.openxmlformats-officedocument.presentationml.tags+xml"/>
  <Override PartName="/ppt/tags/tag1824.xml" ContentType="application/vnd.openxmlformats-officedocument.presentationml.tags+xml"/>
  <Override PartName="/ppt/tags/tag1825.xml" ContentType="application/vnd.openxmlformats-officedocument.presentationml.tags+xml"/>
  <Override PartName="/ppt/tags/tag1826.xml" ContentType="application/vnd.openxmlformats-officedocument.presentationml.tags+xml"/>
  <Override PartName="/ppt/tags/tag1827.xml" ContentType="application/vnd.openxmlformats-officedocument.presentationml.tags+xml"/>
  <Override PartName="/ppt/tags/tag1828.xml" ContentType="application/vnd.openxmlformats-officedocument.presentationml.tags+xml"/>
  <Override PartName="/ppt/tags/tag1829.xml" ContentType="application/vnd.openxmlformats-officedocument.presentationml.tags+xml"/>
  <Override PartName="/ppt/tags/tag1830.xml" ContentType="application/vnd.openxmlformats-officedocument.presentationml.tags+xml"/>
  <Override PartName="/ppt/tags/tag1831.xml" ContentType="application/vnd.openxmlformats-officedocument.presentationml.tags+xml"/>
  <Override PartName="/ppt/tags/tag1832.xml" ContentType="application/vnd.openxmlformats-officedocument.presentationml.tags+xml"/>
  <Override PartName="/ppt/tags/tag1833.xml" ContentType="application/vnd.openxmlformats-officedocument.presentationml.tags+xml"/>
  <Override PartName="/ppt/tags/tag1834.xml" ContentType="application/vnd.openxmlformats-officedocument.presentationml.tags+xml"/>
  <Override PartName="/ppt/tags/tag1835.xml" ContentType="application/vnd.openxmlformats-officedocument.presentationml.tags+xml"/>
  <Override PartName="/ppt/tags/tag1836.xml" ContentType="application/vnd.openxmlformats-officedocument.presentationml.tags+xml"/>
  <Override PartName="/ppt/tags/tag1837.xml" ContentType="application/vnd.openxmlformats-officedocument.presentationml.tags+xml"/>
  <Override PartName="/ppt/tags/tag1838.xml" ContentType="application/vnd.openxmlformats-officedocument.presentationml.tags+xml"/>
  <Override PartName="/ppt/tags/tag1839.xml" ContentType="application/vnd.openxmlformats-officedocument.presentationml.tags+xml"/>
  <Override PartName="/ppt/tags/tag1840.xml" ContentType="application/vnd.openxmlformats-officedocument.presentationml.tags+xml"/>
  <Override PartName="/ppt/tags/tag1841.xml" ContentType="application/vnd.openxmlformats-officedocument.presentationml.tags+xml"/>
  <Override PartName="/ppt/tags/tag1842.xml" ContentType="application/vnd.openxmlformats-officedocument.presentationml.tags+xml"/>
  <Override PartName="/ppt/tags/tag1843.xml" ContentType="application/vnd.openxmlformats-officedocument.presentationml.tags+xml"/>
  <Override PartName="/ppt/tags/tag1844.xml" ContentType="application/vnd.openxmlformats-officedocument.presentationml.tags+xml"/>
  <Override PartName="/ppt/tags/tag1845.xml" ContentType="application/vnd.openxmlformats-officedocument.presentationml.tags+xml"/>
  <Override PartName="/ppt/tags/tag1846.xml" ContentType="application/vnd.openxmlformats-officedocument.presentationml.tags+xml"/>
  <Override PartName="/ppt/tags/tag1847.xml" ContentType="application/vnd.openxmlformats-officedocument.presentationml.tags+xml"/>
  <Override PartName="/ppt/tags/tag1848.xml" ContentType="application/vnd.openxmlformats-officedocument.presentationml.tags+xml"/>
  <Override PartName="/ppt/tags/tag1849.xml" ContentType="application/vnd.openxmlformats-officedocument.presentationml.tags+xml"/>
  <Override PartName="/ppt/charts/chart38.xml" ContentType="application/vnd.openxmlformats-officedocument.drawingml.chart+xml"/>
  <Override PartName="/ppt/tags/tag1850.xml" ContentType="application/vnd.openxmlformats-officedocument.presentationml.tags+xml"/>
  <Override PartName="/ppt/tags/tag1851.xml" ContentType="application/vnd.openxmlformats-officedocument.presentationml.tags+xml"/>
  <Override PartName="/ppt/tags/tag1852.xml" ContentType="application/vnd.openxmlformats-officedocument.presentationml.tags+xml"/>
  <Override PartName="/ppt/tags/tag1853.xml" ContentType="application/vnd.openxmlformats-officedocument.presentationml.tags+xml"/>
  <Override PartName="/ppt/tags/tag1854.xml" ContentType="application/vnd.openxmlformats-officedocument.presentationml.tags+xml"/>
  <Override PartName="/ppt/tags/tag1855.xml" ContentType="application/vnd.openxmlformats-officedocument.presentationml.tags+xml"/>
  <Override PartName="/ppt/tags/tag1856.xml" ContentType="application/vnd.openxmlformats-officedocument.presentationml.tags+xml"/>
  <Override PartName="/ppt/tags/tag1857.xml" ContentType="application/vnd.openxmlformats-officedocument.presentationml.tags+xml"/>
  <Override PartName="/ppt/tags/tag1858.xml" ContentType="application/vnd.openxmlformats-officedocument.presentationml.tags+xml"/>
  <Override PartName="/ppt/tags/tag1859.xml" ContentType="application/vnd.openxmlformats-officedocument.presentationml.tags+xml"/>
  <Override PartName="/ppt/tags/tag1860.xml" ContentType="application/vnd.openxmlformats-officedocument.presentationml.tags+xml"/>
  <Override PartName="/ppt/tags/tag1861.xml" ContentType="application/vnd.openxmlformats-officedocument.presentationml.tags+xml"/>
  <Override PartName="/ppt/tags/tag1862.xml" ContentType="application/vnd.openxmlformats-officedocument.presentationml.tags+xml"/>
  <Override PartName="/ppt/tags/tag1863.xml" ContentType="application/vnd.openxmlformats-officedocument.presentationml.tags+xml"/>
  <Override PartName="/ppt/tags/tag1864.xml" ContentType="application/vnd.openxmlformats-officedocument.presentationml.tags+xml"/>
  <Override PartName="/ppt/tags/tag1865.xml" ContentType="application/vnd.openxmlformats-officedocument.presentationml.tags+xml"/>
  <Override PartName="/ppt/tags/tag1866.xml" ContentType="application/vnd.openxmlformats-officedocument.presentationml.tags+xml"/>
  <Override PartName="/ppt/tags/tag1867.xml" ContentType="application/vnd.openxmlformats-officedocument.presentationml.tags+xml"/>
  <Override PartName="/ppt/tags/tag1868.xml" ContentType="application/vnd.openxmlformats-officedocument.presentationml.tags+xml"/>
  <Override PartName="/ppt/tags/tag1869.xml" ContentType="application/vnd.openxmlformats-officedocument.presentationml.tags+xml"/>
  <Override PartName="/ppt/tags/tag1870.xml" ContentType="application/vnd.openxmlformats-officedocument.presentationml.tags+xml"/>
  <Override PartName="/ppt/tags/tag1871.xml" ContentType="application/vnd.openxmlformats-officedocument.presentationml.tags+xml"/>
  <Override PartName="/ppt/tags/tag1872.xml" ContentType="application/vnd.openxmlformats-officedocument.presentationml.tags+xml"/>
  <Override PartName="/ppt/tags/tag1873.xml" ContentType="application/vnd.openxmlformats-officedocument.presentationml.tags+xml"/>
  <Override PartName="/ppt/tags/tag1874.xml" ContentType="application/vnd.openxmlformats-officedocument.presentationml.tags+xml"/>
  <Override PartName="/ppt/tags/tag1875.xml" ContentType="application/vnd.openxmlformats-officedocument.presentationml.tags+xml"/>
  <Override PartName="/ppt/tags/tag1876.xml" ContentType="application/vnd.openxmlformats-officedocument.presentationml.tags+xml"/>
  <Override PartName="/ppt/tags/tag1877.xml" ContentType="application/vnd.openxmlformats-officedocument.presentationml.tags+xml"/>
  <Override PartName="/ppt/tags/tag1878.xml" ContentType="application/vnd.openxmlformats-officedocument.presentationml.tags+xml"/>
  <Override PartName="/ppt/tags/tag1879.xml" ContentType="application/vnd.openxmlformats-officedocument.presentationml.tags+xml"/>
  <Override PartName="/ppt/tags/tag1880.xml" ContentType="application/vnd.openxmlformats-officedocument.presentationml.tags+xml"/>
  <Override PartName="/ppt/tags/tag1881.xml" ContentType="application/vnd.openxmlformats-officedocument.presentationml.tags+xml"/>
  <Override PartName="/ppt/tags/tag1882.xml" ContentType="application/vnd.openxmlformats-officedocument.presentationml.tags+xml"/>
  <Override PartName="/ppt/tags/tag1883.xml" ContentType="application/vnd.openxmlformats-officedocument.presentationml.tags+xml"/>
  <Override PartName="/ppt/tags/tag1884.xml" ContentType="application/vnd.openxmlformats-officedocument.presentationml.tags+xml"/>
  <Override PartName="/ppt/tags/tag1885.xml" ContentType="application/vnd.openxmlformats-officedocument.presentationml.tags+xml"/>
  <Override PartName="/ppt/tags/tag1886.xml" ContentType="application/vnd.openxmlformats-officedocument.presentationml.tags+xml"/>
  <Override PartName="/ppt/tags/tag1887.xml" ContentType="application/vnd.openxmlformats-officedocument.presentationml.tags+xml"/>
  <Override PartName="/ppt/tags/tag1888.xml" ContentType="application/vnd.openxmlformats-officedocument.presentationml.tags+xml"/>
  <Override PartName="/ppt/tags/tag1889.xml" ContentType="application/vnd.openxmlformats-officedocument.presentationml.tags+xml"/>
  <Override PartName="/ppt/tags/tag1890.xml" ContentType="application/vnd.openxmlformats-officedocument.presentationml.tags+xml"/>
  <Override PartName="/ppt/tags/tag1891.xml" ContentType="application/vnd.openxmlformats-officedocument.presentationml.tags+xml"/>
  <Override PartName="/ppt/tags/tag1892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39.xml" ContentType="application/vnd.openxmlformats-officedocument.drawingml.chart+xml"/>
  <Override PartName="/ppt/tags/tag1893.xml" ContentType="application/vnd.openxmlformats-officedocument.presentationml.tags+xml"/>
  <Override PartName="/ppt/tags/tag1894.xml" ContentType="application/vnd.openxmlformats-officedocument.presentationml.tags+xml"/>
  <Override PartName="/ppt/tags/tag1895.xml" ContentType="application/vnd.openxmlformats-officedocument.presentationml.tags+xml"/>
  <Override PartName="/ppt/tags/tag1896.xml" ContentType="application/vnd.openxmlformats-officedocument.presentationml.tags+xml"/>
  <Override PartName="/ppt/tags/tag1897.xml" ContentType="application/vnd.openxmlformats-officedocument.presentationml.tags+xml"/>
  <Override PartName="/ppt/tags/tag1898.xml" ContentType="application/vnd.openxmlformats-officedocument.presentationml.tags+xml"/>
  <Override PartName="/ppt/tags/tag1899.xml" ContentType="application/vnd.openxmlformats-officedocument.presentationml.tags+xml"/>
  <Override PartName="/ppt/tags/tag1900.xml" ContentType="application/vnd.openxmlformats-officedocument.presentationml.tags+xml"/>
  <Override PartName="/ppt/tags/tag1901.xml" ContentType="application/vnd.openxmlformats-officedocument.presentationml.tags+xml"/>
  <Override PartName="/ppt/tags/tag1902.xml" ContentType="application/vnd.openxmlformats-officedocument.presentationml.tags+xml"/>
  <Override PartName="/ppt/tags/tag1903.xml" ContentType="application/vnd.openxmlformats-officedocument.presentationml.tags+xml"/>
  <Override PartName="/ppt/tags/tag1904.xml" ContentType="application/vnd.openxmlformats-officedocument.presentationml.tags+xml"/>
  <Override PartName="/ppt/tags/tag1905.xml" ContentType="application/vnd.openxmlformats-officedocument.presentationml.tags+xml"/>
  <Override PartName="/ppt/tags/tag1906.xml" ContentType="application/vnd.openxmlformats-officedocument.presentationml.tags+xml"/>
  <Override PartName="/ppt/tags/tag1907.xml" ContentType="application/vnd.openxmlformats-officedocument.presentationml.tags+xml"/>
  <Override PartName="/ppt/tags/tag1908.xml" ContentType="application/vnd.openxmlformats-officedocument.presentationml.tags+xml"/>
  <Override PartName="/ppt/tags/tag1909.xml" ContentType="application/vnd.openxmlformats-officedocument.presentationml.tags+xml"/>
  <Override PartName="/ppt/tags/tag1910.xml" ContentType="application/vnd.openxmlformats-officedocument.presentationml.tags+xml"/>
  <Override PartName="/ppt/tags/tag1911.xml" ContentType="application/vnd.openxmlformats-officedocument.presentationml.tags+xml"/>
  <Override PartName="/ppt/tags/tag1912.xml" ContentType="application/vnd.openxmlformats-officedocument.presentationml.tags+xml"/>
  <Override PartName="/ppt/tags/tag1913.xml" ContentType="application/vnd.openxmlformats-officedocument.presentationml.tags+xml"/>
  <Override PartName="/ppt/tags/tag1914.xml" ContentType="application/vnd.openxmlformats-officedocument.presentationml.tags+xml"/>
  <Override PartName="/ppt/tags/tag1915.xml" ContentType="application/vnd.openxmlformats-officedocument.presentationml.tags+xml"/>
  <Override PartName="/ppt/tags/tag1916.xml" ContentType="application/vnd.openxmlformats-officedocument.presentationml.tags+xml"/>
  <Override PartName="/ppt/tags/tag1917.xml" ContentType="application/vnd.openxmlformats-officedocument.presentationml.tags+xml"/>
  <Override PartName="/ppt/tags/tag1918.xml" ContentType="application/vnd.openxmlformats-officedocument.presentationml.tags+xml"/>
  <Override PartName="/ppt/tags/tag1919.xml" ContentType="application/vnd.openxmlformats-officedocument.presentationml.tags+xml"/>
  <Override PartName="/ppt/tags/tag1920.xml" ContentType="application/vnd.openxmlformats-officedocument.presentationml.tags+xml"/>
  <Override PartName="/ppt/tags/tag1921.xml" ContentType="application/vnd.openxmlformats-officedocument.presentationml.tags+xml"/>
  <Override PartName="/ppt/tags/tag1922.xml" ContentType="application/vnd.openxmlformats-officedocument.presentationml.tags+xml"/>
  <Override PartName="/ppt/tags/tag1923.xml" ContentType="application/vnd.openxmlformats-officedocument.presentationml.tags+xml"/>
  <Override PartName="/ppt/tags/tag1924.xml" ContentType="application/vnd.openxmlformats-officedocument.presentationml.tags+xml"/>
  <Override PartName="/ppt/tags/tag1925.xml" ContentType="application/vnd.openxmlformats-officedocument.presentationml.tags+xml"/>
  <Override PartName="/ppt/tags/tag1926.xml" ContentType="application/vnd.openxmlformats-officedocument.presentationml.tags+xml"/>
  <Override PartName="/ppt/tags/tag1927.xml" ContentType="application/vnd.openxmlformats-officedocument.presentationml.tags+xml"/>
  <Override PartName="/ppt/tags/tag1928.xml" ContentType="application/vnd.openxmlformats-officedocument.presentationml.tags+xml"/>
  <Override PartName="/ppt/tags/tag1929.xml" ContentType="application/vnd.openxmlformats-officedocument.presentationml.tags+xml"/>
  <Override PartName="/ppt/tags/tag1930.xml" ContentType="application/vnd.openxmlformats-officedocument.presentationml.tags+xml"/>
  <Override PartName="/ppt/tags/tag1931.xml" ContentType="application/vnd.openxmlformats-officedocument.presentationml.tags+xml"/>
  <Override PartName="/ppt/tags/tag1932.xml" ContentType="application/vnd.openxmlformats-officedocument.presentationml.tags+xml"/>
  <Override PartName="/ppt/tags/tag1933.xml" ContentType="application/vnd.openxmlformats-officedocument.presentationml.tags+xml"/>
  <Override PartName="/ppt/tags/tag1934.xml" ContentType="application/vnd.openxmlformats-officedocument.presentationml.tags+xml"/>
  <Override PartName="/ppt/tags/tag1935.xml" ContentType="application/vnd.openxmlformats-officedocument.presentationml.tags+xml"/>
  <Override PartName="/ppt/tags/tag1936.xml" ContentType="application/vnd.openxmlformats-officedocument.presentationml.tags+xml"/>
  <Override PartName="/ppt/tags/tag1937.xml" ContentType="application/vnd.openxmlformats-officedocument.presentationml.tags+xml"/>
  <Override PartName="/ppt/tags/tag1938.xml" ContentType="application/vnd.openxmlformats-officedocument.presentationml.tags+xml"/>
  <Override PartName="/ppt/tags/tag1939.xml" ContentType="application/vnd.openxmlformats-officedocument.presentationml.tags+xml"/>
  <Override PartName="/ppt/charts/chart40.xml" ContentType="application/vnd.openxmlformats-officedocument.drawingml.chart+xml"/>
  <Override PartName="/ppt/tags/tag1940.xml" ContentType="application/vnd.openxmlformats-officedocument.presentationml.tags+xml"/>
  <Override PartName="/ppt/tags/tag1941.xml" ContentType="application/vnd.openxmlformats-officedocument.presentationml.tags+xml"/>
  <Override PartName="/ppt/tags/tag1942.xml" ContentType="application/vnd.openxmlformats-officedocument.presentationml.tags+xml"/>
  <Override PartName="/ppt/tags/tag1943.xml" ContentType="application/vnd.openxmlformats-officedocument.presentationml.tags+xml"/>
  <Override PartName="/ppt/tags/tag1944.xml" ContentType="application/vnd.openxmlformats-officedocument.presentationml.tags+xml"/>
  <Override PartName="/ppt/tags/tag1945.xml" ContentType="application/vnd.openxmlformats-officedocument.presentationml.tags+xml"/>
  <Override PartName="/ppt/tags/tag1946.xml" ContentType="application/vnd.openxmlformats-officedocument.presentationml.tags+xml"/>
  <Override PartName="/ppt/tags/tag1947.xml" ContentType="application/vnd.openxmlformats-officedocument.presentationml.tags+xml"/>
  <Override PartName="/ppt/tags/tag1948.xml" ContentType="application/vnd.openxmlformats-officedocument.presentationml.tags+xml"/>
  <Override PartName="/ppt/tags/tag1949.xml" ContentType="application/vnd.openxmlformats-officedocument.presentationml.tags+xml"/>
  <Override PartName="/ppt/tags/tag1950.xml" ContentType="application/vnd.openxmlformats-officedocument.presentationml.tags+xml"/>
  <Override PartName="/ppt/tags/tag1951.xml" ContentType="application/vnd.openxmlformats-officedocument.presentationml.tags+xml"/>
  <Override PartName="/ppt/tags/tag1952.xml" ContentType="application/vnd.openxmlformats-officedocument.presentationml.tags+xml"/>
  <Override PartName="/ppt/tags/tag1953.xml" ContentType="application/vnd.openxmlformats-officedocument.presentationml.tags+xml"/>
  <Override PartName="/ppt/tags/tag1954.xml" ContentType="application/vnd.openxmlformats-officedocument.presentationml.tags+xml"/>
  <Override PartName="/ppt/tags/tag1955.xml" ContentType="application/vnd.openxmlformats-officedocument.presentationml.tags+xml"/>
  <Override PartName="/ppt/tags/tag1956.xml" ContentType="application/vnd.openxmlformats-officedocument.presentationml.tags+xml"/>
  <Override PartName="/ppt/tags/tag1957.xml" ContentType="application/vnd.openxmlformats-officedocument.presentationml.tags+xml"/>
  <Override PartName="/ppt/tags/tag1958.xml" ContentType="application/vnd.openxmlformats-officedocument.presentationml.tags+xml"/>
  <Override PartName="/ppt/tags/tag1959.xml" ContentType="application/vnd.openxmlformats-officedocument.presentationml.tags+xml"/>
  <Override PartName="/ppt/tags/tag1960.xml" ContentType="application/vnd.openxmlformats-officedocument.presentationml.tags+xml"/>
  <Override PartName="/ppt/tags/tag1961.xml" ContentType="application/vnd.openxmlformats-officedocument.presentationml.tags+xml"/>
  <Override PartName="/ppt/tags/tag1962.xml" ContentType="application/vnd.openxmlformats-officedocument.presentationml.tags+xml"/>
  <Override PartName="/ppt/tags/tag1963.xml" ContentType="application/vnd.openxmlformats-officedocument.presentationml.tags+xml"/>
  <Override PartName="/ppt/tags/tag1964.xml" ContentType="application/vnd.openxmlformats-officedocument.presentationml.tags+xml"/>
  <Override PartName="/ppt/tags/tag1965.xml" ContentType="application/vnd.openxmlformats-officedocument.presentationml.tags+xml"/>
  <Override PartName="/ppt/tags/tag1966.xml" ContentType="application/vnd.openxmlformats-officedocument.presentationml.tags+xml"/>
  <Override PartName="/ppt/tags/tag1967.xml" ContentType="application/vnd.openxmlformats-officedocument.presentationml.tags+xml"/>
  <Override PartName="/ppt/tags/tag1968.xml" ContentType="application/vnd.openxmlformats-officedocument.presentationml.tags+xml"/>
  <Override PartName="/ppt/tags/tag1969.xml" ContentType="application/vnd.openxmlformats-officedocument.presentationml.tags+xml"/>
  <Override PartName="/ppt/tags/tag1970.xml" ContentType="application/vnd.openxmlformats-officedocument.presentationml.tags+xml"/>
  <Override PartName="/ppt/tags/tag1971.xml" ContentType="application/vnd.openxmlformats-officedocument.presentationml.tags+xml"/>
  <Override PartName="/ppt/tags/tag1972.xml" ContentType="application/vnd.openxmlformats-officedocument.presentationml.tags+xml"/>
  <Override PartName="/ppt/tags/tag1973.xml" ContentType="application/vnd.openxmlformats-officedocument.presentationml.tags+xml"/>
  <Override PartName="/ppt/charts/chart41.xml" ContentType="application/vnd.openxmlformats-officedocument.drawingml.chart+xml"/>
  <Override PartName="/ppt/tags/tag1974.xml" ContentType="application/vnd.openxmlformats-officedocument.presentationml.tags+xml"/>
  <Override PartName="/ppt/tags/tag197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00" r:id="rId4"/>
    <p:sldMasterId id="2147483826" r:id="rId5"/>
  </p:sldMasterIdLst>
  <p:notesMasterIdLst>
    <p:notesMasterId r:id="rId51"/>
  </p:notesMasterIdLst>
  <p:handoutMasterIdLst>
    <p:handoutMasterId r:id="rId52"/>
  </p:handoutMasterIdLst>
  <p:sldIdLst>
    <p:sldId id="271" r:id="rId6"/>
    <p:sldId id="448" r:id="rId7"/>
    <p:sldId id="363" r:id="rId8"/>
    <p:sldId id="365" r:id="rId9"/>
    <p:sldId id="435" r:id="rId10"/>
    <p:sldId id="436" r:id="rId11"/>
    <p:sldId id="323" r:id="rId12"/>
    <p:sldId id="326" r:id="rId13"/>
    <p:sldId id="327" r:id="rId14"/>
    <p:sldId id="328" r:id="rId15"/>
    <p:sldId id="441" r:id="rId16"/>
    <p:sldId id="444" r:id="rId17"/>
    <p:sldId id="337" r:id="rId18"/>
    <p:sldId id="806" r:id="rId19"/>
    <p:sldId id="803" r:id="rId20"/>
    <p:sldId id="374" r:id="rId21"/>
    <p:sldId id="452" r:id="rId22"/>
    <p:sldId id="805" r:id="rId23"/>
    <p:sldId id="454" r:id="rId24"/>
    <p:sldId id="338" r:id="rId25"/>
    <p:sldId id="339" r:id="rId26"/>
    <p:sldId id="340" r:id="rId27"/>
    <p:sldId id="341" r:id="rId28"/>
    <p:sldId id="438" r:id="rId29"/>
    <p:sldId id="344" r:id="rId30"/>
    <p:sldId id="447" r:id="rId31"/>
    <p:sldId id="347" r:id="rId32"/>
    <p:sldId id="439" r:id="rId33"/>
    <p:sldId id="442" r:id="rId34"/>
    <p:sldId id="349" r:id="rId35"/>
    <p:sldId id="440" r:id="rId36"/>
    <p:sldId id="350" r:id="rId37"/>
    <p:sldId id="352" r:id="rId38"/>
    <p:sldId id="419" r:id="rId39"/>
    <p:sldId id="422" r:id="rId40"/>
    <p:sldId id="807" r:id="rId41"/>
    <p:sldId id="425" r:id="rId42"/>
    <p:sldId id="426" r:id="rId43"/>
    <p:sldId id="428" r:id="rId44"/>
    <p:sldId id="429" r:id="rId45"/>
    <p:sldId id="456" r:id="rId46"/>
    <p:sldId id="582" r:id="rId47"/>
    <p:sldId id="585" r:id="rId48"/>
    <p:sldId id="416" r:id="rId49"/>
    <p:sldId id="802" r:id="rId50"/>
  </p:sldIdLst>
  <p:sldSz cx="12192000" cy="6858000"/>
  <p:notesSz cx="7023100" cy="9309100"/>
  <p:custDataLst>
    <p:tags r:id="rId5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4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9C2CE"/>
    <a:srgbClr val="616161"/>
    <a:srgbClr val="007770"/>
    <a:srgbClr val="51A29D"/>
    <a:srgbClr val="C30C3E"/>
    <a:srgbClr val="2CB3E5"/>
    <a:srgbClr val="FFCCCC"/>
    <a:srgbClr val="D6D7D9"/>
    <a:srgbClr val="C00000"/>
    <a:srgbClr val="0055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73" autoAdjust="0"/>
    <p:restoredTop sz="95909" autoAdjust="0"/>
  </p:normalViewPr>
  <p:slideViewPr>
    <p:cSldViewPr snapToGrid="0">
      <p:cViewPr varScale="1">
        <p:scale>
          <a:sx n="117" d="100"/>
          <a:sy n="117" d="100"/>
        </p:scale>
        <p:origin x="854" y="86"/>
      </p:cViewPr>
      <p:guideLst>
        <p:guide orient="horz" pos="2160"/>
        <p:guide pos="483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</p:sldLst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383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tags" Target="tags/tag1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theme" Target="theme/theme1.xml"/><Relationship Id="rId8" Type="http://schemas.openxmlformats.org/officeDocument/2006/relationships/slide" Target="slides/slide3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tableStyles" Target="tableStyle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handoutMaster" Target="handoutMasters/handoutMaster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6.xml"/><Relationship Id="rId7" Type="http://schemas.openxmlformats.org/officeDocument/2006/relationships/slide" Target="slides/slide34.xml"/><Relationship Id="rId2" Type="http://schemas.openxmlformats.org/officeDocument/2006/relationships/slide" Target="slides/slide5.xml"/><Relationship Id="rId1" Type="http://schemas.openxmlformats.org/officeDocument/2006/relationships/slide" Target="slides/slide1.xml"/><Relationship Id="rId6" Type="http://schemas.openxmlformats.org/officeDocument/2006/relationships/slide" Target="slides/slide31.xml"/><Relationship Id="rId5" Type="http://schemas.openxmlformats.org/officeDocument/2006/relationships/slide" Target="slides/slide28.xml"/><Relationship Id="rId4" Type="http://schemas.openxmlformats.org/officeDocument/2006/relationships/slide" Target="slides/slide2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7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9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0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1.xlsb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2.xlsb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3.xlsb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4.xlsb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5.xlsb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6.xlsb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7.xlsb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8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9.xlsb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0.xlsb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1.xlsb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2.xlsb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3.xlsb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4.xlsb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5.xlsb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6.xlsb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7.xlsb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8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9.xlsb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0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3189368770764118E-2"/>
          <c:y val="3.4643570952698204E-2"/>
          <c:w val="0.91362126245847175"/>
          <c:h val="0.9307128580946035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5.8884460239771119</c:v>
                </c:pt>
                <c:pt idx="1">
                  <c:v>7.5092819198835148</c:v>
                </c:pt>
                <c:pt idx="2">
                  <c:v>2.3581500878266715</c:v>
                </c:pt>
                <c:pt idx="3">
                  <c:v>10.3153739543724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85-4DE7-ABD9-F5B464EFC9A4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3.4997642071131319</c:v>
                </c:pt>
                <c:pt idx="1">
                  <c:v>2.2768455994262693</c:v>
                </c:pt>
                <c:pt idx="2">
                  <c:v>2.6232076841409047</c:v>
                </c:pt>
                <c:pt idx="3">
                  <c:v>7.35937397494406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985-4DE7-ABD9-F5B464EFC9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39813608"/>
        <c:axId val="1"/>
      </c:barChart>
      <c:catAx>
        <c:axId val="93981360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.31537395437247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398136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839367122552964E-2"/>
          <c:y val="2.8414755732801594E-2"/>
          <c:w val="0.96218825422365251"/>
          <c:h val="0.943170488534396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AC$1</c:f>
              <c:numCache>
                <c:formatCode>General</c:formatCode>
                <c:ptCount val="29"/>
                <c:pt idx="0">
                  <c:v>0.25215800076317946</c:v>
                </c:pt>
                <c:pt idx="1">
                  <c:v>0.26411638491285783</c:v>
                </c:pt>
                <c:pt idx="2">
                  <c:v>0.25958709232733695</c:v>
                </c:pt>
                <c:pt idx="3">
                  <c:v>0.27300486730455659</c:v>
                </c:pt>
                <c:pt idx="4">
                  <c:v>0.27328420033036138</c:v>
                </c:pt>
                <c:pt idx="5">
                  <c:v>0.27253092547757091</c:v>
                </c:pt>
                <c:pt idx="6">
                  <c:v>0.2615766538186779</c:v>
                </c:pt>
                <c:pt idx="7">
                  <c:v>0.27599649274897348</c:v>
                </c:pt>
                <c:pt idx="8">
                  <c:v>0.26926180087223589</c:v>
                </c:pt>
                <c:pt idx="9">
                  <c:v>0.26775611939304766</c:v>
                </c:pt>
                <c:pt idx="10">
                  <c:v>0.25705714064177027</c:v>
                </c:pt>
                <c:pt idx="11">
                  <c:v>0.27559145844357386</c:v>
                </c:pt>
                <c:pt idx="12">
                  <c:v>0.27493083850348482</c:v>
                </c:pt>
                <c:pt idx="13">
                  <c:v>0.25126953021985005</c:v>
                </c:pt>
                <c:pt idx="14">
                  <c:v>0.24401960011350435</c:v>
                </c:pt>
                <c:pt idx="15">
                  <c:v>0.25224807047955422</c:v>
                </c:pt>
                <c:pt idx="16">
                  <c:v>0.25504067787638057</c:v>
                </c:pt>
                <c:pt idx="17">
                  <c:v>0.24591601773921193</c:v>
                </c:pt>
                <c:pt idx="18">
                  <c:v>0.23960335521449519</c:v>
                </c:pt>
                <c:pt idx="19">
                  <c:v>0.25369344082789835</c:v>
                </c:pt>
                <c:pt idx="20">
                  <c:v>0.24334179935079608</c:v>
                </c:pt>
                <c:pt idx="21">
                  <c:v>0.25687564357064996</c:v>
                </c:pt>
                <c:pt idx="22">
                  <c:v>0.25618157769746097</c:v>
                </c:pt>
                <c:pt idx="23">
                  <c:v>0.26942060822759784</c:v>
                </c:pt>
                <c:pt idx="24">
                  <c:v>0.26523539489210035</c:v>
                </c:pt>
                <c:pt idx="25">
                  <c:v>0.27858209929031136</c:v>
                </c:pt>
                <c:pt idx="26">
                  <c:v>0.28016069367496782</c:v>
                </c:pt>
                <c:pt idx="27">
                  <c:v>0.28739111754206403</c:v>
                </c:pt>
                <c:pt idx="28">
                  <c:v>0.280726613146183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DF6-4D9A-9039-98EA581BFE97}"/>
            </c:ext>
          </c:extLst>
        </c:ser>
        <c:ser>
          <c:idx val="1"/>
          <c:order val="1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AC$2</c:f>
              <c:numCache>
                <c:formatCode>General</c:formatCode>
                <c:ptCount val="29"/>
                <c:pt idx="0">
                  <c:v>0.27940741996174451</c:v>
                </c:pt>
                <c:pt idx="1">
                  <c:v>0.26691296407842569</c:v>
                </c:pt>
                <c:pt idx="2">
                  <c:v>0.24466296163450135</c:v>
                </c:pt>
                <c:pt idx="3">
                  <c:v>0.25575788190074783</c:v>
                </c:pt>
                <c:pt idx="4">
                  <c:v>0.26182708189412229</c:v>
                </c:pt>
                <c:pt idx="5">
                  <c:v>0.25397013067677016</c:v>
                </c:pt>
                <c:pt idx="6">
                  <c:v>0.2342502293553208</c:v>
                </c:pt>
                <c:pt idx="7">
                  <c:v>0.24321163024319364</c:v>
                </c:pt>
                <c:pt idx="8">
                  <c:v>0.25747232518431157</c:v>
                </c:pt>
                <c:pt idx="9">
                  <c:v>0.24557292245905582</c:v>
                </c:pt>
                <c:pt idx="10">
                  <c:v>0.2370375870939801</c:v>
                </c:pt>
                <c:pt idx="11">
                  <c:v>0.2492565961763083</c:v>
                </c:pt>
                <c:pt idx="12">
                  <c:v>0.24899125832568797</c:v>
                </c:pt>
                <c:pt idx="13">
                  <c:v>0.27753923323119761</c:v>
                </c:pt>
                <c:pt idx="14">
                  <c:v>0.26540007678341515</c:v>
                </c:pt>
                <c:pt idx="15">
                  <c:v>0.28325018724870799</c:v>
                </c:pt>
                <c:pt idx="16">
                  <c:v>0.29931408854036085</c:v>
                </c:pt>
                <c:pt idx="17">
                  <c:v>0.27770150717163034</c:v>
                </c:pt>
                <c:pt idx="18">
                  <c:v>0.28080139945741145</c:v>
                </c:pt>
                <c:pt idx="19">
                  <c:v>0.29520768475849335</c:v>
                </c:pt>
                <c:pt idx="20">
                  <c:v>0.28586425765682383</c:v>
                </c:pt>
                <c:pt idx="21">
                  <c:v>0.29536478876527361</c:v>
                </c:pt>
                <c:pt idx="22">
                  <c:v>0.29330512863282387</c:v>
                </c:pt>
                <c:pt idx="23">
                  <c:v>0.31054883453661719</c:v>
                </c:pt>
                <c:pt idx="24">
                  <c:v>0.29359543556901058</c:v>
                </c:pt>
                <c:pt idx="25">
                  <c:v>0.29783951912387435</c:v>
                </c:pt>
                <c:pt idx="26">
                  <c:v>0.28747257541702514</c:v>
                </c:pt>
                <c:pt idx="27">
                  <c:v>0.31607026941037442</c:v>
                </c:pt>
                <c:pt idx="28">
                  <c:v>0.31657752145198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DF6-4D9A-9039-98EA581BFE97}"/>
            </c:ext>
          </c:extLst>
        </c:ser>
        <c:ser>
          <c:idx val="2"/>
          <c:order val="2"/>
          <c:spPr>
            <a:solidFill>
              <a:srgbClr val="25B4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AC$3</c:f>
              <c:numCache>
                <c:formatCode>General</c:formatCode>
                <c:ptCount val="29"/>
                <c:pt idx="0">
                  <c:v>0.19818380976010264</c:v>
                </c:pt>
                <c:pt idx="1">
                  <c:v>0.194758278387551</c:v>
                </c:pt>
                <c:pt idx="2">
                  <c:v>0.18091415126461563</c:v>
                </c:pt>
                <c:pt idx="3">
                  <c:v>0.18868814011572577</c:v>
                </c:pt>
                <c:pt idx="4">
                  <c:v>0.19026326135875016</c:v>
                </c:pt>
                <c:pt idx="5">
                  <c:v>0.18180118863956463</c:v>
                </c:pt>
                <c:pt idx="6">
                  <c:v>0.16916353567997078</c:v>
                </c:pt>
                <c:pt idx="7">
                  <c:v>0.17765205267995665</c:v>
                </c:pt>
                <c:pt idx="8">
                  <c:v>0.18309937621458849</c:v>
                </c:pt>
                <c:pt idx="9">
                  <c:v>0.17444810041309888</c:v>
                </c:pt>
                <c:pt idx="10">
                  <c:v>0.16832963212503649</c:v>
                </c:pt>
                <c:pt idx="11">
                  <c:v>0.18217784602837639</c:v>
                </c:pt>
                <c:pt idx="12">
                  <c:v>0.18671860346714397</c:v>
                </c:pt>
                <c:pt idx="13">
                  <c:v>0.18942880787141114</c:v>
                </c:pt>
                <c:pt idx="14">
                  <c:v>0.18542869896983116</c:v>
                </c:pt>
                <c:pt idx="15">
                  <c:v>0.20013706720438362</c:v>
                </c:pt>
                <c:pt idx="16">
                  <c:v>0.2091870165939872</c:v>
                </c:pt>
                <c:pt idx="17">
                  <c:v>0.19223145800776842</c:v>
                </c:pt>
                <c:pt idx="18">
                  <c:v>0.19603094194721649</c:v>
                </c:pt>
                <c:pt idx="19">
                  <c:v>0.20973133974031921</c:v>
                </c:pt>
                <c:pt idx="20">
                  <c:v>0.19946159870476843</c:v>
                </c:pt>
                <c:pt idx="21">
                  <c:v>0.21019593617846222</c:v>
                </c:pt>
                <c:pt idx="22">
                  <c:v>0.21080646900255462</c:v>
                </c:pt>
                <c:pt idx="23">
                  <c:v>0.22622302623197721</c:v>
                </c:pt>
                <c:pt idx="24">
                  <c:v>0.22314268440636631</c:v>
                </c:pt>
                <c:pt idx="25">
                  <c:v>0.2278948502010989</c:v>
                </c:pt>
                <c:pt idx="26">
                  <c:v>0.22500376753039153</c:v>
                </c:pt>
                <c:pt idx="27">
                  <c:v>0.24526332607943102</c:v>
                </c:pt>
                <c:pt idx="28">
                  <c:v>0.250752415082074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DF6-4D9A-9039-98EA581BFE97}"/>
            </c:ext>
          </c:extLst>
        </c:ser>
        <c:ser>
          <c:idx val="3"/>
          <c:order val="3"/>
          <c:spPr>
            <a:solidFill>
              <a:srgbClr val="CAE3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4:$AC$4</c:f>
              <c:numCache>
                <c:formatCode>General</c:formatCode>
                <c:ptCount val="29"/>
                <c:pt idx="0">
                  <c:v>0.13491664934997138</c:v>
                </c:pt>
                <c:pt idx="1">
                  <c:v>0.13414520131184637</c:v>
                </c:pt>
                <c:pt idx="2">
                  <c:v>0.1324104543825837</c:v>
                </c:pt>
                <c:pt idx="3">
                  <c:v>0.15891749523728871</c:v>
                </c:pt>
                <c:pt idx="4">
                  <c:v>0.1349071709068107</c:v>
                </c:pt>
                <c:pt idx="5">
                  <c:v>0.13711529896421237</c:v>
                </c:pt>
                <c:pt idx="6">
                  <c:v>0.1379458320667506</c:v>
                </c:pt>
                <c:pt idx="7">
                  <c:v>0.17799887940945724</c:v>
                </c:pt>
                <c:pt idx="8">
                  <c:v>0.15180147435526015</c:v>
                </c:pt>
                <c:pt idx="9">
                  <c:v>0.15445013629733206</c:v>
                </c:pt>
                <c:pt idx="10">
                  <c:v>0.15084108200490831</c:v>
                </c:pt>
                <c:pt idx="11">
                  <c:v>0.20049195915415541</c:v>
                </c:pt>
                <c:pt idx="12">
                  <c:v>0.16608995628000001</c:v>
                </c:pt>
                <c:pt idx="13">
                  <c:v>0.16675308764631602</c:v>
                </c:pt>
                <c:pt idx="14">
                  <c:v>0.15854316331766827</c:v>
                </c:pt>
                <c:pt idx="15">
                  <c:v>0.22477733344345208</c:v>
                </c:pt>
                <c:pt idx="16">
                  <c:v>0.1712214793196839</c:v>
                </c:pt>
                <c:pt idx="17">
                  <c:v>0.15743436327065574</c:v>
                </c:pt>
                <c:pt idx="18">
                  <c:v>0.17833872996050404</c:v>
                </c:pt>
                <c:pt idx="19">
                  <c:v>0.26409564697301979</c:v>
                </c:pt>
                <c:pt idx="20">
                  <c:v>0.16592153660229625</c:v>
                </c:pt>
                <c:pt idx="21">
                  <c:v>0.17085275594083205</c:v>
                </c:pt>
                <c:pt idx="22">
                  <c:v>0.16430300340590853</c:v>
                </c:pt>
                <c:pt idx="23">
                  <c:v>0.22533126448490381</c:v>
                </c:pt>
                <c:pt idx="24">
                  <c:v>0.16978708569682366</c:v>
                </c:pt>
                <c:pt idx="25">
                  <c:v>0.17420476014400377</c:v>
                </c:pt>
                <c:pt idx="26">
                  <c:v>0.16950346582035225</c:v>
                </c:pt>
                <c:pt idx="27">
                  <c:v>0.22327028783165981</c:v>
                </c:pt>
                <c:pt idx="28">
                  <c:v>0.180689737904248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DF6-4D9A-9039-98EA581BFE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02923960"/>
        <c:axId val="1"/>
      </c:barChart>
      <c:catAx>
        <c:axId val="10029239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.200000000000000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+mn-lt"/>
                <a:ea typeface="Verdana"/>
                <a:cs typeface="+mn-cs"/>
                <a:sym typeface="Arial"/>
              </a:defRPr>
            </a:pPr>
            <a:endParaRPr lang="en-US"/>
          </a:p>
        </c:txPr>
        <c:crossAx val="1002923960"/>
        <c:crosses val="min"/>
        <c:crossBetween val="between"/>
        <c:majorUnit val="0.2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696050372066404E-2"/>
          <c:y val="3.5008469791078488E-2"/>
          <c:w val="0.91738217897347829"/>
          <c:h val="0.9299830604178430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9E8A-4359-B57B-A190568240CB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3481.9365305074421</c:v>
                </c:pt>
                <c:pt idx="1">
                  <c:v>4041.4030196500471</c:v>
                </c:pt>
                <c:pt idx="2">
                  <c:v>4549.827590653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8A-4359-B57B-A190568240CB}"/>
            </c:ext>
          </c:extLst>
        </c:ser>
        <c:ser>
          <c:idx val="1"/>
          <c:order val="1"/>
          <c:spPr>
            <a:solidFill>
              <a:srgbClr val="CAE3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0070C0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9E8A-4359-B57B-A190568240CB}"/>
              </c:ext>
            </c:extLst>
          </c:dPt>
          <c:val>
            <c:numRef>
              <c:f>Sheet1!$A$2:$C$2</c:f>
              <c:numCache>
                <c:formatCode>General</c:formatCode>
                <c:ptCount val="3"/>
                <c:pt idx="0">
                  <c:v>559.46648914260504</c:v>
                </c:pt>
                <c:pt idx="1">
                  <c:v>130.56781869117003</c:v>
                </c:pt>
                <c:pt idx="2">
                  <c:v>3481.93653050744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E8A-4359-B57B-A190568240CB}"/>
            </c:ext>
          </c:extLst>
        </c:ser>
        <c:ser>
          <c:idx val="2"/>
          <c:order val="2"/>
          <c:spPr>
            <a:solidFill>
              <a:srgbClr val="CAE3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4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9E8A-4359-B57B-A190568240CB}"/>
              </c:ext>
            </c:extLst>
          </c:dPt>
          <c:val>
            <c:numRef>
              <c:f>Sheet1!$A$3:$C$3</c:f>
              <c:numCache>
                <c:formatCode>General</c:formatCode>
                <c:ptCount val="3"/>
                <c:pt idx="1">
                  <c:v>377.85675231189089</c:v>
                </c:pt>
                <c:pt idx="2">
                  <c:v>690.034307833775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E8A-4359-B57B-A190568240CB}"/>
            </c:ext>
          </c:extLst>
        </c:ser>
        <c:ser>
          <c:idx val="3"/>
          <c:order val="3"/>
          <c:spPr>
            <a:solidFill>
              <a:schemeClr val="accent4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4:$C$4</c:f>
              <c:numCache>
                <c:formatCode>General</c:formatCode>
                <c:ptCount val="3"/>
                <c:pt idx="2">
                  <c:v>377.856752311892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E8A-4359-B57B-A190568240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31841440"/>
        <c:axId val="1"/>
      </c:barChart>
      <c:catAx>
        <c:axId val="1231841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rgbClr val="2B3A42"/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1231841440"/>
        <c:crosses val="min"/>
        <c:crossBetween val="between"/>
        <c:majorUnit val="1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8636166835041128E-2"/>
          <c:y val="3.4831460674157301E-2"/>
          <c:w val="0.94385914273343918"/>
          <c:h val="0.9303370786516853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AF48-49EC-A0A3-0A6E6A2F53B1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1043.3457352815358</c:v>
                </c:pt>
                <c:pt idx="1">
                  <c:v>1126.8605236535277</c:v>
                </c:pt>
                <c:pt idx="2">
                  <c:v>2344.8204090567915</c:v>
                </c:pt>
                <c:pt idx="3">
                  <c:v>3293.7347679497866</c:v>
                </c:pt>
                <c:pt idx="4">
                  <c:v>4041.40301965004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48-49EC-A0A3-0A6E6A2F53B1}"/>
            </c:ext>
          </c:extLst>
        </c:ser>
        <c:ser>
          <c:idx val="1"/>
          <c:order val="1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AE3FF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AF48-49EC-A0A3-0A6E6A2F53B1}"/>
              </c:ext>
            </c:extLst>
          </c:dPt>
          <c:val>
            <c:numRef>
              <c:f>Sheet1!$A$2:$E$2</c:f>
              <c:numCache>
                <c:formatCode>General</c:formatCode>
                <c:ptCount val="5"/>
                <c:pt idx="0">
                  <c:v>83.514788371991926</c:v>
                </c:pt>
                <c:pt idx="1">
                  <c:v>1023.1999257910802</c:v>
                </c:pt>
                <c:pt idx="2">
                  <c:v>807.93340085454975</c:v>
                </c:pt>
                <c:pt idx="3">
                  <c:v>607.45746858027633</c:v>
                </c:pt>
                <c:pt idx="4">
                  <c:v>3481.9365305074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F48-49EC-A0A3-0A6E6A2F53B1}"/>
            </c:ext>
          </c:extLst>
        </c:ser>
        <c:ser>
          <c:idx val="2"/>
          <c:order val="2"/>
          <c:spPr>
            <a:solidFill>
              <a:srgbClr val="CAE3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E$3</c:f>
              <c:numCache>
                <c:formatCode>General</c:formatCode>
                <c:ptCount val="5"/>
                <c:pt idx="1">
                  <c:v>194.75995961218359</c:v>
                </c:pt>
                <c:pt idx="2">
                  <c:v>140.98095803844535</c:v>
                </c:pt>
                <c:pt idx="3">
                  <c:v>140.21078311998463</c:v>
                </c:pt>
                <c:pt idx="4">
                  <c:v>559.466489142604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F48-49EC-A0A3-0A6E6A2F53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78979544"/>
        <c:axId val="1"/>
      </c:barChart>
      <c:catAx>
        <c:axId val="8789795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rgbClr val="2B3A42"/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878979544"/>
        <c:crosses val="min"/>
        <c:crossBetween val="between"/>
        <c:majorUnit val="5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487104764680168E-2"/>
          <c:y val="3.4831460674157301E-2"/>
          <c:w val="0.95293603380445868"/>
          <c:h val="0.9303370786516853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62D6-4CAA-B3FF-AAB07678AD56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21.294810168803707</c:v>
                </c:pt>
                <c:pt idx="1">
                  <c:v>23.23517</c:v>
                </c:pt>
                <c:pt idx="2">
                  <c:v>148.24065999999999</c:v>
                </c:pt>
                <c:pt idx="3">
                  <c:v>270.63531499999999</c:v>
                </c:pt>
                <c:pt idx="4">
                  <c:v>345.123791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2D6-4CAA-B3FF-AAB07678AD56}"/>
            </c:ext>
          </c:extLst>
        </c:ser>
        <c:ser>
          <c:idx val="1"/>
          <c:order val="1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AE3FF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62D6-4CAA-B3FF-AAB07678AD56}"/>
              </c:ext>
            </c:extLst>
          </c:dPt>
          <c:val>
            <c:numRef>
              <c:f>Sheet1!$A$2:$E$2</c:f>
              <c:numCache>
                <c:formatCode>General</c:formatCode>
                <c:ptCount val="5"/>
                <c:pt idx="0">
                  <c:v>1.9403598311962931</c:v>
                </c:pt>
                <c:pt idx="1">
                  <c:v>99.923499581681526</c:v>
                </c:pt>
                <c:pt idx="2">
                  <c:v>91.906013539753701</c:v>
                </c:pt>
                <c:pt idx="3">
                  <c:v>54.657833835699023</c:v>
                </c:pt>
                <c:pt idx="4">
                  <c:v>267.782157125937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2D6-4CAA-B3FF-AAB07678AD56}"/>
            </c:ext>
          </c:extLst>
        </c:ser>
        <c:ser>
          <c:idx val="2"/>
          <c:order val="2"/>
          <c:spPr>
            <a:solidFill>
              <a:srgbClr val="CAE3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E$3</c:f>
              <c:numCache>
                <c:formatCode>General</c:formatCode>
                <c:ptCount val="5"/>
                <c:pt idx="1">
                  <c:v>25.081990418318469</c:v>
                </c:pt>
                <c:pt idx="2">
                  <c:v>30.488641460246299</c:v>
                </c:pt>
                <c:pt idx="3">
                  <c:v>19.830643164300966</c:v>
                </c:pt>
                <c:pt idx="4">
                  <c:v>77.3416348740620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2D6-4CAA-B3FF-AAB07678AD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78172096"/>
        <c:axId val="1"/>
      </c:barChart>
      <c:catAx>
        <c:axId val="8781720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878172096"/>
        <c:crosses val="min"/>
        <c:crossBetween val="between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289047054171611E-2"/>
          <c:y val="2.7522935779816515E-2"/>
          <c:w val="0.92843020956899958"/>
          <c:h val="0.9449541284403669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232-4271-8039-CDFAB67D09A0}"/>
                </c:ext>
              </c:extLst>
            </c:dLbl>
            <c:dLbl>
              <c:idx val="1"/>
              <c:layout>
                <c:manualLayout>
                  <c:x val="0"/>
                  <c:y val="-4.828585224529212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232-4271-8039-CDFAB67D09A0}"/>
                </c:ext>
              </c:extLst>
            </c:dLbl>
            <c:dLbl>
              <c:idx val="2"/>
              <c:layout>
                <c:manualLayout>
                  <c:x val="0"/>
                  <c:y val="-4.828585224529212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232-4271-8039-CDFAB67D09A0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232-4271-8039-CDFAB67D09A0}"/>
                </c:ext>
              </c:extLst>
            </c:dLbl>
            <c:dLbl>
              <c:idx val="4"/>
              <c:layout>
                <c:manualLayout>
                  <c:x val="0"/>
                  <c:y val="-4.828585224529212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232-4271-8039-CDFAB67D09A0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232-4271-8039-CDFAB67D09A0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232-4271-8039-CDFAB67D09A0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5232-4271-8039-CDFAB67D09A0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232-4271-8039-CDFAB67D09A0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232-4271-8039-CDFAB67D09A0}"/>
                </c:ext>
              </c:extLst>
            </c:dLbl>
            <c:dLbl>
              <c:idx val="10"/>
              <c:layout>
                <c:manualLayout>
                  <c:x val="0"/>
                  <c:y val="-4.828585224529212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5232-4271-8039-CDFAB67D09A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1015.3281996331064</c:v>
                </c:pt>
                <c:pt idx="1">
                  <c:v>1043.7801692995715</c:v>
                </c:pt>
                <c:pt idx="2">
                  <c:v>1085.6387916188971</c:v>
                </c:pt>
                <c:pt idx="3">
                  <c:v>1107.1004719620232</c:v>
                </c:pt>
                <c:pt idx="4">
                  <c:v>1080.65989162911</c:v>
                </c:pt>
                <c:pt idx="5">
                  <c:v>1031.6643065814933</c:v>
                </c:pt>
                <c:pt idx="6">
                  <c:v>1000.7499328938062</c:v>
                </c:pt>
                <c:pt idx="7">
                  <c:v>1035.2646172199047</c:v>
                </c:pt>
                <c:pt idx="8">
                  <c:v>1120.1822438400541</c:v>
                </c:pt>
                <c:pt idx="9">
                  <c:v>1056.8394767438492</c:v>
                </c:pt>
                <c:pt idx="10">
                  <c:v>1136.20053249316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232-4271-8039-CDFAB67D09A0}"/>
            </c:ext>
          </c:extLst>
        </c:ser>
        <c:ser>
          <c:idx val="1"/>
          <c:order val="1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5232-4271-8039-CDFAB67D09A0}"/>
                </c:ext>
              </c:extLst>
            </c:dLbl>
            <c:dLbl>
              <c:idx val="1"/>
              <c:layout>
                <c:manualLayout>
                  <c:x val="0"/>
                  <c:y val="-4.828585224529212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5232-4271-8039-CDFAB67D09A0}"/>
                </c:ext>
              </c:extLst>
            </c:dLbl>
            <c:dLbl>
              <c:idx val="2"/>
              <c:layout>
                <c:manualLayout>
                  <c:x val="0"/>
                  <c:y val="-4.828585224529212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5232-4271-8039-CDFAB67D09A0}"/>
                </c:ext>
              </c:extLst>
            </c:dLbl>
            <c:dLbl>
              <c:idx val="3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5232-4271-8039-CDFAB67D09A0}"/>
                </c:ext>
              </c:extLst>
            </c:dLbl>
            <c:dLbl>
              <c:idx val="4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5232-4271-8039-CDFAB67D09A0}"/>
                </c:ext>
              </c:extLst>
            </c:dLbl>
            <c:dLbl>
              <c:idx val="5"/>
              <c:layout>
                <c:manualLayout>
                  <c:x val="0"/>
                  <c:y val="-1.4485755673587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5232-4271-8039-CDFAB67D09A0}"/>
                </c:ext>
              </c:extLst>
            </c:dLbl>
            <c:dLbl>
              <c:idx val="6"/>
              <c:layout>
                <c:manualLayout>
                  <c:x val="0"/>
                  <c:y val="-1.4485755673587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5232-4271-8039-CDFAB67D09A0}"/>
                </c:ext>
              </c:extLst>
            </c:dLbl>
            <c:dLbl>
              <c:idx val="7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5232-4271-8039-CDFAB67D09A0}"/>
                </c:ext>
              </c:extLst>
            </c:dLbl>
            <c:dLbl>
              <c:idx val="8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5232-4271-8039-CDFAB67D09A0}"/>
                </c:ext>
              </c:extLst>
            </c:dLbl>
            <c:dLbl>
              <c:idx val="9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5232-4271-8039-CDFAB67D09A0}"/>
                </c:ext>
              </c:extLst>
            </c:dLbl>
            <c:dLbl>
              <c:idx val="10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5232-4271-8039-CDFAB67D09A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K$2</c:f>
              <c:numCache>
                <c:formatCode>General</c:formatCode>
                <c:ptCount val="11"/>
                <c:pt idx="0">
                  <c:v>1161.4379425394206</c:v>
                </c:pt>
                <c:pt idx="1">
                  <c:v>1147.4513393081736</c:v>
                </c:pt>
                <c:pt idx="2">
                  <c:v>1100.6012746385534</c:v>
                </c:pt>
                <c:pt idx="3">
                  <c:v>1040.9507803947281</c:v>
                </c:pt>
                <c:pt idx="4">
                  <c:v>1058.6156337254365</c:v>
                </c:pt>
                <c:pt idx="5">
                  <c:v>1146.8512563927184</c:v>
                </c:pt>
                <c:pt idx="6">
                  <c:v>1209.9394918177359</c:v>
                </c:pt>
                <c:pt idx="7">
                  <c:v>1238.946001363398</c:v>
                </c:pt>
                <c:pt idx="8">
                  <c:v>1251.966546844194</c:v>
                </c:pt>
                <c:pt idx="9">
                  <c:v>1247.1129984107349</c:v>
                </c:pt>
                <c:pt idx="10">
                  <c:v>1276.52179467805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5232-4271-8039-CDFAB67D09A0}"/>
            </c:ext>
          </c:extLst>
        </c:ser>
        <c:ser>
          <c:idx val="2"/>
          <c:order val="2"/>
          <c:spPr>
            <a:solidFill>
              <a:srgbClr val="18AF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5232-4271-8039-CDFAB67D09A0}"/>
                </c:ext>
              </c:extLst>
            </c:dLbl>
            <c:dLbl>
              <c:idx val="1"/>
              <c:layout>
                <c:manualLayout>
                  <c:x val="0"/>
                  <c:y val="-4.828585224529212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5232-4271-8039-CDFAB67D09A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5232-4271-8039-CDFAB67D09A0}"/>
                </c:ext>
              </c:extLst>
            </c:dLbl>
            <c:dLbl>
              <c:idx val="3"/>
              <c:layout>
                <c:manualLayout>
                  <c:x val="0"/>
                  <c:y val="-1.4485755673587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5232-4271-8039-CDFAB67D09A0}"/>
                </c:ext>
              </c:extLst>
            </c:dLbl>
            <c:dLbl>
              <c:idx val="4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5232-4271-8039-CDFAB67D09A0}"/>
                </c:ext>
              </c:extLst>
            </c:dLbl>
            <c:dLbl>
              <c:idx val="5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5232-4271-8039-CDFAB67D09A0}"/>
                </c:ext>
              </c:extLst>
            </c:dLbl>
            <c:dLbl>
              <c:idx val="6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5232-4271-8039-CDFAB67D09A0}"/>
                </c:ext>
              </c:extLst>
            </c:dLbl>
            <c:dLbl>
              <c:idx val="7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5232-4271-8039-CDFAB67D09A0}"/>
                </c:ext>
              </c:extLst>
            </c:dLbl>
            <c:dLbl>
              <c:idx val="8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5232-4271-8039-CDFAB67D09A0}"/>
                </c:ext>
              </c:extLst>
            </c:dLbl>
            <c:dLbl>
              <c:idx val="9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5232-4271-8039-CDFAB67D09A0}"/>
                </c:ext>
              </c:extLst>
            </c:dLbl>
            <c:dLbl>
              <c:idx val="10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5232-4271-8039-CDFAB67D09A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K$3</c:f>
              <c:numCache>
                <c:formatCode>General</c:formatCode>
                <c:ptCount val="11"/>
                <c:pt idx="0">
                  <c:v>800.48759316138694</c:v>
                </c:pt>
                <c:pt idx="1">
                  <c:v>846.47315449467169</c:v>
                </c:pt>
                <c:pt idx="2">
                  <c:v>874.36208087083423</c:v>
                </c:pt>
                <c:pt idx="3">
                  <c:v>830.72405670673879</c:v>
                </c:pt>
                <c:pt idx="4">
                  <c:v>846.42082147481733</c:v>
                </c:pt>
                <c:pt idx="5">
                  <c:v>919.07264584043014</c:v>
                </c:pt>
                <c:pt idx="6">
                  <c:v>978.11975545383211</c:v>
                </c:pt>
                <c:pt idx="7">
                  <c:v>1061.3061859573941</c:v>
                </c:pt>
                <c:pt idx="8">
                  <c:v>1174.1645094476562</c:v>
                </c:pt>
                <c:pt idx="9">
                  <c:v>1098.7546947436213</c:v>
                </c:pt>
                <c:pt idx="10">
                  <c:v>1212.09535034764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3-5232-4271-8039-CDFAB67D09A0}"/>
            </c:ext>
          </c:extLst>
        </c:ser>
        <c:ser>
          <c:idx val="3"/>
          <c:order val="3"/>
          <c:spPr>
            <a:solidFill>
              <a:srgbClr val="CAE3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5232-4271-8039-CDFAB67D09A0}"/>
                </c:ext>
              </c:extLst>
            </c:dLbl>
            <c:dLbl>
              <c:idx val="1"/>
              <c:layout>
                <c:manualLayout>
                  <c:x val="0"/>
                  <c:y val="-4.828585224529212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5-5232-4271-8039-CDFAB67D09A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6-5232-4271-8039-CDFAB67D09A0}"/>
                </c:ext>
              </c:extLst>
            </c:dLbl>
            <c:dLbl>
              <c:idx val="3"/>
              <c:layout>
                <c:manualLayout>
                  <c:x val="0"/>
                  <c:y val="-1.4485755673587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7-5232-4271-8039-CDFAB67D09A0}"/>
                </c:ext>
              </c:extLst>
            </c:dLbl>
            <c:dLbl>
              <c:idx val="4"/>
              <c:layout>
                <c:manualLayout>
                  <c:x val="0"/>
                  <c:y val="-1.4485755673587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8-5232-4271-8039-CDFAB67D09A0}"/>
                </c:ext>
              </c:extLst>
            </c:dLbl>
            <c:dLbl>
              <c:idx val="5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5232-4271-8039-CDFAB67D09A0}"/>
                </c:ext>
              </c:extLst>
            </c:dLbl>
            <c:dLbl>
              <c:idx val="6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A-5232-4271-8039-CDFAB67D09A0}"/>
                </c:ext>
              </c:extLst>
            </c:dLbl>
            <c:dLbl>
              <c:idx val="7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B-5232-4271-8039-CDFAB67D09A0}"/>
                </c:ext>
              </c:extLst>
            </c:dLbl>
            <c:dLbl>
              <c:idx val="8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C-5232-4271-8039-CDFAB67D09A0}"/>
                </c:ext>
              </c:extLst>
            </c:dLbl>
            <c:dLbl>
              <c:idx val="9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D-5232-4271-8039-CDFAB67D09A0}"/>
                </c:ext>
              </c:extLst>
            </c:dLbl>
            <c:dLbl>
              <c:idx val="10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E-5232-4271-8039-CDFAB67D09A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K$4</c:f>
              <c:numCache>
                <c:formatCode>General</c:formatCode>
                <c:ptCount val="11"/>
                <c:pt idx="0">
                  <c:v>635.90142906386745</c:v>
                </c:pt>
                <c:pt idx="1">
                  <c:v>625.9484137573636</c:v>
                </c:pt>
                <c:pt idx="2">
                  <c:v>669.96386614282483</c:v>
                </c:pt>
                <c:pt idx="3">
                  <c:v>708.24899670297918</c:v>
                </c:pt>
                <c:pt idx="4">
                  <c:v>796.54627451748638</c:v>
                </c:pt>
                <c:pt idx="5">
                  <c:v>863.03379779882744</c:v>
                </c:pt>
                <c:pt idx="6">
                  <c:v>916.85480646476344</c:v>
                </c:pt>
                <c:pt idx="7">
                  <c:v>885.09920998624102</c:v>
                </c:pt>
                <c:pt idx="8">
                  <c:v>907.50013155479928</c:v>
                </c:pt>
                <c:pt idx="9">
                  <c:v>894.10495786015781</c:v>
                </c:pt>
                <c:pt idx="10">
                  <c:v>925.00991313424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F-5232-4271-8039-CDFAB67D0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12528408"/>
        <c:axId val="1"/>
      </c:barChart>
      <c:catAx>
        <c:axId val="6125284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612528408"/>
        <c:crosses val="min"/>
        <c:crossBetween val="between"/>
        <c:majorUnit val="1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2299035369774922E-2"/>
          <c:y val="2.7602905569007265E-2"/>
          <c:w val="0.92725080385852088"/>
          <c:h val="0.9447941888619855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447-4B2D-BAAF-E9BB391DE7B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447-4B2D-BAAF-E9BB391DE7B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447-4B2D-BAAF-E9BB391DE7BB}"/>
                </c:ext>
              </c:extLst>
            </c:dLbl>
            <c:dLbl>
              <c:idx val="3"/>
              <c:layout>
                <c:manualLayout>
                  <c:x val="0"/>
                  <c:y val="-4.842615012106537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447-4B2D-BAAF-E9BB391DE7BB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447-4B2D-BAAF-E9BB391DE7BB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447-4B2D-BAAF-E9BB391DE7BB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447-4B2D-BAAF-E9BB391DE7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966.76807558357928</c:v>
                </c:pt>
                <c:pt idx="1">
                  <c:v>936.56335543733053</c:v>
                </c:pt>
                <c:pt idx="2">
                  <c:v>916.54302394759668</c:v>
                </c:pt>
                <c:pt idx="3">
                  <c:v>950.02301240548752</c:v>
                </c:pt>
                <c:pt idx="4">
                  <c:v>1029.0260785675111</c:v>
                </c:pt>
                <c:pt idx="5">
                  <c:v>971.54745522203621</c:v>
                </c:pt>
                <c:pt idx="6">
                  <c:v>1043.34573528153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447-4B2D-BAAF-E9BB391DE7BB}"/>
            </c:ext>
          </c:extLst>
        </c:ser>
        <c:ser>
          <c:idx val="1"/>
          <c:order val="1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447-4B2D-BAAF-E9BB391DE7B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447-4B2D-BAAF-E9BB391DE7BB}"/>
                </c:ext>
              </c:extLst>
            </c:dLbl>
            <c:dLbl>
              <c:idx val="2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447-4B2D-BAAF-E9BB391DE7BB}"/>
                </c:ext>
              </c:extLst>
            </c:dLbl>
            <c:dLbl>
              <c:idx val="3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447-4B2D-BAAF-E9BB391DE7BB}"/>
                </c:ext>
              </c:extLst>
            </c:dLbl>
            <c:dLbl>
              <c:idx val="4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447-4B2D-BAAF-E9BB391DE7BB}"/>
                </c:ext>
              </c:extLst>
            </c:dLbl>
            <c:dLbl>
              <c:idx val="5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447-4B2D-BAAF-E9BB391DE7BB}"/>
                </c:ext>
              </c:extLst>
            </c:dLbl>
            <c:dLbl>
              <c:idx val="6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E447-4B2D-BAAF-E9BB391DE7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796.79544334972638</c:v>
                </c:pt>
                <c:pt idx="1">
                  <c:v>867.6903558254869</c:v>
                </c:pt>
                <c:pt idx="2">
                  <c:v>947.82243101525557</c:v>
                </c:pt>
                <c:pt idx="3">
                  <c:v>995.72142855065965</c:v>
                </c:pt>
                <c:pt idx="4">
                  <c:v>1000.5252362515077</c:v>
                </c:pt>
                <c:pt idx="5">
                  <c:v>1002.1158497565152</c:v>
                </c:pt>
                <c:pt idx="6">
                  <c:v>1023.19992579107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E447-4B2D-BAAF-E9BB391DE7BB}"/>
            </c:ext>
          </c:extLst>
        </c:ser>
        <c:ser>
          <c:idx val="2"/>
          <c:order val="2"/>
          <c:spPr>
            <a:solidFill>
              <a:srgbClr val="18AF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E447-4B2D-BAAF-E9BB391DE7BB}"/>
                </c:ext>
              </c:extLst>
            </c:dLbl>
            <c:dLbl>
              <c:idx val="1"/>
              <c:layout>
                <c:manualLayout>
                  <c:x val="0"/>
                  <c:y val="-4.842615012106537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E447-4B2D-BAAF-E9BB391DE7BB}"/>
                </c:ext>
              </c:extLst>
            </c:dLbl>
            <c:dLbl>
              <c:idx val="2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E447-4B2D-BAAF-E9BB391DE7BB}"/>
                </c:ext>
              </c:extLst>
            </c:dLbl>
            <c:dLbl>
              <c:idx val="3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E447-4B2D-BAAF-E9BB391DE7BB}"/>
                </c:ext>
              </c:extLst>
            </c:dLbl>
            <c:dLbl>
              <c:idx val="4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E447-4B2D-BAAF-E9BB391DE7BB}"/>
                </c:ext>
              </c:extLst>
            </c:dLbl>
            <c:dLbl>
              <c:idx val="5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E447-4B2D-BAAF-E9BB391DE7BB}"/>
                </c:ext>
              </c:extLst>
            </c:dLbl>
            <c:dLbl>
              <c:idx val="6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E447-4B2D-BAAF-E9BB391DE7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0">
                  <c:v>588.87897958272697</c:v>
                </c:pt>
                <c:pt idx="1">
                  <c:v>637.08860825002012</c:v>
                </c:pt>
                <c:pt idx="2">
                  <c:v>682.57496079032489</c:v>
                </c:pt>
                <c:pt idx="3">
                  <c:v>725.67579043478781</c:v>
                </c:pt>
                <c:pt idx="4">
                  <c:v>785.16749437739463</c:v>
                </c:pt>
                <c:pt idx="5">
                  <c:v>745.83742586248036</c:v>
                </c:pt>
                <c:pt idx="6">
                  <c:v>807.93340085455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E447-4B2D-BAAF-E9BB391DE7BB}"/>
            </c:ext>
          </c:extLst>
        </c:ser>
        <c:ser>
          <c:idx val="3"/>
          <c:order val="3"/>
          <c:spPr>
            <a:solidFill>
              <a:srgbClr val="CAE3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E447-4B2D-BAAF-E9BB391DE7B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E447-4B2D-BAAF-E9BB391DE7BB}"/>
                </c:ext>
              </c:extLst>
            </c:dLbl>
            <c:dLbl>
              <c:idx val="2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E447-4B2D-BAAF-E9BB391DE7BB}"/>
                </c:ext>
              </c:extLst>
            </c:dLbl>
            <c:dLbl>
              <c:idx val="3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E447-4B2D-BAAF-E9BB391DE7BB}"/>
                </c:ext>
              </c:extLst>
            </c:dLbl>
            <c:dLbl>
              <c:idx val="4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E447-4B2D-BAAF-E9BB391DE7BB}"/>
                </c:ext>
              </c:extLst>
            </c:dLbl>
            <c:dLbl>
              <c:idx val="5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E447-4B2D-BAAF-E9BB391DE7BB}"/>
                </c:ext>
              </c:extLst>
            </c:dLbl>
            <c:dLbl>
              <c:idx val="6"/>
              <c:layout>
                <c:manualLayout>
                  <c:x val="0"/>
                  <c:y val="-1.452784503631961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E447-4B2D-BAAF-E9BB391DE7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G$4</c:f>
              <c:numCache>
                <c:formatCode>General</c:formatCode>
                <c:ptCount val="7"/>
                <c:pt idx="0">
                  <c:v>501.26357198601363</c:v>
                </c:pt>
                <c:pt idx="1">
                  <c:v>553.55507844478461</c:v>
                </c:pt>
                <c:pt idx="2">
                  <c:v>619.94288997695367</c:v>
                </c:pt>
                <c:pt idx="3">
                  <c:v>591.7886682754629</c:v>
                </c:pt>
                <c:pt idx="4">
                  <c:v>599.7709411463602</c:v>
                </c:pt>
                <c:pt idx="5">
                  <c:v>596.8259611100334</c:v>
                </c:pt>
                <c:pt idx="6">
                  <c:v>607.457468580278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E447-4B2D-BAAF-E9BB391DE7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87817032"/>
        <c:axId val="1"/>
      </c:barChart>
      <c:catAx>
        <c:axId val="8878170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887817032"/>
        <c:crosses val="min"/>
        <c:crossBetween val="between"/>
        <c:majorUnit val="1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020008003201277E-2"/>
          <c:y val="2.7522935779816515E-2"/>
          <c:w val="0.93957583033213288"/>
          <c:h val="0.9449541284403669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36E-4955-A4ED-D7A208819AD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36E-4955-A4ED-D7A208819AD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36E-4955-A4ED-D7A208819ADE}"/>
                </c:ext>
              </c:extLst>
            </c:dLbl>
            <c:dLbl>
              <c:idx val="4"/>
              <c:layout>
                <c:manualLayout>
                  <c:x val="0"/>
                  <c:y val="-4.828585224529212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36E-4955-A4ED-D7A208819ADE}"/>
                </c:ext>
              </c:extLst>
            </c:dLbl>
            <c:dLbl>
              <c:idx val="5"/>
              <c:layout>
                <c:manualLayout>
                  <c:x val="0"/>
                  <c:y val="-4.828585224529212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36E-4955-A4ED-D7A208819ADE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36E-4955-A4ED-D7A208819ADE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36E-4955-A4ED-D7A208819ADE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36E-4955-A4ED-D7A208819ADE}"/>
                </c:ext>
              </c:extLst>
            </c:dLbl>
            <c:dLbl>
              <c:idx val="10"/>
              <c:layout>
                <c:manualLayout>
                  <c:x val="0"/>
                  <c:y val="-4.828585224529212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736E-4955-A4ED-D7A208819AD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31.792383664708947</c:v>
                </c:pt>
                <c:pt idx="1">
                  <c:v>30.422279545403118</c:v>
                </c:pt>
                <c:pt idx="2">
                  <c:v>21.394020397198883</c:v>
                </c:pt>
                <c:pt idx="3">
                  <c:v>23.938559231795626</c:v>
                </c:pt>
                <c:pt idx="4">
                  <c:v>26.556593641467884</c:v>
                </c:pt>
                <c:pt idx="5">
                  <c:v>24.777182</c:v>
                </c:pt>
                <c:pt idx="6">
                  <c:v>22.331395000000001</c:v>
                </c:pt>
                <c:pt idx="7">
                  <c:v>22.598748000000001</c:v>
                </c:pt>
                <c:pt idx="8">
                  <c:v>23.613016999999999</c:v>
                </c:pt>
                <c:pt idx="9">
                  <c:v>23.041132000000001</c:v>
                </c:pt>
                <c:pt idx="10">
                  <c:v>23.565743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36E-4955-A4ED-D7A208819ADE}"/>
            </c:ext>
          </c:extLst>
        </c:ser>
        <c:ser>
          <c:idx val="1"/>
          <c:order val="1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736E-4955-A4ED-D7A208819AD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736E-4955-A4ED-D7A208819AD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736E-4955-A4ED-D7A208819AD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736E-4955-A4ED-D7A208819ADE}"/>
                </c:ext>
              </c:extLst>
            </c:dLbl>
            <c:dLbl>
              <c:idx val="4"/>
              <c:layout>
                <c:manualLayout>
                  <c:x val="0"/>
                  <c:y val="-1.4485755673587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736E-4955-A4ED-D7A208819ADE}"/>
                </c:ext>
              </c:extLst>
            </c:dLbl>
            <c:dLbl>
              <c:idx val="5"/>
              <c:layout>
                <c:manualLayout>
                  <c:x val="0"/>
                  <c:y val="-1.4485755673587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736E-4955-A4ED-D7A208819ADE}"/>
                </c:ext>
              </c:extLst>
            </c:dLbl>
            <c:dLbl>
              <c:idx val="6"/>
              <c:layout>
                <c:manualLayout>
                  <c:x val="0"/>
                  <c:y val="-1.4485755673587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736E-4955-A4ED-D7A208819ADE}"/>
                </c:ext>
              </c:extLst>
            </c:dLbl>
            <c:dLbl>
              <c:idx val="7"/>
              <c:layout>
                <c:manualLayout>
                  <c:x val="0"/>
                  <c:y val="-1.4485755673587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736E-4955-A4ED-D7A208819ADE}"/>
                </c:ext>
              </c:extLst>
            </c:dLbl>
            <c:dLbl>
              <c:idx val="8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736E-4955-A4ED-D7A208819ADE}"/>
                </c:ext>
              </c:extLst>
            </c:dLbl>
            <c:dLbl>
              <c:idx val="9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736E-4955-A4ED-D7A208819ADE}"/>
                </c:ext>
              </c:extLst>
            </c:dLbl>
            <c:dLbl>
              <c:idx val="10"/>
              <c:layout>
                <c:manualLayout>
                  <c:x val="0"/>
                  <c:y val="-1.4485755673587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736E-4955-A4ED-D7A208819AD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K$2</c:f>
              <c:numCache>
                <c:formatCode>General</c:formatCode>
                <c:ptCount val="11"/>
                <c:pt idx="0">
                  <c:v>119.48981003060834</c:v>
                </c:pt>
                <c:pt idx="1">
                  <c:v>124.05320411524514</c:v>
                </c:pt>
                <c:pt idx="2">
                  <c:v>129.40151425698397</c:v>
                </c:pt>
                <c:pt idx="3">
                  <c:v>129.26377845202441</c:v>
                </c:pt>
                <c:pt idx="4">
                  <c:v>127.27171220254749</c:v>
                </c:pt>
                <c:pt idx="5">
                  <c:v>127.75230600000002</c:v>
                </c:pt>
                <c:pt idx="6">
                  <c:v>127.82367000000001</c:v>
                </c:pt>
                <c:pt idx="7">
                  <c:v>127.36856499999999</c:v>
                </c:pt>
                <c:pt idx="8">
                  <c:v>129.14766199999997</c:v>
                </c:pt>
                <c:pt idx="9">
                  <c:v>128.19671199999999</c:v>
                </c:pt>
                <c:pt idx="10">
                  <c:v>131.559577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736E-4955-A4ED-D7A208819ADE}"/>
            </c:ext>
          </c:extLst>
        </c:ser>
        <c:ser>
          <c:idx val="2"/>
          <c:order val="2"/>
          <c:spPr>
            <a:solidFill>
              <a:srgbClr val="09AA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736E-4955-A4ED-D7A208819AD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736E-4955-A4ED-D7A208819ADE}"/>
                </c:ext>
              </c:extLst>
            </c:dLbl>
            <c:dLbl>
              <c:idx val="2"/>
              <c:layout>
                <c:manualLayout>
                  <c:x val="0"/>
                  <c:y val="-4.828585224529212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736E-4955-A4ED-D7A208819ADE}"/>
                </c:ext>
              </c:extLst>
            </c:dLbl>
            <c:dLbl>
              <c:idx val="3"/>
              <c:layout>
                <c:manualLayout>
                  <c:x val="0"/>
                  <c:y val="-4.828585224529212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736E-4955-A4ED-D7A208819ADE}"/>
                </c:ext>
              </c:extLst>
            </c:dLbl>
            <c:dLbl>
              <c:idx val="4"/>
              <c:layout>
                <c:manualLayout>
                  <c:x val="0"/>
                  <c:y val="-1.4485755673587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736E-4955-A4ED-D7A208819ADE}"/>
                </c:ext>
              </c:extLst>
            </c:dLbl>
            <c:dLbl>
              <c:idx val="5"/>
              <c:layout>
                <c:manualLayout>
                  <c:x val="0"/>
                  <c:y val="-1.4485755673587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736E-4955-A4ED-D7A208819ADE}"/>
                </c:ext>
              </c:extLst>
            </c:dLbl>
            <c:dLbl>
              <c:idx val="6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736E-4955-A4ED-D7A208819ADE}"/>
                </c:ext>
              </c:extLst>
            </c:dLbl>
            <c:dLbl>
              <c:idx val="7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736E-4955-A4ED-D7A208819ADE}"/>
                </c:ext>
              </c:extLst>
            </c:dLbl>
            <c:dLbl>
              <c:idx val="8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736E-4955-A4ED-D7A208819ADE}"/>
                </c:ext>
              </c:extLst>
            </c:dLbl>
            <c:dLbl>
              <c:idx val="9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736E-4955-A4ED-D7A208819ADE}"/>
                </c:ext>
              </c:extLst>
            </c:dLbl>
            <c:dLbl>
              <c:idx val="10"/>
              <c:layout>
                <c:manualLayout>
                  <c:x val="0"/>
                  <c:y val="-1.4485755673587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736E-4955-A4ED-D7A208819AD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K$3</c:f>
              <c:numCache>
                <c:formatCode>General</c:formatCode>
                <c:ptCount val="11"/>
                <c:pt idx="0">
                  <c:v>121.2887298278194</c:v>
                </c:pt>
                <c:pt idx="1">
                  <c:v>127.59605996955145</c:v>
                </c:pt>
                <c:pt idx="2">
                  <c:v>136.36015041039479</c:v>
                </c:pt>
                <c:pt idx="3">
                  <c:v>139.03979972992565</c:v>
                </c:pt>
                <c:pt idx="4">
                  <c:v>145.75786433995566</c:v>
                </c:pt>
                <c:pt idx="5">
                  <c:v>151.82872299999997</c:v>
                </c:pt>
                <c:pt idx="6">
                  <c:v>155.22050400000003</c:v>
                </c:pt>
                <c:pt idx="7">
                  <c:v>161.35362699999996</c:v>
                </c:pt>
                <c:pt idx="8">
                  <c:v>174.456502</c:v>
                </c:pt>
                <c:pt idx="9">
                  <c:v>166.43908899999997</c:v>
                </c:pt>
                <c:pt idx="10">
                  <c:v>178.687963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736E-4955-A4ED-D7A208819ADE}"/>
            </c:ext>
          </c:extLst>
        </c:ser>
        <c:ser>
          <c:idx val="3"/>
          <c:order val="3"/>
          <c:spPr>
            <a:solidFill>
              <a:srgbClr val="CAE3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4.828585224529212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736E-4955-A4ED-D7A208819AD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736E-4955-A4ED-D7A208819ADE}"/>
                </c:ext>
              </c:extLst>
            </c:dLbl>
            <c:dLbl>
              <c:idx val="2"/>
              <c:layout>
                <c:manualLayout>
                  <c:x val="0"/>
                  <c:y val="-4.828585224529212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736E-4955-A4ED-D7A208819AD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5-736E-4955-A4ED-D7A208819ADE}"/>
                </c:ext>
              </c:extLst>
            </c:dLbl>
            <c:dLbl>
              <c:idx val="4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6-736E-4955-A4ED-D7A208819ADE}"/>
                </c:ext>
              </c:extLst>
            </c:dLbl>
            <c:dLbl>
              <c:idx val="5"/>
              <c:layout>
                <c:manualLayout>
                  <c:x val="0"/>
                  <c:y val="-1.448575567358763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7-736E-4955-A4ED-D7A208819ADE}"/>
                </c:ext>
              </c:extLst>
            </c:dLbl>
            <c:dLbl>
              <c:idx val="6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8-736E-4955-A4ED-D7A208819ADE}"/>
                </c:ext>
              </c:extLst>
            </c:dLbl>
            <c:dLbl>
              <c:idx val="7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736E-4955-A4ED-D7A208819ADE}"/>
                </c:ext>
              </c:extLst>
            </c:dLbl>
            <c:dLbl>
              <c:idx val="8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A-736E-4955-A4ED-D7A208819ADE}"/>
                </c:ext>
              </c:extLst>
            </c:dLbl>
            <c:dLbl>
              <c:idx val="9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B-736E-4955-A4ED-D7A208819ADE}"/>
                </c:ext>
              </c:extLst>
            </c:dLbl>
            <c:dLbl>
              <c:idx val="10"/>
              <c:layout>
                <c:manualLayout>
                  <c:x val="0"/>
                  <c:y val="-9.657170449058425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C-736E-4955-A4ED-D7A208819AD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K$4</c:f>
              <c:numCache>
                <c:formatCode>General</c:formatCode>
                <c:ptCount val="11"/>
                <c:pt idx="0">
                  <c:v>94.704025476863308</c:v>
                </c:pt>
                <c:pt idx="1">
                  <c:v>96.389099369800306</c:v>
                </c:pt>
                <c:pt idx="2">
                  <c:v>99.166170935422372</c:v>
                </c:pt>
                <c:pt idx="3">
                  <c:v>100.36983958625433</c:v>
                </c:pt>
                <c:pt idx="4">
                  <c:v>104.61872081602894</c:v>
                </c:pt>
                <c:pt idx="5">
                  <c:v>107.03029200000003</c:v>
                </c:pt>
                <c:pt idx="6">
                  <c:v>107.67117999999999</c:v>
                </c:pt>
                <c:pt idx="7">
                  <c:v>107.46892700000001</c:v>
                </c:pt>
                <c:pt idx="8">
                  <c:v>106.04687899999999</c:v>
                </c:pt>
                <c:pt idx="9">
                  <c:v>108.00808799999999</c:v>
                </c:pt>
                <c:pt idx="10">
                  <c:v>106.769707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D-736E-4955-A4ED-D7A208819A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08621224"/>
        <c:axId val="1"/>
      </c:barChart>
      <c:catAx>
        <c:axId val="10086212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en-US"/>
          </a:p>
        </c:txPr>
        <c:crossAx val="1008621224"/>
        <c:crosses val="min"/>
        <c:crossBetween val="between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1253534401508E-2"/>
          <c:y val="2.7602905569007265E-2"/>
          <c:w val="0.94307257304429781"/>
          <c:h val="0.9447941888619855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4.842615012106537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929-4476-A8BC-DE029DA0C2F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929-4476-A8BC-DE029DA0C2F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929-4476-A8BC-DE029DA0C2F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929-4476-A8BC-DE029DA0C2FA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929-4476-A8BC-DE029DA0C2FA}"/>
                </c:ext>
              </c:extLst>
            </c:dLbl>
            <c:dLbl>
              <c:idx val="5"/>
              <c:layout>
                <c:manualLayout>
                  <c:x val="0"/>
                  <c:y val="-4.842615012106537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929-4476-A8BC-DE029DA0C2FA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929-4476-A8BC-DE029DA0C2F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22.759521889313017</c:v>
                </c:pt>
                <c:pt idx="1">
                  <c:v>21.84409905257219</c:v>
                </c:pt>
                <c:pt idx="2">
                  <c:v>19.915238692475366</c:v>
                </c:pt>
                <c:pt idx="3">
                  <c:v>20.251621956006542</c:v>
                </c:pt>
                <c:pt idx="4">
                  <c:v>21.302186088282198</c:v>
                </c:pt>
                <c:pt idx="5">
                  <c:v>20.675481649900256</c:v>
                </c:pt>
                <c:pt idx="6">
                  <c:v>21.2948101688037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929-4476-A8BC-DE029DA0C2FA}"/>
            </c:ext>
          </c:extLst>
        </c:ser>
        <c:ser>
          <c:idx val="1"/>
          <c:order val="1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929-4476-A8BC-DE029DA0C2FA}"/>
                </c:ext>
              </c:extLst>
            </c:dLbl>
            <c:dLbl>
              <c:idx val="1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F929-4476-A8BC-DE029DA0C2FA}"/>
                </c:ext>
              </c:extLst>
            </c:dLbl>
            <c:dLbl>
              <c:idx val="2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F929-4476-A8BC-DE029DA0C2FA}"/>
                </c:ext>
              </c:extLst>
            </c:dLbl>
            <c:dLbl>
              <c:idx val="3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F929-4476-A8BC-DE029DA0C2FA}"/>
                </c:ext>
              </c:extLst>
            </c:dLbl>
            <c:dLbl>
              <c:idx val="4"/>
              <c:layout>
                <c:manualLayout>
                  <c:x val="0"/>
                  <c:y val="-1.452784503631961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F929-4476-A8BC-DE029DA0C2FA}"/>
                </c:ext>
              </c:extLst>
            </c:dLbl>
            <c:dLbl>
              <c:idx val="5"/>
              <c:layout>
                <c:manualLayout>
                  <c:x val="0"/>
                  <c:y val="-1.452784503631961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F929-4476-A8BC-DE029DA0C2FA}"/>
                </c:ext>
              </c:extLst>
            </c:dLbl>
            <c:dLbl>
              <c:idx val="6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F929-4476-A8BC-DE029DA0C2F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88.295944600004205</c:v>
                </c:pt>
                <c:pt idx="1">
                  <c:v>88.207821925038104</c:v>
                </c:pt>
                <c:pt idx="2">
                  <c:v>92.350362559683916</c:v>
                </c:pt>
                <c:pt idx="3">
                  <c:v>95.878084559029404</c:v>
                </c:pt>
                <c:pt idx="4">
                  <c:v>98.03346271813858</c:v>
                </c:pt>
                <c:pt idx="5">
                  <c:v>96.763621406732113</c:v>
                </c:pt>
                <c:pt idx="6">
                  <c:v>99.923499581681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F929-4476-A8BC-DE029DA0C2FA}"/>
            </c:ext>
          </c:extLst>
        </c:ser>
        <c:ser>
          <c:idx val="2"/>
          <c:order val="2"/>
          <c:spPr>
            <a:solidFill>
              <a:srgbClr val="18AF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F929-4476-A8BC-DE029DA0C2FA}"/>
                </c:ext>
              </c:extLst>
            </c:dLbl>
            <c:dLbl>
              <c:idx val="1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F929-4476-A8BC-DE029DA0C2FA}"/>
                </c:ext>
              </c:extLst>
            </c:dLbl>
            <c:dLbl>
              <c:idx val="2"/>
              <c:layout>
                <c:manualLayout>
                  <c:x val="0"/>
                  <c:y val="-1.452784503631961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F929-4476-A8BC-DE029DA0C2FA}"/>
                </c:ext>
              </c:extLst>
            </c:dLbl>
            <c:dLbl>
              <c:idx val="3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F929-4476-A8BC-DE029DA0C2FA}"/>
                </c:ext>
              </c:extLst>
            </c:dLbl>
            <c:dLbl>
              <c:idx val="4"/>
              <c:layout>
                <c:manualLayout>
                  <c:x val="0"/>
                  <c:y val="-1.452784503631961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F929-4476-A8BC-DE029DA0C2FA}"/>
                </c:ext>
              </c:extLst>
            </c:dLbl>
            <c:dLbl>
              <c:idx val="5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F929-4476-A8BC-DE029DA0C2FA}"/>
                </c:ext>
              </c:extLst>
            </c:dLbl>
            <c:dLbl>
              <c:idx val="6"/>
              <c:layout>
                <c:manualLayout>
                  <c:x val="0"/>
                  <c:y val="-1.452784503631961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F929-4476-A8BC-DE029DA0C2F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0">
                  <c:v>74.611046109595279</c:v>
                </c:pt>
                <c:pt idx="1">
                  <c:v>78.18752952403203</c:v>
                </c:pt>
                <c:pt idx="2">
                  <c:v>81.655746451520542</c:v>
                </c:pt>
                <c:pt idx="3">
                  <c:v>83.87045546199333</c:v>
                </c:pt>
                <c:pt idx="4">
                  <c:v>89.470541358289466</c:v>
                </c:pt>
                <c:pt idx="5">
                  <c:v>85.247515053702102</c:v>
                </c:pt>
                <c:pt idx="6">
                  <c:v>91.9060135397529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F929-4476-A8BC-DE029DA0C2FA}"/>
            </c:ext>
          </c:extLst>
        </c:ser>
        <c:ser>
          <c:idx val="3"/>
          <c:order val="3"/>
          <c:spPr>
            <a:solidFill>
              <a:srgbClr val="CAE3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F929-4476-A8BC-DE029DA0C2FA}"/>
                </c:ext>
              </c:extLst>
            </c:dLbl>
            <c:dLbl>
              <c:idx val="1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F929-4476-A8BC-DE029DA0C2FA}"/>
                </c:ext>
              </c:extLst>
            </c:dLbl>
            <c:dLbl>
              <c:idx val="2"/>
              <c:layout>
                <c:manualLayout>
                  <c:x val="0"/>
                  <c:y val="-1.452784503631961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F929-4476-A8BC-DE029DA0C2FA}"/>
                </c:ext>
              </c:extLst>
            </c:dLbl>
            <c:dLbl>
              <c:idx val="3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F929-4476-A8BC-DE029DA0C2FA}"/>
                </c:ext>
              </c:extLst>
            </c:dLbl>
            <c:dLbl>
              <c:idx val="4"/>
              <c:layout>
                <c:manualLayout>
                  <c:x val="0"/>
                  <c:y val="-9.685230024213075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F929-4476-A8BC-DE029DA0C2FA}"/>
                </c:ext>
              </c:extLst>
            </c:dLbl>
            <c:dLbl>
              <c:idx val="5"/>
              <c:layout>
                <c:manualLayout>
                  <c:x val="0"/>
                  <c:y val="-1.452784503631961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F929-4476-A8BC-DE029DA0C2FA}"/>
                </c:ext>
              </c:extLst>
            </c:dLbl>
            <c:dLbl>
              <c:idx val="6"/>
              <c:layout>
                <c:manualLayout>
                  <c:x val="0"/>
                  <c:y val="-1.452784503631961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F929-4476-A8BC-DE029DA0C2F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G$4</c:f>
              <c:numCache>
                <c:formatCode>General</c:formatCode>
                <c:ptCount val="7"/>
                <c:pt idx="0">
                  <c:v>49.091362977464712</c:v>
                </c:pt>
                <c:pt idx="1">
                  <c:v>51.374927930801249</c:v>
                </c:pt>
                <c:pt idx="2">
                  <c:v>55.734607479828014</c:v>
                </c:pt>
                <c:pt idx="3">
                  <c:v>55.454494787680517</c:v>
                </c:pt>
                <c:pt idx="4">
                  <c:v>54.840290693591953</c:v>
                </c:pt>
                <c:pt idx="5">
                  <c:v>55.606255728848481</c:v>
                </c:pt>
                <c:pt idx="6">
                  <c:v>54.6578338356989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F929-4476-A8BC-DE029DA0C2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90880752"/>
        <c:axId val="1"/>
      </c:barChart>
      <c:catAx>
        <c:axId val="6908807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+mn-lt"/>
                <a:ea typeface="+mn-ea"/>
                <a:cs typeface="Arial"/>
                <a:sym typeface="+mn-lt"/>
              </a:defRPr>
            </a:pPr>
            <a:endParaRPr lang="en-US"/>
          </a:p>
        </c:txPr>
        <c:crossAx val="690880752"/>
        <c:crosses val="min"/>
        <c:crossBetween val="between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3386983904828549E-2"/>
          <c:y val="2.766990291262136E-2"/>
          <c:w val="0.94933519944016798"/>
          <c:h val="0.944660194174757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344-4D86-B72D-102FF4FB34E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344-4D86-B72D-102FF4FB34E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344-4D86-B72D-102FF4FB34E7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344-4D86-B72D-102FF4FB34E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344-4D86-B72D-102FF4FB34E7}"/>
                </c:ext>
              </c:extLst>
            </c:dLbl>
            <c:dLbl>
              <c:idx val="5"/>
              <c:layout>
                <c:manualLayout>
                  <c:x val="0"/>
                  <c:y val="-4.854368932038834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344-4D86-B72D-102FF4FB34E7}"/>
                </c:ext>
              </c:extLst>
            </c:dLbl>
            <c:dLbl>
              <c:idx val="6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344-4D86-B72D-102FF4FB34E7}"/>
                </c:ext>
              </c:extLst>
            </c:dLbl>
            <c:dLbl>
              <c:idx val="7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344-4D86-B72D-102FF4FB34E7}"/>
                </c:ext>
              </c:extLst>
            </c:dLbl>
            <c:dLbl>
              <c:idx val="8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344-4D86-B72D-102FF4FB34E7}"/>
                </c:ext>
              </c:extLst>
            </c:dLbl>
            <c:dLbl>
              <c:idx val="9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344-4D86-B72D-102FF4FB34E7}"/>
                </c:ext>
              </c:extLst>
            </c:dLbl>
            <c:dLbl>
              <c:idx val="10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B344-4D86-B72D-102FF4FB34E7}"/>
                </c:ext>
              </c:extLst>
            </c:dLbl>
            <c:dLbl>
              <c:idx val="11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B344-4D86-B72D-102FF4FB34E7}"/>
                </c:ext>
              </c:extLst>
            </c:dLbl>
            <c:dLbl>
              <c:idx val="12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B344-4D86-B72D-102FF4FB34E7}"/>
                </c:ext>
              </c:extLst>
            </c:dLbl>
            <c:dLbl>
              <c:idx val="13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B344-4D86-B72D-102FF4FB34E7}"/>
                </c:ext>
              </c:extLst>
            </c:dLbl>
            <c:dLbl>
              <c:idx val="14"/>
              <c:layout>
                <c:manualLayout>
                  <c:x val="0"/>
                  <c:y val="-1.45631067961165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B344-4D86-B72D-102FF4FB34E7}"/>
                </c:ext>
              </c:extLst>
            </c:dLbl>
            <c:dLbl>
              <c:idx val="15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B344-4D86-B72D-102FF4FB34E7}"/>
                </c:ext>
              </c:extLst>
            </c:dLbl>
            <c:dLbl>
              <c:idx val="16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B344-4D86-B72D-102FF4FB34E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Q$1</c:f>
              <c:numCache>
                <c:formatCode>General</c:formatCode>
                <c:ptCount val="17"/>
                <c:pt idx="0">
                  <c:v>517.84163478987011</c:v>
                </c:pt>
                <c:pt idx="1">
                  <c:v>525.93853450970289</c:v>
                </c:pt>
                <c:pt idx="2">
                  <c:v>534.40935684625299</c:v>
                </c:pt>
                <c:pt idx="3">
                  <c:v>551.22943477264289</c:v>
                </c:pt>
                <c:pt idx="4">
                  <c:v>558.39979764920884</c:v>
                </c:pt>
                <c:pt idx="5">
                  <c:v>548.70067431281143</c:v>
                </c:pt>
                <c:pt idx="6">
                  <c:v>542.8600539141986</c:v>
                </c:pt>
                <c:pt idx="7">
                  <c:v>537.79983771491402</c:v>
                </c:pt>
                <c:pt idx="8">
                  <c:v>530.70345337541448</c:v>
                </c:pt>
                <c:pt idx="9">
                  <c:v>500.96085320607853</c:v>
                </c:pt>
                <c:pt idx="10">
                  <c:v>504.90278499698269</c:v>
                </c:pt>
                <c:pt idx="11">
                  <c:v>495.84714789682351</c:v>
                </c:pt>
                <c:pt idx="12">
                  <c:v>504.94210268337594</c:v>
                </c:pt>
                <c:pt idx="13">
                  <c:v>530.32251453652884</c:v>
                </c:pt>
                <c:pt idx="14">
                  <c:v>548.04943744783202</c:v>
                </c:pt>
                <c:pt idx="15">
                  <c:v>572.13280639222194</c:v>
                </c:pt>
                <c:pt idx="16">
                  <c:v>283.298382477103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B344-4D86-B72D-102FF4FB34E7}"/>
            </c:ext>
          </c:extLst>
        </c:ser>
        <c:ser>
          <c:idx val="1"/>
          <c:order val="1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B344-4D86-B72D-102FF4FB34E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B344-4D86-B72D-102FF4FB34E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B344-4D86-B72D-102FF4FB34E7}"/>
                </c:ext>
              </c:extLst>
            </c:dLbl>
            <c:dLbl>
              <c:idx val="3"/>
              <c:layout>
                <c:manualLayout>
                  <c:x val="0"/>
                  <c:y val="-4.854368932038834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B344-4D86-B72D-102FF4FB34E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B344-4D86-B72D-102FF4FB34E7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B344-4D86-B72D-102FF4FB34E7}"/>
                </c:ext>
              </c:extLst>
            </c:dLbl>
            <c:dLbl>
              <c:idx val="6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B344-4D86-B72D-102FF4FB34E7}"/>
                </c:ext>
              </c:extLst>
            </c:dLbl>
            <c:dLbl>
              <c:idx val="7"/>
              <c:layout>
                <c:manualLayout>
                  <c:x val="0"/>
                  <c:y val="-1.45631067961165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B344-4D86-B72D-102FF4FB34E7}"/>
                </c:ext>
              </c:extLst>
            </c:dLbl>
            <c:dLbl>
              <c:idx val="8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B344-4D86-B72D-102FF4FB34E7}"/>
                </c:ext>
              </c:extLst>
            </c:dLbl>
            <c:dLbl>
              <c:idx val="9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B344-4D86-B72D-102FF4FB34E7}"/>
                </c:ext>
              </c:extLst>
            </c:dLbl>
            <c:dLbl>
              <c:idx val="10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B344-4D86-B72D-102FF4FB34E7}"/>
                </c:ext>
              </c:extLst>
            </c:dLbl>
            <c:dLbl>
              <c:idx val="11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B344-4D86-B72D-102FF4FB34E7}"/>
                </c:ext>
              </c:extLst>
            </c:dLbl>
            <c:dLbl>
              <c:idx val="12"/>
              <c:layout>
                <c:manualLayout>
                  <c:x val="0"/>
                  <c:y val="-1.45631067961165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B344-4D86-B72D-102FF4FB34E7}"/>
                </c:ext>
              </c:extLst>
            </c:dLbl>
            <c:dLbl>
              <c:idx val="13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B344-4D86-B72D-102FF4FB34E7}"/>
                </c:ext>
              </c:extLst>
            </c:dLbl>
            <c:dLbl>
              <c:idx val="14"/>
              <c:layout>
                <c:manualLayout>
                  <c:x val="0"/>
                  <c:y val="-1.45631067961165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B344-4D86-B72D-102FF4FB34E7}"/>
                </c:ext>
              </c:extLst>
            </c:dLbl>
            <c:dLbl>
              <c:idx val="15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B344-4D86-B72D-102FF4FB34E7}"/>
                </c:ext>
              </c:extLst>
            </c:dLbl>
            <c:dLbl>
              <c:idx val="16"/>
              <c:layout>
                <c:manualLayout>
                  <c:x val="0"/>
                  <c:y val="-1.45631067961165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B344-4D86-B72D-102FF4FB34E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Q$2</c:f>
              <c:numCache>
                <c:formatCode>General</c:formatCode>
                <c:ptCount val="17"/>
                <c:pt idx="0">
                  <c:v>587.93159956779618</c:v>
                </c:pt>
                <c:pt idx="1">
                  <c:v>559.5197397403839</c:v>
                </c:pt>
                <c:pt idx="2">
                  <c:v>573.57327326125494</c:v>
                </c:pt>
                <c:pt idx="3">
                  <c:v>527.02800137729537</c:v>
                </c:pt>
                <c:pt idx="4">
                  <c:v>538.78239637830745</c:v>
                </c:pt>
                <c:pt idx="5">
                  <c:v>502.16838401642133</c:v>
                </c:pt>
                <c:pt idx="6">
                  <c:v>538.06914774741824</c:v>
                </c:pt>
                <c:pt idx="7">
                  <c:v>520.54648597801884</c:v>
                </c:pt>
                <c:pt idx="8">
                  <c:v>562.78794452071543</c:v>
                </c:pt>
                <c:pt idx="9">
                  <c:v>584.06331187200294</c:v>
                </c:pt>
                <c:pt idx="10">
                  <c:v>609.31160351963103</c:v>
                </c:pt>
                <c:pt idx="11">
                  <c:v>600.62788829810461</c:v>
                </c:pt>
                <c:pt idx="12">
                  <c:v>606.70373087448706</c:v>
                </c:pt>
                <c:pt idx="13">
                  <c:v>632.24227048891089</c:v>
                </c:pt>
                <c:pt idx="14">
                  <c:v>618.71858417570468</c:v>
                </c:pt>
                <c:pt idx="15">
                  <c:v>633.24796266848921</c:v>
                </c:pt>
                <c:pt idx="16">
                  <c:v>331.623388216729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3-B344-4D86-B72D-102FF4FB34E7}"/>
            </c:ext>
          </c:extLst>
        </c:ser>
        <c:ser>
          <c:idx val="2"/>
          <c:order val="2"/>
          <c:spPr>
            <a:solidFill>
              <a:srgbClr val="25B4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B344-4D86-B72D-102FF4FB34E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5-B344-4D86-B72D-102FF4FB34E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6-B344-4D86-B72D-102FF4FB34E7}"/>
                </c:ext>
              </c:extLst>
            </c:dLbl>
            <c:dLbl>
              <c:idx val="3"/>
              <c:layout>
                <c:manualLayout>
                  <c:x val="0"/>
                  <c:y val="-4.854368932038834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7-B344-4D86-B72D-102FF4FB34E7}"/>
                </c:ext>
              </c:extLst>
            </c:dLbl>
            <c:dLbl>
              <c:idx val="4"/>
              <c:layout>
                <c:manualLayout>
                  <c:x val="0"/>
                  <c:y val="-4.854368932038834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8-B344-4D86-B72D-102FF4FB34E7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B344-4D86-B72D-102FF4FB34E7}"/>
                </c:ext>
              </c:extLst>
            </c:dLbl>
            <c:dLbl>
              <c:idx val="6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A-B344-4D86-B72D-102FF4FB34E7}"/>
                </c:ext>
              </c:extLst>
            </c:dLbl>
            <c:dLbl>
              <c:idx val="7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B-B344-4D86-B72D-102FF4FB34E7}"/>
                </c:ext>
              </c:extLst>
            </c:dLbl>
            <c:dLbl>
              <c:idx val="8"/>
              <c:layout>
                <c:manualLayout>
                  <c:x val="0"/>
                  <c:y val="-1.45631067961165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C-B344-4D86-B72D-102FF4FB34E7}"/>
                </c:ext>
              </c:extLst>
            </c:dLbl>
            <c:dLbl>
              <c:idx val="9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D-B344-4D86-B72D-102FF4FB34E7}"/>
                </c:ext>
              </c:extLst>
            </c:dLbl>
            <c:dLbl>
              <c:idx val="10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E-B344-4D86-B72D-102FF4FB34E7}"/>
                </c:ext>
              </c:extLst>
            </c:dLbl>
            <c:dLbl>
              <c:idx val="11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F-B344-4D86-B72D-102FF4FB34E7}"/>
                </c:ext>
              </c:extLst>
            </c:dLbl>
            <c:dLbl>
              <c:idx val="12"/>
              <c:layout>
                <c:manualLayout>
                  <c:x val="0"/>
                  <c:y val="-1.45631067961165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0-B344-4D86-B72D-102FF4FB34E7}"/>
                </c:ext>
              </c:extLst>
            </c:dLbl>
            <c:dLbl>
              <c:idx val="13"/>
              <c:layout>
                <c:manualLayout>
                  <c:x val="0"/>
                  <c:y val="-1.45631067961165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1-B344-4D86-B72D-102FF4FB34E7}"/>
                </c:ext>
              </c:extLst>
            </c:dLbl>
            <c:dLbl>
              <c:idx val="14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2-B344-4D86-B72D-102FF4FB34E7}"/>
                </c:ext>
              </c:extLst>
            </c:dLbl>
            <c:dLbl>
              <c:idx val="15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3-B344-4D86-B72D-102FF4FB34E7}"/>
                </c:ext>
              </c:extLst>
            </c:dLbl>
            <c:dLbl>
              <c:idx val="16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4-B344-4D86-B72D-102FF4FB34E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Q$3</c:f>
              <c:numCache>
                <c:formatCode>General</c:formatCode>
                <c:ptCount val="17"/>
                <c:pt idx="0">
                  <c:v>419.27014954877995</c:v>
                </c:pt>
                <c:pt idx="1">
                  <c:v>427.20300494589355</c:v>
                </c:pt>
                <c:pt idx="2">
                  <c:v>448.6665683181418</c:v>
                </c:pt>
                <c:pt idx="3">
                  <c:v>425.69551255269516</c:v>
                </c:pt>
                <c:pt idx="4">
                  <c:v>425.92273160071409</c:v>
                </c:pt>
                <c:pt idx="5">
                  <c:v>404.80132510602516</c:v>
                </c:pt>
                <c:pt idx="6">
                  <c:v>423.66820278803743</c:v>
                </c:pt>
                <c:pt idx="7">
                  <c:v>422.75261868677148</c:v>
                </c:pt>
                <c:pt idx="8">
                  <c:v>453.86159974600582</c:v>
                </c:pt>
                <c:pt idx="9">
                  <c:v>465.21104609442477</c:v>
                </c:pt>
                <c:pt idx="10">
                  <c:v>488.98363103386555</c:v>
                </c:pt>
                <c:pt idx="11">
                  <c:v>489.06856163116663</c:v>
                </c:pt>
                <c:pt idx="12">
                  <c:v>504.02432671501083</c:v>
                </c:pt>
                <c:pt idx="13">
                  <c:v>557.28185924238323</c:v>
                </c:pt>
                <c:pt idx="14">
                  <c:v>567.92897819002428</c:v>
                </c:pt>
                <c:pt idx="15">
                  <c:v>606.23553125763215</c:v>
                </c:pt>
                <c:pt idx="16">
                  <c:v>320.61621324666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5-B344-4D86-B72D-102FF4FB34E7}"/>
            </c:ext>
          </c:extLst>
        </c:ser>
        <c:ser>
          <c:idx val="3"/>
          <c:order val="3"/>
          <c:spPr>
            <a:solidFill>
              <a:srgbClr val="CAE3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6-B344-4D86-B72D-102FF4FB34E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7-B344-4D86-B72D-102FF4FB34E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8-B344-4D86-B72D-102FF4FB34E7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9-B344-4D86-B72D-102FF4FB34E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A-B344-4D86-B72D-102FF4FB34E7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B-B344-4D86-B72D-102FF4FB34E7}"/>
                </c:ext>
              </c:extLst>
            </c:dLbl>
            <c:dLbl>
              <c:idx val="6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C-B344-4D86-B72D-102FF4FB34E7}"/>
                </c:ext>
              </c:extLst>
            </c:dLbl>
            <c:dLbl>
              <c:idx val="7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D-B344-4D86-B72D-102FF4FB34E7}"/>
                </c:ext>
              </c:extLst>
            </c:dLbl>
            <c:dLbl>
              <c:idx val="8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E-B344-4D86-B72D-102FF4FB34E7}"/>
                </c:ext>
              </c:extLst>
            </c:dLbl>
            <c:dLbl>
              <c:idx val="9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F-B344-4D86-B72D-102FF4FB34E7}"/>
                </c:ext>
              </c:extLst>
            </c:dLbl>
            <c:dLbl>
              <c:idx val="10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0-B344-4D86-B72D-102FF4FB34E7}"/>
                </c:ext>
              </c:extLst>
            </c:dLbl>
            <c:dLbl>
              <c:idx val="11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1-B344-4D86-B72D-102FF4FB34E7}"/>
                </c:ext>
              </c:extLst>
            </c:dLbl>
            <c:dLbl>
              <c:idx val="12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2-B344-4D86-B72D-102FF4FB34E7}"/>
                </c:ext>
              </c:extLst>
            </c:dLbl>
            <c:dLbl>
              <c:idx val="13"/>
              <c:layout>
                <c:manualLayout>
                  <c:x val="0"/>
                  <c:y val="-1.45631067961165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3-B344-4D86-B72D-102FF4FB34E7}"/>
                </c:ext>
              </c:extLst>
            </c:dLbl>
            <c:dLbl>
              <c:idx val="14"/>
              <c:layout>
                <c:manualLayout>
                  <c:x val="0"/>
                  <c:y val="-1.45631067961165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4-B344-4D86-B72D-102FF4FB34E7}"/>
                </c:ext>
              </c:extLst>
            </c:dLbl>
            <c:dLbl>
              <c:idx val="15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5-B344-4D86-B72D-102FF4FB34E7}"/>
                </c:ext>
              </c:extLst>
            </c:dLbl>
            <c:dLbl>
              <c:idx val="16"/>
              <c:layout>
                <c:manualLayout>
                  <c:x val="0"/>
                  <c:y val="-1.45631067961165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46-B344-4D86-B72D-102FF4FB34E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Q$4</c:f>
              <c:numCache>
                <c:formatCode>General</c:formatCode>
                <c:ptCount val="17"/>
                <c:pt idx="0">
                  <c:v>305.26937632632757</c:v>
                </c:pt>
                <c:pt idx="1">
                  <c:v>320.67903743103193</c:v>
                </c:pt>
                <c:pt idx="2">
                  <c:v>323.29418979021989</c:v>
                </c:pt>
                <c:pt idx="3">
                  <c:v>346.66967635260676</c:v>
                </c:pt>
                <c:pt idx="4">
                  <c:v>331.36643691078802</c:v>
                </c:pt>
                <c:pt idx="5">
                  <c:v>376.88255979219252</c:v>
                </c:pt>
                <c:pt idx="6">
                  <c:v>373.2136686541935</c:v>
                </c:pt>
                <c:pt idx="7">
                  <c:v>423.33260586329357</c:v>
                </c:pt>
                <c:pt idx="8">
                  <c:v>406.69549369469564</c:v>
                </c:pt>
                <c:pt idx="9">
                  <c:v>456.33830410413111</c:v>
                </c:pt>
                <c:pt idx="10">
                  <c:v>405.84415707269932</c:v>
                </c:pt>
                <c:pt idx="11">
                  <c:v>511.07821218086383</c:v>
                </c:pt>
                <c:pt idx="12">
                  <c:v>409.43847043102846</c:v>
                </c:pt>
                <c:pt idx="13">
                  <c:v>475.66073955521256</c:v>
                </c:pt>
                <c:pt idx="14">
                  <c:v>425.1278564451577</c:v>
                </c:pt>
                <c:pt idx="15">
                  <c:v>482.37227510964158</c:v>
                </c:pt>
                <c:pt idx="16">
                  <c:v>227.482260320037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7-B344-4D86-B72D-102FF4FB34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26356392"/>
        <c:axId val="1"/>
      </c:barChart>
      <c:catAx>
        <c:axId val="5263563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526356392"/>
        <c:crosses val="min"/>
        <c:crossBetween val="between"/>
        <c:majorUnit val="1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750035750035748E-2"/>
          <c:y val="2.766990291262136E-2"/>
          <c:w val="0.95681395681395687"/>
          <c:h val="0.944660194174757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-4.854368932038834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8BF-42B6-A5E0-3CDE2565D6F2}"/>
                </c:ext>
              </c:extLst>
            </c:dLbl>
            <c:dLbl>
              <c:idx val="8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8BF-42B6-A5E0-3CDE2565D6F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Q$1</c:f>
              <c:numCache>
                <c:formatCode>General</c:formatCode>
                <c:ptCount val="17"/>
                <c:pt idx="0">
                  <c:v>15.043260358084929</c:v>
                </c:pt>
                <c:pt idx="1">
                  <c:v>15.395502060659041</c:v>
                </c:pt>
                <c:pt idx="2">
                  <c:v>10.446494</c:v>
                </c:pt>
                <c:pt idx="3">
                  <c:v>10.947528999999999</c:v>
                </c:pt>
                <c:pt idx="4">
                  <c:v>11.862563999999999</c:v>
                </c:pt>
                <c:pt idx="5">
                  <c:v>12.075997000000001</c:v>
                </c:pt>
                <c:pt idx="6">
                  <c:v>13.427544000000001</c:v>
                </c:pt>
                <c:pt idx="7">
                  <c:v>13.129251999999999</c:v>
                </c:pt>
                <c:pt idx="8">
                  <c:v>13.866682000000001</c:v>
                </c:pt>
                <c:pt idx="9">
                  <c:v>11.782629</c:v>
                </c:pt>
                <c:pt idx="10">
                  <c:v>11.595947000000001</c:v>
                </c:pt>
                <c:pt idx="11">
                  <c:v>10.735448</c:v>
                </c:pt>
                <c:pt idx="12">
                  <c:v>11.141211999999999</c:v>
                </c:pt>
                <c:pt idx="13">
                  <c:v>11.457535999999999</c:v>
                </c:pt>
                <c:pt idx="14">
                  <c:v>11.891591</c:v>
                </c:pt>
                <c:pt idx="15">
                  <c:v>11.721426000000001</c:v>
                </c:pt>
                <c:pt idx="16">
                  <c:v>5.776870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BF-42B6-A5E0-3CDE2565D6F2}"/>
            </c:ext>
          </c:extLst>
        </c:ser>
        <c:ser>
          <c:idx val="1"/>
          <c:order val="1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8BF-42B6-A5E0-3CDE2565D6F2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8BF-42B6-A5E0-3CDE2565D6F2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8BF-42B6-A5E0-3CDE2565D6F2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8BF-42B6-A5E0-3CDE2565D6F2}"/>
                </c:ext>
              </c:extLst>
            </c:dLbl>
            <c:dLbl>
              <c:idx val="4"/>
              <c:layout>
                <c:manualLayout>
                  <c:x val="0"/>
                  <c:y val="-4.854368932038834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8BF-42B6-A5E0-3CDE2565D6F2}"/>
                </c:ext>
              </c:extLst>
            </c:dLbl>
            <c:dLbl>
              <c:idx val="5"/>
              <c:layout>
                <c:manualLayout>
                  <c:x val="0"/>
                  <c:y val="-4.854368932038834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A8BF-42B6-A5E0-3CDE2565D6F2}"/>
                </c:ext>
              </c:extLst>
            </c:dLbl>
            <c:dLbl>
              <c:idx val="6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8BF-42B6-A5E0-3CDE2565D6F2}"/>
                </c:ext>
              </c:extLst>
            </c:dLbl>
            <c:dLbl>
              <c:idx val="7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8BF-42B6-A5E0-3CDE2565D6F2}"/>
                </c:ext>
              </c:extLst>
            </c:dLbl>
            <c:dLbl>
              <c:idx val="8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8BF-42B6-A5E0-3CDE2565D6F2}"/>
                </c:ext>
              </c:extLst>
            </c:dLbl>
            <c:dLbl>
              <c:idx val="9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8BF-42B6-A5E0-3CDE2565D6F2}"/>
                </c:ext>
              </c:extLst>
            </c:dLbl>
            <c:dLbl>
              <c:idx val="10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A8BF-42B6-A5E0-3CDE2565D6F2}"/>
                </c:ext>
              </c:extLst>
            </c:dLbl>
            <c:dLbl>
              <c:idx val="11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A8BF-42B6-A5E0-3CDE2565D6F2}"/>
                </c:ext>
              </c:extLst>
            </c:dLbl>
            <c:dLbl>
              <c:idx val="12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A8BF-42B6-A5E0-3CDE2565D6F2}"/>
                </c:ext>
              </c:extLst>
            </c:dLbl>
            <c:dLbl>
              <c:idx val="13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A8BF-42B6-A5E0-3CDE2565D6F2}"/>
                </c:ext>
              </c:extLst>
            </c:dLbl>
            <c:dLbl>
              <c:idx val="14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A8BF-42B6-A5E0-3CDE2565D6F2}"/>
                </c:ext>
              </c:extLst>
            </c:dLbl>
            <c:dLbl>
              <c:idx val="15"/>
              <c:layout>
                <c:manualLayout>
                  <c:x val="0"/>
                  <c:y val="-1.45631067961165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A8BF-42B6-A5E0-3CDE2565D6F2}"/>
                </c:ext>
              </c:extLst>
            </c:dLbl>
            <c:dLbl>
              <c:idx val="16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A8BF-42B6-A5E0-3CDE2565D6F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Q$2</c:f>
              <c:numCache>
                <c:formatCode>General</c:formatCode>
                <c:ptCount val="17"/>
                <c:pt idx="0">
                  <c:v>64.081191233701219</c:v>
                </c:pt>
                <c:pt idx="1">
                  <c:v>60.039225243060301</c:v>
                </c:pt>
                <c:pt idx="2">
                  <c:v>65.284510999999995</c:v>
                </c:pt>
                <c:pt idx="3">
                  <c:v>64.117018999999999</c:v>
                </c:pt>
                <c:pt idx="4">
                  <c:v>66.06150199999999</c:v>
                </c:pt>
                <c:pt idx="5">
                  <c:v>63.202286000000001</c:v>
                </c:pt>
                <c:pt idx="6">
                  <c:v>64.329157999999993</c:v>
                </c:pt>
                <c:pt idx="7">
                  <c:v>62.943523999999989</c:v>
                </c:pt>
                <c:pt idx="8">
                  <c:v>63.792114999999995</c:v>
                </c:pt>
                <c:pt idx="9">
                  <c:v>63.087764000000007</c:v>
                </c:pt>
                <c:pt idx="10">
                  <c:v>65.433586000000005</c:v>
                </c:pt>
                <c:pt idx="11">
                  <c:v>62.390084000000009</c:v>
                </c:pt>
                <c:pt idx="12">
                  <c:v>62.383656000000002</c:v>
                </c:pt>
                <c:pt idx="13">
                  <c:v>64.984909000000002</c:v>
                </c:pt>
                <c:pt idx="14">
                  <c:v>63.592582999999998</c:v>
                </c:pt>
                <c:pt idx="15">
                  <c:v>65.555079000000006</c:v>
                </c:pt>
                <c:pt idx="16">
                  <c:v>33.959978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A8BF-42B6-A5E0-3CDE2565D6F2}"/>
            </c:ext>
          </c:extLst>
        </c:ser>
        <c:ser>
          <c:idx val="2"/>
          <c:order val="2"/>
          <c:spPr>
            <a:solidFill>
              <a:srgbClr val="25B4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A8BF-42B6-A5E0-3CDE2565D6F2}"/>
                </c:ext>
              </c:extLst>
            </c:dLbl>
            <c:dLbl>
              <c:idx val="1"/>
              <c:layout>
                <c:manualLayout>
                  <c:x val="0"/>
                  <c:y val="-4.854368932038834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A8BF-42B6-A5E0-3CDE2565D6F2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A8BF-42B6-A5E0-3CDE2565D6F2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A8BF-42B6-A5E0-3CDE2565D6F2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A8BF-42B6-A5E0-3CDE2565D6F2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A8BF-42B6-A5E0-3CDE2565D6F2}"/>
                </c:ext>
              </c:extLst>
            </c:dLbl>
            <c:dLbl>
              <c:idx val="6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A8BF-42B6-A5E0-3CDE2565D6F2}"/>
                </c:ext>
              </c:extLst>
            </c:dLbl>
            <c:dLbl>
              <c:idx val="7"/>
              <c:layout>
                <c:manualLayout>
                  <c:x val="0"/>
                  <c:y val="-1.45631067961165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A8BF-42B6-A5E0-3CDE2565D6F2}"/>
                </c:ext>
              </c:extLst>
            </c:dLbl>
            <c:dLbl>
              <c:idx val="8"/>
              <c:layout>
                <c:manualLayout>
                  <c:x val="0"/>
                  <c:y val="-1.45631067961165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A8BF-42B6-A5E0-3CDE2565D6F2}"/>
                </c:ext>
              </c:extLst>
            </c:dLbl>
            <c:dLbl>
              <c:idx val="9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A8BF-42B6-A5E0-3CDE2565D6F2}"/>
                </c:ext>
              </c:extLst>
            </c:dLbl>
            <c:dLbl>
              <c:idx val="10"/>
              <c:layout>
                <c:manualLayout>
                  <c:x val="0"/>
                  <c:y val="-1.45631067961165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A8BF-42B6-A5E0-3CDE2565D6F2}"/>
                </c:ext>
              </c:extLst>
            </c:dLbl>
            <c:dLbl>
              <c:idx val="11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A8BF-42B6-A5E0-3CDE2565D6F2}"/>
                </c:ext>
              </c:extLst>
            </c:dLbl>
            <c:dLbl>
              <c:idx val="12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A8BF-42B6-A5E0-3CDE2565D6F2}"/>
                </c:ext>
              </c:extLst>
            </c:dLbl>
            <c:dLbl>
              <c:idx val="13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A8BF-42B6-A5E0-3CDE2565D6F2}"/>
                </c:ext>
              </c:extLst>
            </c:dLbl>
            <c:dLbl>
              <c:idx val="14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A8BF-42B6-A5E0-3CDE2565D6F2}"/>
                </c:ext>
              </c:extLst>
            </c:dLbl>
            <c:dLbl>
              <c:idx val="15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A8BF-42B6-A5E0-3CDE2565D6F2}"/>
                </c:ext>
              </c:extLst>
            </c:dLbl>
            <c:dLbl>
              <c:idx val="16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5-A8BF-42B6-A5E0-3CDE2565D6F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Q$3</c:f>
              <c:numCache>
                <c:formatCode>General</c:formatCode>
                <c:ptCount val="17"/>
                <c:pt idx="0">
                  <c:v>63.335343614695176</c:v>
                </c:pt>
                <c:pt idx="1">
                  <c:v>64.329848245256869</c:v>
                </c:pt>
                <c:pt idx="2">
                  <c:v>67.916881000000004</c:v>
                </c:pt>
                <c:pt idx="3">
                  <c:v>68.443286000000001</c:v>
                </c:pt>
                <c:pt idx="4">
                  <c:v>69.839955000000003</c:v>
                </c:pt>
                <c:pt idx="5">
                  <c:v>69.199854999999999</c:v>
                </c:pt>
                <c:pt idx="6">
                  <c:v>72.454925000000003</c:v>
                </c:pt>
                <c:pt idx="7">
                  <c:v>73.304050000000004</c:v>
                </c:pt>
                <c:pt idx="8">
                  <c:v>75.861515999999995</c:v>
                </c:pt>
                <c:pt idx="9">
                  <c:v>75.949972000000002</c:v>
                </c:pt>
                <c:pt idx="10">
                  <c:v>79.607433999999998</c:v>
                </c:pt>
                <c:pt idx="11">
                  <c:v>75.610434000000012</c:v>
                </c:pt>
                <c:pt idx="12">
                  <c:v>76.595555000000019</c:v>
                </c:pt>
                <c:pt idx="13">
                  <c:v>84.758071999999984</c:v>
                </c:pt>
                <c:pt idx="14">
                  <c:v>84.389094999999998</c:v>
                </c:pt>
                <c:pt idx="15">
                  <c:v>90.067407000000003</c:v>
                </c:pt>
                <c:pt idx="16">
                  <c:v>46.535288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6-A8BF-42B6-A5E0-3CDE2565D6F2}"/>
            </c:ext>
          </c:extLst>
        </c:ser>
        <c:ser>
          <c:idx val="3"/>
          <c:order val="3"/>
          <c:spPr>
            <a:solidFill>
              <a:srgbClr val="CAE3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7-A8BF-42B6-A5E0-3CDE2565D6F2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8-A8BF-42B6-A5E0-3CDE2565D6F2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A8BF-42B6-A5E0-3CDE2565D6F2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A-A8BF-42B6-A5E0-3CDE2565D6F2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B-A8BF-42B6-A5E0-3CDE2565D6F2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C-A8BF-42B6-A5E0-3CDE2565D6F2}"/>
                </c:ext>
              </c:extLst>
            </c:dLbl>
            <c:dLbl>
              <c:idx val="6"/>
              <c:layout>
                <c:manualLayout>
                  <c:x val="0"/>
                  <c:y val="-1.45631067961165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D-A8BF-42B6-A5E0-3CDE2565D6F2}"/>
                </c:ext>
              </c:extLst>
            </c:dLbl>
            <c:dLbl>
              <c:idx val="7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E-A8BF-42B6-A5E0-3CDE2565D6F2}"/>
                </c:ext>
              </c:extLst>
            </c:dLbl>
            <c:dLbl>
              <c:idx val="8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F-A8BF-42B6-A5E0-3CDE2565D6F2}"/>
                </c:ext>
              </c:extLst>
            </c:dLbl>
            <c:dLbl>
              <c:idx val="9"/>
              <c:layout>
                <c:manualLayout>
                  <c:x val="0"/>
                  <c:y val="-1.45631067961165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0-A8BF-42B6-A5E0-3CDE2565D6F2}"/>
                </c:ext>
              </c:extLst>
            </c:dLbl>
            <c:dLbl>
              <c:idx val="10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1-A8BF-42B6-A5E0-3CDE2565D6F2}"/>
                </c:ext>
              </c:extLst>
            </c:dLbl>
            <c:dLbl>
              <c:idx val="11"/>
              <c:layout>
                <c:manualLayout>
                  <c:x val="0"/>
                  <c:y val="-1.45631067961165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2-A8BF-42B6-A5E0-3CDE2565D6F2}"/>
                </c:ext>
              </c:extLst>
            </c:dLbl>
            <c:dLbl>
              <c:idx val="12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3-A8BF-42B6-A5E0-3CDE2565D6F2}"/>
                </c:ext>
              </c:extLst>
            </c:dLbl>
            <c:dLbl>
              <c:idx val="13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4-A8BF-42B6-A5E0-3CDE2565D6F2}"/>
                </c:ext>
              </c:extLst>
            </c:dLbl>
            <c:dLbl>
              <c:idx val="14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5-A8BF-42B6-A5E0-3CDE2565D6F2}"/>
                </c:ext>
              </c:extLst>
            </c:dLbl>
            <c:dLbl>
              <c:idx val="15"/>
              <c:layout>
                <c:manualLayout>
                  <c:x val="0"/>
                  <c:y val="-9.708737864077669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6-A8BF-42B6-A5E0-3CDE2565D6F2}"/>
                </c:ext>
              </c:extLst>
            </c:dLbl>
            <c:dLbl>
              <c:idx val="16"/>
              <c:layout>
                <c:manualLayout>
                  <c:x val="0"/>
                  <c:y val="-1.45631067961165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7-A8BF-42B6-A5E0-3CDE2565D6F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Q$4</c:f>
              <c:numCache>
                <c:formatCode>General</c:formatCode>
                <c:ptCount val="17"/>
                <c:pt idx="0">
                  <c:v>47.977226793518696</c:v>
                </c:pt>
                <c:pt idx="1">
                  <c:v>48.464096451023806</c:v>
                </c:pt>
                <c:pt idx="2">
                  <c:v>48.462873000000002</c:v>
                </c:pt>
                <c:pt idx="3">
                  <c:v>50.703309999999988</c:v>
                </c:pt>
                <c:pt idx="4">
                  <c:v>49.016577000000012</c:v>
                </c:pt>
                <c:pt idx="5">
                  <c:v>51.353270000000009</c:v>
                </c:pt>
                <c:pt idx="6">
                  <c:v>51.136222000000004</c:v>
                </c:pt>
                <c:pt idx="7">
                  <c:v>53.483295999999996</c:v>
                </c:pt>
                <c:pt idx="8">
                  <c:v>52.618518999999992</c:v>
                </c:pt>
                <c:pt idx="9">
                  <c:v>54.430222999999984</c:v>
                </c:pt>
                <c:pt idx="10">
                  <c:v>52.261695000000003</c:v>
                </c:pt>
                <c:pt idx="11">
                  <c:v>55.412121000000013</c:v>
                </c:pt>
                <c:pt idx="12">
                  <c:v>50.760180999999989</c:v>
                </c:pt>
                <c:pt idx="13">
                  <c:v>56.708745999999991</c:v>
                </c:pt>
                <c:pt idx="14">
                  <c:v>51.047514000000007</c:v>
                </c:pt>
                <c:pt idx="15">
                  <c:v>54.999364999999983</c:v>
                </c:pt>
                <c:pt idx="16">
                  <c:v>26.1983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8-A8BF-42B6-A5E0-3CDE2565D6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09804512"/>
        <c:axId val="1"/>
      </c:barChart>
      <c:catAx>
        <c:axId val="12098045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+mn-lt"/>
                <a:ea typeface="+mn-ea"/>
                <a:cs typeface="Arial"/>
                <a:sym typeface="+mn-lt"/>
              </a:defRPr>
            </a:pPr>
            <a:endParaRPr lang="en-US"/>
          </a:p>
        </c:txPr>
        <c:crossAx val="1209804512"/>
        <c:crosses val="min"/>
        <c:crossBetween val="between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123167155425219"/>
          <c:y val="4.6804680468046804E-2"/>
          <c:w val="0.73826979472140764"/>
          <c:h val="0.90639063906390638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A29-483E-A3EA-7353DD26E2B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A29-483E-A3EA-7353DD26E2B7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3A29-483E-A3EA-7353DD26E2B7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A29-483E-A3EA-7353DD26E2B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3A29-483E-A3EA-7353DD26E2B7}"/>
              </c:ext>
            </c:extLst>
          </c:dPt>
          <c:dLbls>
            <c:dLbl>
              <c:idx val="0"/>
              <c:layout>
                <c:manualLayout>
                  <c:x val="8.9442815249266866E-2"/>
                  <c:y val="-8.010801080108011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A29-483E-A3EA-7353DD26E2B7}"/>
                </c:ext>
              </c:extLst>
            </c:dLbl>
            <c:dLbl>
              <c:idx val="1"/>
              <c:layout>
                <c:manualLayout>
                  <c:x val="4.1055718475073312E-2"/>
                  <c:y val="0.1431143114311431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A29-483E-A3EA-7353DD26E2B7}"/>
                </c:ext>
              </c:extLst>
            </c:dLbl>
            <c:dLbl>
              <c:idx val="2"/>
              <c:layout>
                <c:manualLayout>
                  <c:x val="-0.10997067448680352"/>
                  <c:y val="3.510351035103510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A29-483E-A3EA-7353DD26E2B7}"/>
                </c:ext>
              </c:extLst>
            </c:dLbl>
            <c:dLbl>
              <c:idx val="4"/>
              <c:layout>
                <c:manualLayout>
                  <c:x val="-4.6187683284457479E-2"/>
                  <c:y val="-0.139513951395139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A29-483E-A3EA-7353DD26E2B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29.963245728769238</c:v>
                </c:pt>
                <c:pt idx="1">
                  <c:v>29.385960247575177</c:v>
                </c:pt>
                <c:pt idx="2">
                  <c:v>23.200724030631967</c:v>
                </c:pt>
                <c:pt idx="3">
                  <c:v>5.1639668728957524</c:v>
                </c:pt>
                <c:pt idx="4">
                  <c:v>12.2861031201278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A29-483E-A3EA-7353DD26E2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365079365079361E-2"/>
          <c:y val="2.9874213836477988E-2"/>
          <c:w val="0.90412698412698411"/>
          <c:h val="0.9402515723270440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68C-467C-A431-F7CDD750BF68}"/>
                </c:ext>
              </c:extLst>
            </c:dLbl>
            <c:dLbl>
              <c:idx val="1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68C-467C-A431-F7CDD750BF68}"/>
                </c:ext>
              </c:extLst>
            </c:dLbl>
            <c:dLbl>
              <c:idx val="2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68C-467C-A431-F7CDD750BF68}"/>
                </c:ext>
              </c:extLst>
            </c:dLbl>
            <c:dLbl>
              <c:idx val="3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68C-467C-A431-F7CDD750BF68}"/>
                </c:ext>
              </c:extLst>
            </c:dLbl>
            <c:dLbl>
              <c:idx val="4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68C-467C-A431-F7CDD750BF6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0.04702314372971</c:v>
                </c:pt>
                <c:pt idx="1">
                  <c:v>30.404865382321844</c:v>
                </c:pt>
                <c:pt idx="2">
                  <c:v>31.414492373334035</c:v>
                </c:pt>
                <c:pt idx="3">
                  <c:v>28.830691078973537</c:v>
                </c:pt>
                <c:pt idx="4">
                  <c:v>29.3773514268782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68C-467C-A431-F7CDD750BF68}"/>
            </c:ext>
          </c:extLst>
        </c:ser>
        <c:ser>
          <c:idx val="1"/>
          <c:order val="1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68C-467C-A431-F7CDD750BF68}"/>
                </c:ext>
              </c:extLst>
            </c:dLbl>
            <c:dLbl>
              <c:idx val="1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68C-467C-A431-F7CDD750BF68}"/>
                </c:ext>
              </c:extLst>
            </c:dLbl>
            <c:dLbl>
              <c:idx val="2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A68C-467C-A431-F7CDD750BF68}"/>
                </c:ext>
              </c:extLst>
            </c:dLbl>
            <c:dLbl>
              <c:idx val="3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68C-467C-A431-F7CDD750BF68}"/>
                </c:ext>
              </c:extLst>
            </c:dLbl>
            <c:dLbl>
              <c:idx val="4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68C-467C-A431-F7CDD750BF6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29.899376517350525</c:v>
                </c:pt>
                <c:pt idx="1">
                  <c:v>29.841259808017597</c:v>
                </c:pt>
                <c:pt idx="2">
                  <c:v>29.002038420881078</c:v>
                </c:pt>
                <c:pt idx="3">
                  <c:v>28.55401407987511</c:v>
                </c:pt>
                <c:pt idx="4">
                  <c:v>30.1818959435277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68C-467C-A431-F7CDD750BF68}"/>
            </c:ext>
          </c:extLst>
        </c:ser>
        <c:ser>
          <c:idx val="2"/>
          <c:order val="2"/>
          <c:spPr>
            <a:solidFill>
              <a:srgbClr val="25B4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68C-467C-A431-F7CDD750BF68}"/>
                </c:ext>
              </c:extLst>
            </c:dLbl>
            <c:dLbl>
              <c:idx val="1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A68C-467C-A431-F7CDD750BF68}"/>
                </c:ext>
              </c:extLst>
            </c:dLbl>
            <c:dLbl>
              <c:idx val="2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A68C-467C-A431-F7CDD750BF68}"/>
                </c:ext>
              </c:extLst>
            </c:dLbl>
            <c:dLbl>
              <c:idx val="3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A68C-467C-A431-F7CDD750BF68}"/>
                </c:ext>
              </c:extLst>
            </c:dLbl>
            <c:dLbl>
              <c:idx val="4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A68C-467C-A431-F7CDD750BF6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23.289908381845166</c:v>
                </c:pt>
                <c:pt idx="1">
                  <c:v>23.08920109782143</c:v>
                </c:pt>
                <c:pt idx="2">
                  <c:v>23.156310121052989</c:v>
                </c:pt>
                <c:pt idx="3">
                  <c:v>22.504610053982759</c:v>
                </c:pt>
                <c:pt idx="4">
                  <c:v>24.0847637571099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A68C-467C-A431-F7CDD750BF68}"/>
            </c:ext>
          </c:extLst>
        </c:ser>
        <c:ser>
          <c:idx val="3"/>
          <c:order val="3"/>
          <c:spPr>
            <a:solidFill>
              <a:srgbClr val="CAE3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A68C-467C-A431-F7CDD750BF68}"/>
                </c:ext>
              </c:extLst>
            </c:dLbl>
            <c:dLbl>
              <c:idx val="1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A68C-467C-A431-F7CDD750BF68}"/>
                </c:ext>
              </c:extLst>
            </c:dLbl>
            <c:dLbl>
              <c:idx val="2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A68C-467C-A431-F7CDD750BF68}"/>
                </c:ext>
              </c:extLst>
            </c:dLbl>
            <c:dLbl>
              <c:idx val="3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A68C-467C-A431-F7CDD750BF68}"/>
                </c:ext>
              </c:extLst>
            </c:dLbl>
            <c:dLbl>
              <c:idx val="4"/>
              <c:layout>
                <c:manualLayout>
                  <c:x val="0"/>
                  <c:y val="-1.572327044025157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A68C-467C-A431-F7CDD750BF6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E$4</c:f>
              <c:numCache>
                <c:formatCode>General</c:formatCode>
                <c:ptCount val="5"/>
                <c:pt idx="0">
                  <c:v>16.763691957074585</c:v>
                </c:pt>
                <c:pt idx="1">
                  <c:v>16.664673711839129</c:v>
                </c:pt>
                <c:pt idx="2">
                  <c:v>16.427159084731883</c:v>
                </c:pt>
                <c:pt idx="3">
                  <c:v>20.110684787168594</c:v>
                </c:pt>
                <c:pt idx="4">
                  <c:v>16.35598887248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A68C-467C-A431-F7CDD750BF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26356064"/>
        <c:axId val="1"/>
      </c:barChart>
      <c:catAx>
        <c:axId val="5263560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en-US"/>
          </a:p>
        </c:txPr>
        <c:crossAx val="526356064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264426125554857E-2"/>
          <c:y val="2.9874213836477988E-2"/>
          <c:w val="0.9042485732403297"/>
          <c:h val="0.9402515723270440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8E5-491E-9AAB-33742AEEC681}"/>
                </c:ext>
              </c:extLst>
            </c:dLbl>
            <c:dLbl>
              <c:idx val="1"/>
              <c:layout>
                <c:manualLayout>
                  <c:x val="0"/>
                  <c:y val="-1.572327044025157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8E5-491E-9AAB-33742AEEC681}"/>
                </c:ext>
              </c:extLst>
            </c:dLbl>
            <c:dLbl>
              <c:idx val="2"/>
              <c:layout>
                <c:manualLayout>
                  <c:x val="0"/>
                  <c:y val="-1.572327044025157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8E5-491E-9AAB-33742AEEC681}"/>
                </c:ext>
              </c:extLst>
            </c:dLbl>
            <c:dLbl>
              <c:idx val="3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8E5-491E-9AAB-33742AEEC681}"/>
                </c:ext>
              </c:extLst>
            </c:dLbl>
            <c:dLbl>
              <c:idx val="4"/>
              <c:layout>
                <c:manualLayout>
                  <c:x val="0"/>
                  <c:y val="-1.572327044025157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8E5-491E-9AAB-33742AEEC68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8.2398814353825642</c:v>
                </c:pt>
                <c:pt idx="1">
                  <c:v>8.1775544636394439</c:v>
                </c:pt>
                <c:pt idx="2">
                  <c:v>8.3991636008663733</c:v>
                </c:pt>
                <c:pt idx="3">
                  <c:v>7.5511272309123525</c:v>
                </c:pt>
                <c:pt idx="4">
                  <c:v>7.72585885128930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8E5-491E-9AAB-33742AEEC681}"/>
            </c:ext>
          </c:extLst>
        </c:ser>
        <c:ser>
          <c:idx val="1"/>
          <c:order val="1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572327044025157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8E5-491E-9AAB-33742AEEC681}"/>
                </c:ext>
              </c:extLst>
            </c:dLbl>
            <c:dLbl>
              <c:idx val="1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8E5-491E-9AAB-33742AEEC681}"/>
                </c:ext>
              </c:extLst>
            </c:dLbl>
            <c:dLbl>
              <c:idx val="2"/>
              <c:layout>
                <c:manualLayout>
                  <c:x val="0"/>
                  <c:y val="-1.572327044025157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78E5-491E-9AAB-33742AEEC681}"/>
                </c:ext>
              </c:extLst>
            </c:dLbl>
            <c:dLbl>
              <c:idx val="3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78E5-491E-9AAB-33742AEEC681}"/>
                </c:ext>
              </c:extLst>
            </c:dLbl>
            <c:dLbl>
              <c:idx val="4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78E5-491E-9AAB-33742AEEC68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37.506079046118273</c:v>
                </c:pt>
                <c:pt idx="1">
                  <c:v>37.445078763950477</c:v>
                </c:pt>
                <c:pt idx="2">
                  <c:v>37.287107734970661</c:v>
                </c:pt>
                <c:pt idx="3">
                  <c:v>36.546977883187417</c:v>
                </c:pt>
                <c:pt idx="4">
                  <c:v>38.006453614811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8E5-491E-9AAB-33742AEEC681}"/>
            </c:ext>
          </c:extLst>
        </c:ser>
        <c:ser>
          <c:idx val="2"/>
          <c:order val="2"/>
          <c:spPr>
            <a:solidFill>
              <a:srgbClr val="25B4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78E5-491E-9AAB-33742AEEC681}"/>
                </c:ext>
              </c:extLst>
            </c:dLbl>
            <c:dLbl>
              <c:idx val="1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78E5-491E-9AAB-33742AEEC681}"/>
                </c:ext>
              </c:extLst>
            </c:dLbl>
            <c:dLbl>
              <c:idx val="2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78E5-491E-9AAB-33742AEEC681}"/>
                </c:ext>
              </c:extLst>
            </c:dLbl>
            <c:dLbl>
              <c:idx val="3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78E5-491E-9AAB-33742AEEC681}"/>
                </c:ext>
              </c:extLst>
            </c:dLbl>
            <c:dLbl>
              <c:idx val="4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78E5-491E-9AAB-33742AEEC68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33.871326324348807</c:v>
                </c:pt>
                <c:pt idx="1">
                  <c:v>33.940145967664897</c:v>
                </c:pt>
                <c:pt idx="2">
                  <c:v>34.578852950035312</c:v>
                </c:pt>
                <c:pt idx="3">
                  <c:v>33.406725956620591</c:v>
                </c:pt>
                <c:pt idx="4">
                  <c:v>35.3989420566971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78E5-491E-9AAB-33742AEEC681}"/>
            </c:ext>
          </c:extLst>
        </c:ser>
        <c:ser>
          <c:idx val="3"/>
          <c:order val="3"/>
          <c:spPr>
            <a:solidFill>
              <a:srgbClr val="CAE3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78E5-491E-9AAB-33742AEEC681}"/>
                </c:ext>
              </c:extLst>
            </c:dLbl>
            <c:dLbl>
              <c:idx val="1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78E5-491E-9AAB-33742AEEC681}"/>
                </c:ext>
              </c:extLst>
            </c:dLbl>
            <c:dLbl>
              <c:idx val="2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78E5-491E-9AAB-33742AEEC681}"/>
                </c:ext>
              </c:extLst>
            </c:dLbl>
            <c:dLbl>
              <c:idx val="3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78E5-491E-9AAB-33742AEEC681}"/>
                </c:ext>
              </c:extLst>
            </c:dLbl>
            <c:dLbl>
              <c:idx val="4"/>
              <c:layout>
                <c:manualLayout>
                  <c:x val="0"/>
                  <c:y val="-1.048218029350104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78E5-491E-9AAB-33742AEEC68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E$4</c:f>
              <c:numCache>
                <c:formatCode>General</c:formatCode>
                <c:ptCount val="5"/>
                <c:pt idx="0">
                  <c:v>20.382713194150341</c:v>
                </c:pt>
                <c:pt idx="1">
                  <c:v>20.437220804745181</c:v>
                </c:pt>
                <c:pt idx="2">
                  <c:v>19.734875714127639</c:v>
                </c:pt>
                <c:pt idx="3">
                  <c:v>22.495168929279643</c:v>
                </c:pt>
                <c:pt idx="4">
                  <c:v>18.8687454772025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78E5-491E-9AAB-33742AEEC6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39561768"/>
        <c:axId val="1"/>
      </c:barChart>
      <c:catAx>
        <c:axId val="10395617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en-US"/>
          </a:p>
        </c:txPr>
        <c:crossAx val="1039561768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51136363636364E-2"/>
          <c:y val="3.2441661923733635E-2"/>
          <c:w val="0.92897727272727271"/>
          <c:h val="0.9351166761525326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546-42A3-A310-D97D7191DB8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546-42A3-A310-D97D7191DB8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546-42A3-A310-D97D7191DB8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546-42A3-A310-D97D7191DB8A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546-42A3-A310-D97D7191DB8A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546-42A3-A310-D97D7191DB8A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546-42A3-A310-D97D7191DB8A}"/>
                </c:ext>
              </c:extLst>
            </c:dLbl>
            <c:dLbl>
              <c:idx val="7"/>
              <c:layout>
                <c:manualLayout>
                  <c:x val="0"/>
                  <c:y val="-5.691519635742743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546-42A3-A310-D97D7191DB8A}"/>
                </c:ext>
              </c:extLst>
            </c:dLbl>
            <c:dLbl>
              <c:idx val="8"/>
              <c:layout>
                <c:manualLayout>
                  <c:x val="-1.065340909090909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546-42A3-A310-D97D7191DB8A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F546-42A3-A310-D97D7191DB8A}"/>
                </c:ext>
              </c:extLst>
            </c:dLbl>
            <c:dLbl>
              <c:idx val="10"/>
              <c:layout>
                <c:manualLayout>
                  <c:x val="0"/>
                  <c:y val="-5.691519635742743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F546-42A3-A310-D97D7191DB8A}"/>
                </c:ext>
              </c:extLst>
            </c:dLbl>
            <c:dLbl>
              <c:idx val="1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F546-42A3-A310-D97D7191DB8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194.86434328714947</c:v>
                </c:pt>
                <c:pt idx="1">
                  <c:v>407.39475945525078</c:v>
                </c:pt>
                <c:pt idx="2">
                  <c:v>229.85355532775313</c:v>
                </c:pt>
                <c:pt idx="3">
                  <c:v>149.07637066383893</c:v>
                </c:pt>
                <c:pt idx="4">
                  <c:v>142.02103753692714</c:v>
                </c:pt>
                <c:pt idx="5">
                  <c:v>260.67851447455223</c:v>
                </c:pt>
                <c:pt idx="6">
                  <c:v>316.24214034981662</c:v>
                </c:pt>
                <c:pt idx="7">
                  <c:v>527.83668174906938</c:v>
                </c:pt>
                <c:pt idx="8">
                  <c:v>56.81467399918386</c:v>
                </c:pt>
                <c:pt idx="9">
                  <c:v>195.14187971141715</c:v>
                </c:pt>
                <c:pt idx="10">
                  <c:v>82.141153998681688</c:v>
                </c:pt>
                <c:pt idx="11">
                  <c:v>31.5379376619573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546-42A3-A310-D97D7191DB8A}"/>
            </c:ext>
          </c:extLst>
        </c:ser>
        <c:ser>
          <c:idx val="1"/>
          <c:order val="1"/>
          <c:spPr>
            <a:solidFill>
              <a:srgbClr val="25B4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F546-42A3-A310-D97D7191DB8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F546-42A3-A310-D97D7191DB8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F546-42A3-A310-D97D7191DB8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F546-42A3-A310-D97D7191DB8A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F546-42A3-A310-D97D7191DB8A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F546-42A3-A310-D97D7191DB8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66.949751147584635</c:v>
                </c:pt>
                <c:pt idx="1">
                  <c:v>228.92329005989063</c:v>
                </c:pt>
                <c:pt idx="2">
                  <c:v>181.91054418376669</c:v>
                </c:pt>
                <c:pt idx="3">
                  <c:v>87.583755450521608</c:v>
                </c:pt>
                <c:pt idx="4">
                  <c:v>135.02824330415356</c:v>
                </c:pt>
                <c:pt idx="5">
                  <c:v>58.908206623489548</c:v>
                </c:pt>
                <c:pt idx="6">
                  <c:v>20.890428489751514</c:v>
                </c:pt>
                <c:pt idx="7">
                  <c:v>28.056151839260451</c:v>
                </c:pt>
                <c:pt idx="8">
                  <c:v>1.9644941761166947</c:v>
                </c:pt>
                <c:pt idx="9">
                  <c:v>3.5076002657850722</c:v>
                </c:pt>
                <c:pt idx="10">
                  <c:v>11.303453695194207</c:v>
                </c:pt>
                <c:pt idx="11">
                  <c:v>1.7213297343127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F546-42A3-A310-D97D7191DB8A}"/>
            </c:ext>
          </c:extLst>
        </c:ser>
        <c:ser>
          <c:idx val="2"/>
          <c:order val="2"/>
          <c:spPr>
            <a:solidFill>
              <a:srgbClr val="CAE3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L$3</c:f>
              <c:numCache>
                <c:formatCode>General</c:formatCode>
                <c:ptCount val="12"/>
                <c:pt idx="0">
                  <c:v>0.95965878493456103</c:v>
                </c:pt>
                <c:pt idx="1">
                  <c:v>12.805356986707352</c:v>
                </c:pt>
                <c:pt idx="2">
                  <c:v>0.43253373564903086</c:v>
                </c:pt>
                <c:pt idx="3">
                  <c:v>10.67190391840839</c:v>
                </c:pt>
                <c:pt idx="4">
                  <c:v>28.833990848380381</c:v>
                </c:pt>
                <c:pt idx="5">
                  <c:v>1.7246817391654758</c:v>
                </c:pt>
                <c:pt idx="6">
                  <c:v>8.38134219272888E-2</c:v>
                </c:pt>
                <c:pt idx="7">
                  <c:v>0.67149496819786236</c:v>
                </c:pt>
                <c:pt idx="8">
                  <c:v>2.1320699257468974</c:v>
                </c:pt>
                <c:pt idx="9">
                  <c:v>2.6368595608403211E-2</c:v>
                </c:pt>
                <c:pt idx="10">
                  <c:v>1.7292884718780925</c:v>
                </c:pt>
                <c:pt idx="11">
                  <c:v>1.51507192541490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F546-42A3-A310-D97D7191DB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43743912"/>
        <c:axId val="1"/>
      </c:barChart>
      <c:lineChart>
        <c:grouping val="standard"/>
        <c:varyColors val="0"/>
        <c:ser>
          <c:idx val="3"/>
          <c:order val="3"/>
          <c:spPr>
            <a:ln w="28575" algn="ctr">
              <a:solidFill>
                <a:srgbClr val="FF0000"/>
              </a:solidFill>
              <a:prstDash val="solid"/>
            </a:ln>
          </c:spPr>
          <c:marker>
            <c:symbol val="none"/>
          </c:marker>
          <c:val>
            <c:numRef>
              <c:f>Sheet1!$A$4:$L$4</c:f>
              <c:numCache>
                <c:formatCode>General</c:formatCode>
                <c:ptCount val="12"/>
                <c:pt idx="0">
                  <c:v>7.5467703364878114</c:v>
                </c:pt>
                <c:pt idx="1">
                  <c:v>26.189367661696611</c:v>
                </c:pt>
                <c:pt idx="2">
                  <c:v>38.027510879864259</c:v>
                </c:pt>
                <c:pt idx="3">
                  <c:v>45.13080032427937</c:v>
                </c:pt>
                <c:pt idx="4">
                  <c:v>53.915660961727085</c:v>
                </c:pt>
                <c:pt idx="5">
                  <c:v>63.143612132634289</c:v>
                </c:pt>
                <c:pt idx="6">
                  <c:v>72.828348752814748</c:v>
                </c:pt>
                <c:pt idx="7">
                  <c:v>88.81268171466273</c:v>
                </c:pt>
                <c:pt idx="8">
                  <c:v>90.562031180609793</c:v>
                </c:pt>
                <c:pt idx="9">
                  <c:v>96.267932101895582</c:v>
                </c:pt>
                <c:pt idx="10">
                  <c:v>99.001293130503527</c:v>
                </c:pt>
                <c:pt idx="11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5-F546-42A3-A310-D97D7191DB8A}"/>
            </c:ext>
          </c:extLst>
        </c:ser>
        <c:ser>
          <c:idx val="4"/>
          <c:order val="4"/>
          <c:spPr>
            <a:ln w="28575" algn="ctr">
              <a:solidFill>
                <a:srgbClr val="0070C0"/>
              </a:solidFill>
              <a:prstDash val="solid"/>
            </a:ln>
          </c:spPr>
          <c:marker>
            <c:symbol val="none"/>
          </c:marker>
          <c:val>
            <c:numRef>
              <c:f>Sheet1!$A$5:$L$5</c:f>
              <c:numCache>
                <c:formatCode>General</c:formatCode>
                <c:ptCount val="12"/>
                <c:pt idx="0">
                  <c:v>7.5132678233554824</c:v>
                </c:pt>
                <c:pt idx="1">
                  <c:v>23.220943665868816</c:v>
                </c:pt>
                <c:pt idx="2">
                  <c:v>32.08326959064334</c:v>
                </c:pt>
                <c:pt idx="3">
                  <c:v>37.8311179657601</c:v>
                </c:pt>
                <c:pt idx="4">
                  <c:v>43.30693808536698</c:v>
                </c:pt>
                <c:pt idx="5">
                  <c:v>53.357763505775836</c:v>
                </c:pt>
                <c:pt idx="6">
                  <c:v>65.5509223844019</c:v>
                </c:pt>
                <c:pt idx="7">
                  <c:v>85.902405319009873</c:v>
                </c:pt>
                <c:pt idx="8">
                  <c:v>88.092974690767548</c:v>
                </c:pt>
                <c:pt idx="9">
                  <c:v>95.616943319878871</c:v>
                </c:pt>
                <c:pt idx="10">
                  <c:v>98.784010618600433</c:v>
                </c:pt>
                <c:pt idx="11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6-F546-42A3-A310-D97D7191DB8A}"/>
            </c:ext>
          </c:extLst>
        </c:ser>
        <c:ser>
          <c:idx val="5"/>
          <c:order val="5"/>
          <c:spPr>
            <a:ln w="28575" algn="ctr">
              <a:solidFill>
                <a:srgbClr val="25B4FF"/>
              </a:solidFill>
              <a:prstDash val="solid"/>
            </a:ln>
          </c:spPr>
          <c:marker>
            <c:symbol val="none"/>
          </c:marker>
          <c:val>
            <c:numRef>
              <c:f>Sheet1!$A$6:$L$6</c:f>
              <c:numCache>
                <c:formatCode>General</c:formatCode>
                <c:ptCount val="12"/>
                <c:pt idx="0">
                  <c:v>8.0979708406659601</c:v>
                </c:pt>
                <c:pt idx="1">
                  <c:v>35.787605169070645</c:v>
                </c:pt>
                <c:pt idx="2">
                  <c:v>57.790768095882598</c:v>
                </c:pt>
                <c:pt idx="3">
                  <c:v>68.384544556542821</c:v>
                </c:pt>
                <c:pt idx="4">
                  <c:v>84.717014180409876</c:v>
                </c:pt>
                <c:pt idx="5">
                  <c:v>91.842312353085063</c:v>
                </c:pt>
                <c:pt idx="6">
                  <c:v>94.369134004536832</c:v>
                </c:pt>
                <c:pt idx="7">
                  <c:v>97.762692540621458</c:v>
                </c:pt>
                <c:pt idx="8">
                  <c:v>98.000309802555449</c:v>
                </c:pt>
                <c:pt idx="9">
                  <c:v>98.424574929552335</c:v>
                </c:pt>
                <c:pt idx="10">
                  <c:v>99.791794924451494</c:v>
                </c:pt>
                <c:pt idx="11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F546-42A3-A310-D97D7191DB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8437439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843743912"/>
        <c:crosses val="min"/>
        <c:crossBetween val="between"/>
        <c:majorUnit val="100"/>
      </c:valAx>
      <c:valAx>
        <c:axId val="2"/>
        <c:scaling>
          <c:orientation val="minMax"/>
          <c:max val="1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en-US"/>
          </a:p>
        </c:txPr>
        <c:crossAx val="3"/>
        <c:crosses val="max"/>
        <c:crossBetween val="between"/>
        <c:majorUnit val="10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3"/>
          <c:y val="3.2386363636363637E-2"/>
          <c:w val="0.93428571428571427"/>
          <c:h val="0.935227272727272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603-4BE0-A86E-AAFCCA933F32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603-4BE0-A86E-AAFCCA933F32}"/>
                </c:ext>
              </c:extLst>
            </c:dLbl>
            <c:dLbl>
              <c:idx val="3"/>
              <c:layout>
                <c:manualLayout>
                  <c:x val="0"/>
                  <c:y val="-5.681818181818181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603-4BE0-A86E-AAFCCA933F32}"/>
                </c:ext>
              </c:extLst>
            </c:dLbl>
            <c:dLbl>
              <c:idx val="4"/>
              <c:layout>
                <c:manualLayout>
                  <c:x val="0"/>
                  <c:y val="-5.681818181818181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603-4BE0-A86E-AAFCCA933F32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603-4BE0-A86E-AAFCCA933F32}"/>
                </c:ext>
              </c:extLst>
            </c:dLbl>
            <c:dLbl>
              <c:idx val="6"/>
              <c:layout>
                <c:manualLayout>
                  <c:x val="0"/>
                  <c:y val="-5.681818181818181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603-4BE0-A86E-AAFCCA933F32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603-4BE0-A86E-AAFCCA933F3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69.517168587889287</c:v>
                </c:pt>
                <c:pt idx="1">
                  <c:v>55.999770383341463</c:v>
                </c:pt>
                <c:pt idx="2">
                  <c:v>18.57323794010464</c:v>
                </c:pt>
                <c:pt idx="3">
                  <c:v>8.468998845472191</c:v>
                </c:pt>
                <c:pt idx="4">
                  <c:v>5.8410796451901756</c:v>
                </c:pt>
                <c:pt idx="5">
                  <c:v>7.6162285599406845</c:v>
                </c:pt>
                <c:pt idx="6">
                  <c:v>7.0502649130308832</c:v>
                </c:pt>
                <c:pt idx="7">
                  <c:v>8.2867395691288479</c:v>
                </c:pt>
                <c:pt idx="8">
                  <c:v>0.66814476162462721</c:v>
                </c:pt>
                <c:pt idx="9">
                  <c:v>1.5640855260228841</c:v>
                </c:pt>
                <c:pt idx="10">
                  <c:v>0.44972801197249768</c:v>
                </c:pt>
                <c:pt idx="11">
                  <c:v>0.100594747325947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603-4BE0-A86E-AAFCCA933F32}"/>
            </c:ext>
          </c:extLst>
        </c:ser>
        <c:ser>
          <c:idx val="1"/>
          <c:order val="1"/>
          <c:spPr>
            <a:solidFill>
              <a:srgbClr val="25B4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603-4BE0-A86E-AAFCCA933F32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603-4BE0-A86E-AAFCCA933F32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603-4BE0-A86E-AAFCCA933F32}"/>
                </c:ext>
              </c:extLst>
            </c:dLbl>
            <c:dLbl>
              <c:idx val="3"/>
              <c:layout>
                <c:manualLayout>
                  <c:x val="-1.0714285714285714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603-4BE0-A86E-AAFCCA933F32}"/>
                </c:ext>
              </c:extLst>
            </c:dLbl>
            <c:dLbl>
              <c:idx val="4"/>
              <c:layout>
                <c:manualLayout>
                  <c:x val="-1.0714285714285714E-2"/>
                  <c:y val="-5.681818181818181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6603-4BE0-A86E-AAFCCA933F3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19.717646441302776</c:v>
                </c:pt>
                <c:pt idx="1">
                  <c:v>30.604396278098854</c:v>
                </c:pt>
                <c:pt idx="2">
                  <c:v>15.235525786107431</c:v>
                </c:pt>
                <c:pt idx="3">
                  <c:v>5.1486660519372194</c:v>
                </c:pt>
                <c:pt idx="4">
                  <c:v>5.6503567259411209</c:v>
                </c:pt>
                <c:pt idx="5">
                  <c:v>1.7157090849625467</c:v>
                </c:pt>
                <c:pt idx="6">
                  <c:v>0.47790987592541612</c:v>
                </c:pt>
                <c:pt idx="7">
                  <c:v>0.42738767741053429</c:v>
                </c:pt>
                <c:pt idx="8">
                  <c:v>2.1111965122487475E-2</c:v>
                </c:pt>
                <c:pt idx="9">
                  <c:v>3.0734623178765963E-2</c:v>
                </c:pt>
                <c:pt idx="10">
                  <c:v>6.8116821683476436E-2</c:v>
                </c:pt>
                <c:pt idx="11">
                  <c:v>7.96729251089371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6603-4BE0-A86E-AAFCCA933F32}"/>
            </c:ext>
          </c:extLst>
        </c:ser>
        <c:ser>
          <c:idx val="2"/>
          <c:order val="2"/>
          <c:spPr>
            <a:solidFill>
              <a:srgbClr val="CAE3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L$3</c:f>
              <c:numCache>
                <c:formatCode>General</c:formatCode>
                <c:ptCount val="12"/>
                <c:pt idx="0">
                  <c:v>0.57577977339603592</c:v>
                </c:pt>
                <c:pt idx="1">
                  <c:v>1.9909642796296367</c:v>
                </c:pt>
                <c:pt idx="2">
                  <c:v>3.5160537887222176E-2</c:v>
                </c:pt>
                <c:pt idx="3">
                  <c:v>0.58665837983467384</c:v>
                </c:pt>
                <c:pt idx="4">
                  <c:v>1.2451262076300331</c:v>
                </c:pt>
                <c:pt idx="5">
                  <c:v>5.2183604555004592E-2</c:v>
                </c:pt>
                <c:pt idx="6">
                  <c:v>1.9962832234279304E-3</c:v>
                </c:pt>
                <c:pt idx="7">
                  <c:v>1.1260435054431639E-2</c:v>
                </c:pt>
                <c:pt idx="8">
                  <c:v>2.7119207523425004E-2</c:v>
                </c:pt>
                <c:pt idx="9">
                  <c:v>2.6127069133230485E-4</c:v>
                </c:pt>
                <c:pt idx="10">
                  <c:v>1.0095026001754381E-2</c:v>
                </c:pt>
                <c:pt idx="11">
                  <c:v>3.982005284081477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6603-4BE0-A86E-AAFCCA933F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09873384"/>
        <c:axId val="1"/>
      </c:barChart>
      <c:lineChart>
        <c:grouping val="standard"/>
        <c:varyColors val="0"/>
        <c:ser>
          <c:idx val="3"/>
          <c:order val="3"/>
          <c:spPr>
            <a:ln w="28575" algn="ctr">
              <a:solidFill>
                <a:srgbClr val="FF0000"/>
              </a:solidFill>
              <a:prstDash val="solid"/>
            </a:ln>
          </c:spPr>
          <c:marker>
            <c:symbol val="none"/>
          </c:marker>
          <c:val>
            <c:numRef>
              <c:f>Sheet1!$A$4:$L$4</c:f>
              <c:numCache>
                <c:formatCode>General</c:formatCode>
                <c:ptCount val="12"/>
                <c:pt idx="0">
                  <c:v>33.538677769464151</c:v>
                </c:pt>
                <c:pt idx="1">
                  <c:v>66.623455296072848</c:v>
                </c:pt>
                <c:pt idx="2">
                  <c:v>79.262058490303843</c:v>
                </c:pt>
                <c:pt idx="3">
                  <c:v>84.566490805621939</c:v>
                </c:pt>
                <c:pt idx="4">
                  <c:v>89.322805683155536</c:v>
                </c:pt>
                <c:pt idx="5">
                  <c:v>92.827191991106943</c:v>
                </c:pt>
                <c:pt idx="6">
                  <c:v>95.639243082561222</c:v>
                </c:pt>
                <c:pt idx="7">
                  <c:v>98.897633326049444</c:v>
                </c:pt>
                <c:pt idx="8">
                  <c:v>99.165155233393563</c:v>
                </c:pt>
                <c:pt idx="9">
                  <c:v>99.760819050958077</c:v>
                </c:pt>
                <c:pt idx="10">
                  <c:v>99.957971790828438</c:v>
                </c:pt>
                <c:pt idx="11">
                  <c:v>99.9999999999999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6603-4BE0-A86E-AAFCCA933F32}"/>
            </c:ext>
          </c:extLst>
        </c:ser>
        <c:ser>
          <c:idx val="4"/>
          <c:order val="4"/>
          <c:spPr>
            <a:ln w="28575" algn="ctr">
              <a:solidFill>
                <a:srgbClr val="0070C0"/>
              </a:solidFill>
              <a:prstDash val="solid"/>
            </a:ln>
          </c:spPr>
          <c:marker>
            <c:symbol val="none"/>
          </c:marker>
          <c:val>
            <c:numRef>
              <c:f>Sheet1!$A$5:$L$5</c:f>
              <c:numCache>
                <c:formatCode>General</c:formatCode>
                <c:ptCount val="12"/>
                <c:pt idx="0">
                  <c:v>37.753156864334144</c:v>
                </c:pt>
                <c:pt idx="1">
                  <c:v>68.165329261374154</c:v>
                </c:pt>
                <c:pt idx="2">
                  <c:v>78.252022659205238</c:v>
                </c:pt>
                <c:pt idx="3">
                  <c:v>82.851338891320552</c:v>
                </c:pt>
                <c:pt idx="4">
                  <c:v>86.023493347282525</c:v>
                </c:pt>
                <c:pt idx="5">
                  <c:v>90.159689877993287</c:v>
                </c:pt>
                <c:pt idx="6">
                  <c:v>93.988524719853288</c:v>
                </c:pt>
                <c:pt idx="7">
                  <c:v>98.488860179455244</c:v>
                </c:pt>
                <c:pt idx="8">
                  <c:v>98.851714054348136</c:v>
                </c:pt>
                <c:pt idx="9">
                  <c:v>99.701132513307982</c:v>
                </c:pt>
                <c:pt idx="10">
                  <c:v>99.945369333178135</c:v>
                </c:pt>
                <c:pt idx="11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6603-4BE0-A86E-AAFCCA933F32}"/>
            </c:ext>
          </c:extLst>
        </c:ser>
        <c:ser>
          <c:idx val="5"/>
          <c:order val="5"/>
          <c:spPr>
            <a:ln w="28575" algn="ctr">
              <a:solidFill>
                <a:srgbClr val="25B4FF"/>
              </a:solidFill>
              <a:prstDash val="solid"/>
            </a:ln>
          </c:spPr>
          <c:marker>
            <c:symbol val="none"/>
          </c:marker>
          <c:val>
            <c:numRef>
              <c:f>Sheet1!$A$6:$L$6</c:f>
              <c:numCache>
                <c:formatCode>General</c:formatCode>
                <c:ptCount val="12"/>
                <c:pt idx="0">
                  <c:v>24.925750177308537</c:v>
                </c:pt>
                <c:pt idx="1">
                  <c:v>63.613812579995646</c:v>
                </c:pt>
                <c:pt idx="2">
                  <c:v>82.873560983282502</c:v>
                </c:pt>
                <c:pt idx="3">
                  <c:v>89.382165554269889</c:v>
                </c:pt>
                <c:pt idx="4">
                  <c:v>96.524974437812176</c:v>
                </c:pt>
                <c:pt idx="5">
                  <c:v>98.693860879509089</c:v>
                </c:pt>
                <c:pt idx="6">
                  <c:v>99.298003073155115</c:v>
                </c:pt>
                <c:pt idx="7">
                  <c:v>99.838278430445243</c:v>
                </c:pt>
                <c:pt idx="8">
                  <c:v>99.864966786480096</c:v>
                </c:pt>
                <c:pt idx="9">
                  <c:v>99.903819473154854</c:v>
                </c:pt>
                <c:pt idx="10">
                  <c:v>99.989928273472827</c:v>
                </c:pt>
                <c:pt idx="11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6603-4BE0-A86E-AAFCCA933F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9098733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en-US"/>
          </a:p>
        </c:txPr>
        <c:crossAx val="909873384"/>
        <c:crosses val="min"/>
        <c:crossBetween val="between"/>
        <c:majorUnit val="10"/>
      </c:valAx>
      <c:valAx>
        <c:axId val="2"/>
        <c:scaling>
          <c:orientation val="minMax"/>
          <c:max val="1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en-US"/>
          </a:p>
        </c:txPr>
        <c:crossAx val="3"/>
        <c:crosses val="max"/>
        <c:crossBetween val="between"/>
        <c:majorUnit val="10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001169248757676E-3"/>
          <c:y val="3.2386363636363637E-2"/>
          <c:w val="0.95586085939783694"/>
          <c:h val="0.935227272727272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EBF-4B33-8CFF-EDD012BF0286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EBF-4B33-8CFF-EDD012BF0286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EBF-4B33-8CFF-EDD012BF0286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EBF-4B33-8CFF-EDD012BF0286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EBF-4B33-8CFF-EDD012BF0286}"/>
                </c:ext>
              </c:extLst>
            </c:dLbl>
            <c:dLbl>
              <c:idx val="5"/>
              <c:layout>
                <c:manualLayout>
                  <c:x val="0"/>
                  <c:y val="-5.681818181818181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EBF-4B33-8CFF-EDD012BF0286}"/>
                </c:ext>
              </c:extLst>
            </c:dLbl>
            <c:dLbl>
              <c:idx val="6"/>
              <c:layout>
                <c:manualLayout>
                  <c:x val="-1.0961707103186204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EBF-4B33-8CFF-EDD012BF0286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EBF-4B33-8CFF-EDD012BF028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418.66666666666669</c:v>
                </c:pt>
                <c:pt idx="1">
                  <c:v>366.66666666666669</c:v>
                </c:pt>
                <c:pt idx="2">
                  <c:v>157</c:v>
                </c:pt>
                <c:pt idx="3">
                  <c:v>125.33333333333333</c:v>
                </c:pt>
                <c:pt idx="4">
                  <c:v>140</c:v>
                </c:pt>
                <c:pt idx="5">
                  <c:v>111.66666666666667</c:v>
                </c:pt>
                <c:pt idx="6">
                  <c:v>79.333333333333329</c:v>
                </c:pt>
                <c:pt idx="7">
                  <c:v>112.66666666666667</c:v>
                </c:pt>
                <c:pt idx="8">
                  <c:v>54</c:v>
                </c:pt>
                <c:pt idx="9">
                  <c:v>50.333333333333336</c:v>
                </c:pt>
                <c:pt idx="10">
                  <c:v>24.666666666666668</c:v>
                </c:pt>
                <c:pt idx="11">
                  <c:v>37.666666666666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EBF-4B33-8CFF-EDD012BF0286}"/>
            </c:ext>
          </c:extLst>
        </c:ser>
        <c:ser>
          <c:idx val="1"/>
          <c:order val="1"/>
          <c:spPr>
            <a:solidFill>
              <a:srgbClr val="25B4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FEBF-4B33-8CFF-EDD012BF0286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FEBF-4B33-8CFF-EDD012BF0286}"/>
                </c:ext>
              </c:extLst>
            </c:dLbl>
            <c:dLbl>
              <c:idx val="3"/>
              <c:layout>
                <c:manualLayout>
                  <c:x val="0"/>
                  <c:y val="-5.681818181818181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FEBF-4B33-8CFF-EDD012BF0286}"/>
                </c:ext>
              </c:extLst>
            </c:dLbl>
            <c:dLbl>
              <c:idx val="4"/>
              <c:layout>
                <c:manualLayout>
                  <c:x val="0"/>
                  <c:y val="-5.681818181818181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FEBF-4B33-8CFF-EDD012BF0286}"/>
                </c:ext>
              </c:extLst>
            </c:dLbl>
            <c:dLbl>
              <c:idx val="5"/>
              <c:layout>
                <c:manualLayout>
                  <c:x val="-1.0961707103186204E-2"/>
                  <c:y val="-5.6818181818181815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FEBF-4B33-8CFF-EDD012BF0286}"/>
                </c:ext>
              </c:extLst>
            </c:dLbl>
            <c:dLbl>
              <c:idx val="7"/>
              <c:layout>
                <c:manualLayout>
                  <c:x val="-1.0961707103186204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FEBF-4B33-8CFF-EDD012BF028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552</c:v>
                </c:pt>
                <c:pt idx="1">
                  <c:v>842.66666666666652</c:v>
                </c:pt>
                <c:pt idx="2">
                  <c:v>402.66666666666674</c:v>
                </c:pt>
                <c:pt idx="3">
                  <c:v>184</c:v>
                </c:pt>
                <c:pt idx="4">
                  <c:v>291</c:v>
                </c:pt>
                <c:pt idx="5">
                  <c:v>71.000000000000014</c:v>
                </c:pt>
                <c:pt idx="6">
                  <c:v>35.333333333333329</c:v>
                </c:pt>
                <c:pt idx="7">
                  <c:v>69.333333333333329</c:v>
                </c:pt>
                <c:pt idx="8">
                  <c:v>14</c:v>
                </c:pt>
                <c:pt idx="9">
                  <c:v>11</c:v>
                </c:pt>
                <c:pt idx="10">
                  <c:v>15.000000000000004</c:v>
                </c:pt>
                <c:pt idx="1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FEBF-4B33-8CFF-EDD012BF0286}"/>
            </c:ext>
          </c:extLst>
        </c:ser>
        <c:ser>
          <c:idx val="2"/>
          <c:order val="2"/>
          <c:spPr>
            <a:solidFill>
              <a:srgbClr val="CAE3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8"/>
              <c:layout>
                <c:manualLayout>
                  <c:x val="2.791581408944753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FEBF-4B33-8CFF-EDD012BF0286}"/>
                </c:ext>
              </c:extLst>
            </c:dLbl>
            <c:dLbl>
              <c:idx val="10"/>
              <c:layout>
                <c:manualLayout>
                  <c:x val="2.791581408944753E-2"/>
                  <c:y val="-7.954545454545453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FEBF-4B33-8CFF-EDD012BF0286}"/>
                </c:ext>
              </c:extLst>
            </c:dLbl>
            <c:dLbl>
              <c:idx val="11"/>
              <c:layout>
                <c:manualLayout>
                  <c:x val="2.791581408944753E-2"/>
                  <c:y val="-3.977272727272726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FEBF-4B33-8CFF-EDD012BF028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L$3</c:f>
              <c:numCache>
                <c:formatCode>General</c:formatCode>
                <c:ptCount val="12"/>
                <c:pt idx="0">
                  <c:v>55</c:v>
                </c:pt>
                <c:pt idx="1">
                  <c:v>40.333333333333258</c:v>
                </c:pt>
                <c:pt idx="2">
                  <c:v>12.333333333333371</c:v>
                </c:pt>
                <c:pt idx="3">
                  <c:v>30.333333333333314</c:v>
                </c:pt>
                <c:pt idx="4">
                  <c:v>28.666666666666686</c:v>
                </c:pt>
                <c:pt idx="5">
                  <c:v>9</c:v>
                </c:pt>
                <c:pt idx="6">
                  <c:v>1.6666666666666714</c:v>
                </c:pt>
                <c:pt idx="7">
                  <c:v>9.3333333333333428</c:v>
                </c:pt>
                <c:pt idx="8">
                  <c:v>6</c:v>
                </c:pt>
                <c:pt idx="9">
                  <c:v>1.3333333333333357</c:v>
                </c:pt>
                <c:pt idx="10">
                  <c:v>3.3333333333333357</c:v>
                </c:pt>
                <c:pt idx="11">
                  <c:v>7.66666666666666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FEBF-4B33-8CFF-EDD012BF02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20075752"/>
        <c:axId val="1"/>
      </c:barChart>
      <c:lineChart>
        <c:grouping val="standard"/>
        <c:varyColors val="0"/>
        <c:ser>
          <c:idx val="3"/>
          <c:order val="3"/>
          <c:spPr>
            <a:ln w="28575" algn="ctr">
              <a:solidFill>
                <a:srgbClr val="FF0000"/>
              </a:solidFill>
              <a:prstDash val="solid"/>
            </a:ln>
          </c:spPr>
          <c:marker>
            <c:symbol val="none"/>
          </c:marker>
          <c:val>
            <c:numRef>
              <c:f>Sheet1!$A$4:$L$4</c:f>
              <c:numCache>
                <c:formatCode>General</c:formatCode>
                <c:ptCount val="12"/>
                <c:pt idx="0">
                  <c:v>23.433097250780595</c:v>
                </c:pt>
                <c:pt idx="1">
                  <c:v>51.983854999619226</c:v>
                </c:pt>
                <c:pt idx="2">
                  <c:v>65.052166628588836</c:v>
                </c:pt>
                <c:pt idx="3">
                  <c:v>72.81242860406671</c:v>
                </c:pt>
                <c:pt idx="4">
                  <c:v>83.314294417789966</c:v>
                </c:pt>
                <c:pt idx="5">
                  <c:v>87.693244992765216</c:v>
                </c:pt>
                <c:pt idx="6">
                  <c:v>90.351077602619753</c:v>
                </c:pt>
                <c:pt idx="7">
                  <c:v>94.722412611377663</c:v>
                </c:pt>
                <c:pt idx="8">
                  <c:v>96.413068311628962</c:v>
                </c:pt>
                <c:pt idx="9">
                  <c:v>97.844794760490444</c:v>
                </c:pt>
                <c:pt idx="10">
                  <c:v>98.827202802528376</c:v>
                </c:pt>
                <c:pt idx="11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FEBF-4B33-8CFF-EDD012BF0286}"/>
            </c:ext>
          </c:extLst>
        </c:ser>
        <c:ser>
          <c:idx val="4"/>
          <c:order val="4"/>
          <c:spPr>
            <a:ln w="28575" algn="ctr">
              <a:solidFill>
                <a:srgbClr val="0070C0"/>
              </a:solidFill>
              <a:prstDash val="solid"/>
            </a:ln>
          </c:spPr>
          <c:marker>
            <c:symbol val="none"/>
          </c:marker>
          <c:val>
            <c:numRef>
              <c:f>Sheet1!$A$5:$L$5</c:f>
              <c:numCache>
                <c:formatCode>General</c:formatCode>
                <c:ptCount val="12"/>
                <c:pt idx="0">
                  <c:v>24.950337703615414</c:v>
                </c:pt>
                <c:pt idx="1">
                  <c:v>46.801748112832733</c:v>
                </c:pt>
                <c:pt idx="2">
                  <c:v>56.158124751688511</c:v>
                </c:pt>
                <c:pt idx="3">
                  <c:v>63.627334127930069</c:v>
                </c:pt>
                <c:pt idx="4">
                  <c:v>71.970599920540323</c:v>
                </c:pt>
                <c:pt idx="5">
                  <c:v>78.625347636074693</c:v>
                </c:pt>
                <c:pt idx="6">
                  <c:v>83.353198251887164</c:v>
                </c:pt>
                <c:pt idx="7">
                  <c:v>90.067540723083027</c:v>
                </c:pt>
                <c:pt idx="8">
                  <c:v>93.285657528804137</c:v>
                </c:pt>
                <c:pt idx="9">
                  <c:v>96.285260230433039</c:v>
                </c:pt>
                <c:pt idx="10">
                  <c:v>97.755264203416758</c:v>
                </c:pt>
                <c:pt idx="11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5-FEBF-4B33-8CFF-EDD012BF0286}"/>
            </c:ext>
          </c:extLst>
        </c:ser>
        <c:ser>
          <c:idx val="5"/>
          <c:order val="5"/>
          <c:spPr>
            <a:ln w="28575" algn="ctr">
              <a:solidFill>
                <a:srgbClr val="25B4FF"/>
              </a:solidFill>
              <a:prstDash val="solid"/>
            </a:ln>
          </c:spPr>
          <c:marker>
            <c:symbol val="none"/>
          </c:marker>
          <c:val>
            <c:numRef>
              <c:f>Sheet1!$A$6:$L$6</c:f>
              <c:numCache>
                <c:formatCode>General</c:formatCode>
                <c:ptCount val="12"/>
                <c:pt idx="0">
                  <c:v>22.133119486768244</c:v>
                </c:pt>
                <c:pt idx="1">
                  <c:v>55.920876770916863</c:v>
                </c:pt>
                <c:pt idx="2">
                  <c:v>72.066292435177758</c:v>
                </c:pt>
                <c:pt idx="3">
                  <c:v>79.443998930767165</c:v>
                </c:pt>
                <c:pt idx="4">
                  <c:v>91.112002138465641</c:v>
                </c:pt>
                <c:pt idx="5">
                  <c:v>93.958834536220252</c:v>
                </c:pt>
                <c:pt idx="6">
                  <c:v>95.37556802993852</c:v>
                </c:pt>
                <c:pt idx="7">
                  <c:v>98.155573376102652</c:v>
                </c:pt>
                <c:pt idx="8">
                  <c:v>98.716920609462704</c:v>
                </c:pt>
                <c:pt idx="9">
                  <c:v>99.157979149959914</c:v>
                </c:pt>
                <c:pt idx="10">
                  <c:v>99.759422614274257</c:v>
                </c:pt>
                <c:pt idx="11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6-FEBF-4B33-8CFF-EDD012BF02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7200757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720075752"/>
        <c:crosses val="min"/>
        <c:crossBetween val="between"/>
        <c:majorUnit val="500"/>
      </c:valAx>
      <c:valAx>
        <c:axId val="2"/>
        <c:scaling>
          <c:orientation val="minMax"/>
          <c:max val="1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3"/>
        <c:crosses val="max"/>
        <c:crossBetween val="between"/>
        <c:majorUnit val="10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487550665894615E-2"/>
          <c:y val="5.9668508287292817E-2"/>
          <c:w val="0.94759698899826283"/>
          <c:h val="0.9088397790055248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B0E8-488B-9367-0D6A1E2C4A51}"/>
              </c:ext>
            </c:extLst>
          </c:dPt>
          <c:dPt>
            <c:idx val="14"/>
            <c:invertIfNegative val="0"/>
            <c:bubble3D val="0"/>
            <c:spPr>
              <a:solidFill>
                <a:srgbClr val="0070C0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B0E8-488B-9367-0D6A1E2C4A51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0E8-488B-9367-0D6A1E2C4A51}"/>
                </c:ext>
              </c:extLst>
            </c:dLbl>
            <c:dLbl>
              <c:idx val="14"/>
              <c:layout>
                <c:manualLayout>
                  <c:x val="0"/>
                  <c:y val="-0.4850828729281768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Verdan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0E8-488B-9367-0D6A1E2C4A5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O$1</c:f>
              <c:numCache>
                <c:formatCode>General</c:formatCode>
                <c:ptCount val="15"/>
                <c:pt idx="0">
                  <c:v>828.33486984080378</c:v>
                </c:pt>
                <c:pt idx="1">
                  <c:v>828.33486984080378</c:v>
                </c:pt>
                <c:pt idx="2">
                  <c:v>1560.6890385888153</c:v>
                </c:pt>
                <c:pt idx="3">
                  <c:v>2011.7985269076503</c:v>
                </c:pt>
                <c:pt idx="4">
                  <c:v>2448.5222593152444</c:v>
                </c:pt>
                <c:pt idx="5">
                  <c:v>2743.2797091083407</c:v>
                </c:pt>
                <c:pt idx="6">
                  <c:v>2991.6244782009089</c:v>
                </c:pt>
                <c:pt idx="7">
                  <c:v>3112.5773042716778</c:v>
                </c:pt>
                <c:pt idx="8">
                  <c:v>3210.6448904844374</c:v>
                </c:pt>
                <c:pt idx="9">
                  <c:v>3296.345544045485</c:v>
                </c:pt>
                <c:pt idx="10">
                  <c:v>3352.213873585084</c:v>
                </c:pt>
                <c:pt idx="11">
                  <c:v>3399.0467521350629</c:v>
                </c:pt>
                <c:pt idx="12">
                  <c:v>3432.8193677710983</c:v>
                </c:pt>
                <c:pt idx="13">
                  <c:v>3462.8586988174247</c:v>
                </c:pt>
                <c:pt idx="14">
                  <c:v>3481.93653050744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0E8-488B-9367-0D6A1E2C4A51}"/>
            </c:ext>
          </c:extLst>
        </c:ser>
        <c:ser>
          <c:idx val="1"/>
          <c:order val="1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-5.5248618784530391E-4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0E8-488B-9367-0D6A1E2C4A51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0E8-488B-9367-0D6A1E2C4A51}"/>
                </c:ext>
              </c:extLst>
            </c:dLbl>
            <c:dLbl>
              <c:idx val="3"/>
              <c:layout>
                <c:manualLayout>
                  <c:x val="0"/>
                  <c:y val="-5.5248618784530391E-4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0E8-488B-9367-0D6A1E2C4A51}"/>
                </c:ext>
              </c:extLst>
            </c:dLbl>
            <c:dLbl>
              <c:idx val="4"/>
              <c:layout>
                <c:manualLayout>
                  <c:x val="0"/>
                  <c:y val="-7.0718232044198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0E8-488B-9367-0D6A1E2C4A51}"/>
                </c:ext>
              </c:extLst>
            </c:dLbl>
            <c:dLbl>
              <c:idx val="5"/>
              <c:layout>
                <c:manualLayout>
                  <c:x val="0"/>
                  <c:y val="-6.464088397790054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0E8-488B-9367-0D6A1E2C4A51}"/>
                </c:ext>
              </c:extLst>
            </c:dLbl>
            <c:dLbl>
              <c:idx val="6"/>
              <c:layout>
                <c:manualLayout>
                  <c:x val="0"/>
                  <c:y val="-4.86187845303867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0E8-488B-9367-0D6A1E2C4A51}"/>
                </c:ext>
              </c:extLst>
            </c:dLbl>
            <c:dLbl>
              <c:idx val="7"/>
              <c:layout>
                <c:manualLayout>
                  <c:x val="0"/>
                  <c:y val="-4.530386740331491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0E8-488B-9367-0D6A1E2C4A51}"/>
                </c:ext>
              </c:extLst>
            </c:dLbl>
            <c:dLbl>
              <c:idx val="8"/>
              <c:layout>
                <c:manualLayout>
                  <c:x val="0"/>
                  <c:y val="-4.364640883977900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B0E8-488B-9367-0D6A1E2C4A51}"/>
                </c:ext>
              </c:extLst>
            </c:dLbl>
            <c:dLbl>
              <c:idx val="9"/>
              <c:layout>
                <c:manualLayout>
                  <c:x val="0"/>
                  <c:y val="-4.033149171270718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B0E8-488B-9367-0D6A1E2C4A51}"/>
                </c:ext>
              </c:extLst>
            </c:dLbl>
            <c:dLbl>
              <c:idx val="10"/>
              <c:layout>
                <c:manualLayout>
                  <c:x val="0"/>
                  <c:y val="-3.867403314917126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B0E8-488B-9367-0D6A1E2C4A51}"/>
                </c:ext>
              </c:extLst>
            </c:dLbl>
            <c:dLbl>
              <c:idx val="11"/>
              <c:layout>
                <c:manualLayout>
                  <c:x val="0"/>
                  <c:y val="-3.701657458563535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B0E8-488B-9367-0D6A1E2C4A51}"/>
                </c:ext>
              </c:extLst>
            </c:dLbl>
            <c:dLbl>
              <c:idx val="12"/>
              <c:layout>
                <c:manualLayout>
                  <c:x val="0"/>
                  <c:y val="-3.701657458563535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B0E8-488B-9367-0D6A1E2C4A51}"/>
                </c:ext>
              </c:extLst>
            </c:dLbl>
            <c:dLbl>
              <c:idx val="13"/>
              <c:layout>
                <c:manualLayout>
                  <c:x val="0"/>
                  <c:y val="-3.53591160220994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B0E8-488B-9367-0D6A1E2C4A5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O$2</c:f>
              <c:numCache>
                <c:formatCode>General</c:formatCode>
                <c:ptCount val="15"/>
                <c:pt idx="1">
                  <c:v>732.35416874801149</c:v>
                </c:pt>
                <c:pt idx="2">
                  <c:v>451.10948831883502</c:v>
                </c:pt>
                <c:pt idx="3">
                  <c:v>436.72373240759407</c:v>
                </c:pt>
                <c:pt idx="4">
                  <c:v>294.75744979309638</c:v>
                </c:pt>
                <c:pt idx="5">
                  <c:v>248.34476909256819</c:v>
                </c:pt>
                <c:pt idx="6">
                  <c:v>120.95282607076888</c:v>
                </c:pt>
                <c:pt idx="7">
                  <c:v>98.067586212759579</c:v>
                </c:pt>
                <c:pt idx="8">
                  <c:v>85.700653561047602</c:v>
                </c:pt>
                <c:pt idx="9">
                  <c:v>55.868329539599017</c:v>
                </c:pt>
                <c:pt idx="10">
                  <c:v>46.832878549978886</c:v>
                </c:pt>
                <c:pt idx="11">
                  <c:v>33.772615636035425</c:v>
                </c:pt>
                <c:pt idx="12">
                  <c:v>30.039331046326424</c:v>
                </c:pt>
                <c:pt idx="13">
                  <c:v>19.0778316900177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B0E8-488B-9367-0D6A1E2C4A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86293104"/>
        <c:axId val="1"/>
      </c:barChart>
      <c:catAx>
        <c:axId val="4862931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486293104"/>
        <c:crosses val="min"/>
        <c:crossBetween val="between"/>
        <c:majorUnit val="5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59703372044214E-2"/>
          <c:y val="4.4866264020707508E-2"/>
          <c:w val="0.95312718623198545"/>
          <c:h val="0.9094046591889559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3943054357204486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5FE-4ACE-8250-4F2561C76EEB}"/>
                </c:ext>
              </c:extLst>
            </c:dLbl>
            <c:dLbl>
              <c:idx val="1"/>
              <c:layout>
                <c:manualLayout>
                  <c:x val="0"/>
                  <c:y val="-0.3718723037100948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5FE-4ACE-8250-4F2561C76EEB}"/>
                </c:ext>
              </c:extLst>
            </c:dLbl>
            <c:dLbl>
              <c:idx val="2"/>
              <c:layout>
                <c:manualLayout>
                  <c:x val="0"/>
                  <c:y val="-0.252804141501294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5FE-4ACE-8250-4F2561C76EEB}"/>
                </c:ext>
              </c:extLst>
            </c:dLbl>
            <c:dLbl>
              <c:idx val="3"/>
              <c:layout>
                <c:manualLayout>
                  <c:x val="0"/>
                  <c:y val="-0.2459016393442622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5FE-4ACE-8250-4F2561C76EEB}"/>
                </c:ext>
              </c:extLst>
            </c:dLbl>
            <c:dLbl>
              <c:idx val="4"/>
              <c:layout>
                <c:manualLayout>
                  <c:x val="0"/>
                  <c:y val="-0.163071613459879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5FE-4ACE-8250-4F2561C76EEB}"/>
                </c:ext>
              </c:extLst>
            </c:dLbl>
            <c:dLbl>
              <c:idx val="5"/>
              <c:layout>
                <c:manualLayout>
                  <c:x val="0"/>
                  <c:y val="-0.1458153580672993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5FE-4ACE-8250-4F2561C76EEB}"/>
                </c:ext>
              </c:extLst>
            </c:dLbl>
            <c:dLbl>
              <c:idx val="6"/>
              <c:layout>
                <c:manualLayout>
                  <c:x val="0"/>
                  <c:y val="-8.886971527178602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5FE-4ACE-8250-4F2561C76EEB}"/>
                </c:ext>
              </c:extLst>
            </c:dLbl>
            <c:dLbl>
              <c:idx val="7"/>
              <c:layout>
                <c:manualLayout>
                  <c:x val="0"/>
                  <c:y val="-6.643658326143227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5FE-4ACE-8250-4F2561C76EEB}"/>
                </c:ext>
              </c:extLst>
            </c:dLbl>
            <c:dLbl>
              <c:idx val="8"/>
              <c:layout>
                <c:manualLayout>
                  <c:x val="0"/>
                  <c:y val="-5.78084555651423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5FE-4ACE-8250-4F2561C76EEB}"/>
                </c:ext>
              </c:extLst>
            </c:dLbl>
            <c:dLbl>
              <c:idx val="9"/>
              <c:layout>
                <c:manualLayout>
                  <c:x val="0"/>
                  <c:y val="-3.451251078515962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5FE-4ACE-8250-4F2561C76EEB}"/>
                </c:ext>
              </c:extLst>
            </c:dLbl>
            <c:dLbl>
              <c:idx val="10"/>
              <c:layout>
                <c:manualLayout>
                  <c:x val="0"/>
                  <c:y val="-2.415875754961173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5FE-4ACE-8250-4F2561C76EEB}"/>
                </c:ext>
              </c:extLst>
            </c:dLbl>
            <c:dLbl>
              <c:idx val="11"/>
              <c:layout>
                <c:manualLayout>
                  <c:x val="0"/>
                  <c:y val="-1.294219154443485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85FE-4ACE-8250-4F2561C76EEB}"/>
                </c:ext>
              </c:extLst>
            </c:dLbl>
            <c:dLbl>
              <c:idx val="12"/>
              <c:layout>
                <c:manualLayout>
                  <c:x val="0"/>
                  <c:y val="-1.035375323554788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85FE-4ACE-8250-4F2561C76EE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763.01147633622406</c:v>
                </c:pt>
                <c:pt idx="1">
                  <c:v>712.29776683270916</c:v>
                </c:pt>
                <c:pt idx="2">
                  <c:v>450.3375498269653</c:v>
                </c:pt>
                <c:pt idx="3">
                  <c:v>436.90342447709003</c:v>
                </c:pt>
                <c:pt idx="4">
                  <c:v>254.22773756583234</c:v>
                </c:pt>
                <c:pt idx="5">
                  <c:v>214.99814984018988</c:v>
                </c:pt>
                <c:pt idx="6">
                  <c:v>117.66083172451927</c:v>
                </c:pt>
                <c:pt idx="7">
                  <c:v>92.753508479723692</c:v>
                </c:pt>
                <c:pt idx="8">
                  <c:v>83.693254344599609</c:v>
                </c:pt>
                <c:pt idx="9">
                  <c:v>57.443262851654637</c:v>
                </c:pt>
                <c:pt idx="10">
                  <c:v>46.487754673727217</c:v>
                </c:pt>
                <c:pt idx="11">
                  <c:v>34.074902370142496</c:v>
                </c:pt>
                <c:pt idx="12">
                  <c:v>31.6879723047004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85FE-4ACE-8250-4F2561C76EEB}"/>
            </c:ext>
          </c:extLst>
        </c:ser>
        <c:ser>
          <c:idx val="1"/>
          <c:order val="1"/>
          <c:spPr>
            <a:solidFill>
              <a:srgbClr val="25B4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23641069887834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85FE-4ACE-8250-4F2561C76EEB}"/>
                </c:ext>
              </c:extLst>
            </c:dLbl>
            <c:dLbl>
              <c:idx val="1"/>
              <c:layout>
                <c:manualLayout>
                  <c:x val="0"/>
                  <c:y val="-0.380500431406384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85FE-4ACE-8250-4F2561C76EEB}"/>
                </c:ext>
              </c:extLst>
            </c:dLbl>
            <c:dLbl>
              <c:idx val="2"/>
              <c:layout>
                <c:manualLayout>
                  <c:x val="0"/>
                  <c:y val="-0.251941328731665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85FE-4ACE-8250-4F2561C76EEB}"/>
                </c:ext>
              </c:extLst>
            </c:dLbl>
            <c:dLbl>
              <c:idx val="3"/>
              <c:layout>
                <c:manualLayout>
                  <c:x val="0"/>
                  <c:y val="-0.2459016393442622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85FE-4ACE-8250-4F2561C76EEB}"/>
                </c:ext>
              </c:extLst>
            </c:dLbl>
            <c:dLbl>
              <c:idx val="4"/>
              <c:layout>
                <c:manualLayout>
                  <c:x val="0"/>
                  <c:y val="-0.18205349439171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85FE-4ACE-8250-4F2561C76EEB}"/>
                </c:ext>
              </c:extLst>
            </c:dLbl>
            <c:dLbl>
              <c:idx val="5"/>
              <c:layout>
                <c:manualLayout>
                  <c:x val="0"/>
                  <c:y val="-0.1604831751509922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85FE-4ACE-8250-4F2561C76EEB}"/>
                </c:ext>
              </c:extLst>
            </c:dLbl>
            <c:dLbl>
              <c:idx val="6"/>
              <c:layout>
                <c:manualLayout>
                  <c:x val="0"/>
                  <c:y val="-9.14581535806729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85FE-4ACE-8250-4F2561C76EEB}"/>
                </c:ext>
              </c:extLst>
            </c:dLbl>
            <c:dLbl>
              <c:idx val="7"/>
              <c:layout>
                <c:manualLayout>
                  <c:x val="0"/>
                  <c:y val="-7.075064710957722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85FE-4ACE-8250-4F2561C76EEB}"/>
                </c:ext>
              </c:extLst>
            </c:dLbl>
            <c:dLbl>
              <c:idx val="8"/>
              <c:layout>
                <c:manualLayout>
                  <c:x val="0"/>
                  <c:y val="-5.953408110440034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85FE-4ACE-8250-4F2561C76EEB}"/>
                </c:ext>
              </c:extLst>
            </c:dLbl>
            <c:dLbl>
              <c:idx val="9"/>
              <c:layout>
                <c:manualLayout>
                  <c:x val="0"/>
                  <c:y val="-3.27868852459016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85FE-4ACE-8250-4F2561C76EEB}"/>
                </c:ext>
              </c:extLst>
            </c:dLbl>
            <c:dLbl>
              <c:idx val="10"/>
              <c:layout>
                <c:manualLayout>
                  <c:x val="0"/>
                  <c:y val="-2.415875754961173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85FE-4ACE-8250-4F2561C76EEB}"/>
                </c:ext>
              </c:extLst>
            </c:dLbl>
            <c:dLbl>
              <c:idx val="11"/>
              <c:layout>
                <c:manualLayout>
                  <c:x val="0"/>
                  <c:y val="-1.294219154443485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85FE-4ACE-8250-4F2561C76EEB}"/>
                </c:ext>
              </c:extLst>
            </c:dLbl>
            <c:dLbl>
              <c:idx val="12"/>
              <c:layout>
                <c:manualLayout>
                  <c:x val="0"/>
                  <c:y val="-9.490940465918895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85FE-4ACE-8250-4F2561C76EE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M$2</c:f>
              <c:numCache>
                <c:formatCode>General</c:formatCode>
                <c:ptCount val="13"/>
                <c:pt idx="0">
                  <c:v>828.33486984080378</c:v>
                </c:pt>
                <c:pt idx="1">
                  <c:v>732.35416874801149</c:v>
                </c:pt>
                <c:pt idx="2">
                  <c:v>451.10948831883502</c:v>
                </c:pt>
                <c:pt idx="3">
                  <c:v>436.72373240759401</c:v>
                </c:pt>
                <c:pt idx="4">
                  <c:v>294.75744979309633</c:v>
                </c:pt>
                <c:pt idx="5">
                  <c:v>248.34476909256821</c:v>
                </c:pt>
                <c:pt idx="6">
                  <c:v>120.95282607076881</c:v>
                </c:pt>
                <c:pt idx="7">
                  <c:v>98.067586212759494</c:v>
                </c:pt>
                <c:pt idx="8">
                  <c:v>85.700653561047659</c:v>
                </c:pt>
                <c:pt idx="9">
                  <c:v>55.868329539598868</c:v>
                </c:pt>
                <c:pt idx="10">
                  <c:v>46.83287854997883</c:v>
                </c:pt>
                <c:pt idx="11">
                  <c:v>33.772615636035326</c:v>
                </c:pt>
                <c:pt idx="12">
                  <c:v>30.0393310463264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85FE-4ACE-8250-4F2561C76E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30712928"/>
        <c:axId val="1"/>
      </c:barChart>
      <c:catAx>
        <c:axId val="9307129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930712928"/>
        <c:crosses val="min"/>
        <c:crossBetween val="between"/>
        <c:majorUnit val="2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36749116607774E-2"/>
          <c:y val="0.14560439560439561"/>
          <c:w val="0.96028268551236751"/>
          <c:h val="0.7087912087912088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6.868131868131868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70E-4579-ADE5-374643764BFF}"/>
                </c:ext>
              </c:extLst>
            </c:dLbl>
            <c:dLbl>
              <c:idx val="1"/>
              <c:layout>
                <c:manualLayout>
                  <c:x val="0"/>
                  <c:y val="-0.4010989010989011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70E-4579-ADE5-374643764BFF}"/>
                </c:ext>
              </c:extLst>
            </c:dLbl>
            <c:dLbl>
              <c:idx val="2"/>
              <c:layout>
                <c:manualLayout>
                  <c:x val="0"/>
                  <c:y val="-0.2115384615384615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70E-4579-ADE5-374643764BFF}"/>
                </c:ext>
              </c:extLst>
            </c:dLbl>
            <c:dLbl>
              <c:idx val="3"/>
              <c:layout>
                <c:manualLayout>
                  <c:x val="0"/>
                  <c:y val="1.648351648351648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70E-4579-ADE5-374643764BFF}"/>
                </c:ext>
              </c:extLst>
            </c:dLbl>
            <c:dLbl>
              <c:idx val="4"/>
              <c:layout>
                <c:manualLayout>
                  <c:x val="0"/>
                  <c:y val="1.648351648351648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70E-4579-ADE5-374643764BFF}"/>
                </c:ext>
              </c:extLst>
            </c:dLbl>
            <c:dLbl>
              <c:idx val="5"/>
              <c:layout>
                <c:manualLayout>
                  <c:x val="0"/>
                  <c:y val="-3.296703296703296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70E-4579-ADE5-374643764BFF}"/>
                </c:ext>
              </c:extLst>
            </c:dLbl>
            <c:dLbl>
              <c:idx val="6"/>
              <c:layout>
                <c:manualLayout>
                  <c:x val="0"/>
                  <c:y val="2.747252747252747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70E-4579-ADE5-374643764BFF}"/>
                </c:ext>
              </c:extLst>
            </c:dLbl>
            <c:dLbl>
              <c:idx val="8"/>
              <c:layout>
                <c:manualLayout>
                  <c:x val="0"/>
                  <c:y val="2.747252747252747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70E-4579-ADE5-374643764BFF}"/>
                </c:ext>
              </c:extLst>
            </c:dLbl>
            <c:dLbl>
              <c:idx val="9"/>
              <c:layout>
                <c:manualLayout>
                  <c:x val="0"/>
                  <c:y val="1.648351648351648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770E-4579-ADE5-374643764BFF}"/>
                </c:ext>
              </c:extLst>
            </c:dLbl>
            <c:dLbl>
              <c:idx val="10"/>
              <c:layout>
                <c:manualLayout>
                  <c:x val="0"/>
                  <c:y val="-8.241758241758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770E-4579-ADE5-374643764BFF}"/>
                </c:ext>
              </c:extLst>
            </c:dLbl>
            <c:dLbl>
              <c:idx val="11"/>
              <c:layout>
                <c:manualLayout>
                  <c:x val="0"/>
                  <c:y val="4.395604395604395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770E-4579-ADE5-374643764BFF}"/>
                </c:ext>
              </c:extLst>
            </c:dLbl>
            <c:dLbl>
              <c:idx val="12"/>
              <c:layout>
                <c:manualLayout>
                  <c:x val="0"/>
                  <c:y val="4.120879120879120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770E-4579-ADE5-374643764BF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70.891647422162663</c:v>
                </c:pt>
                <c:pt idx="1">
                  <c:v>282.49871639421832</c:v>
                </c:pt>
                <c:pt idx="2">
                  <c:v>152.41481943402798</c:v>
                </c:pt>
                <c:pt idx="3">
                  <c:v>23.264643197859328</c:v>
                </c:pt>
                <c:pt idx="4">
                  <c:v>23.111773636664857</c:v>
                </c:pt>
                <c:pt idx="5">
                  <c:v>50.508868657140006</c:v>
                </c:pt>
                <c:pt idx="6">
                  <c:v>30.645958854109129</c:v>
                </c:pt>
                <c:pt idx="7">
                  <c:v>0</c:v>
                </c:pt>
                <c:pt idx="8">
                  <c:v>30.855672855981826</c:v>
                </c:pt>
                <c:pt idx="9">
                  <c:v>22.623998900160039</c:v>
                </c:pt>
                <c:pt idx="10">
                  <c:v>36.82812400509539</c:v>
                </c:pt>
                <c:pt idx="11">
                  <c:v>7.5681663160799157</c:v>
                </c:pt>
                <c:pt idx="12">
                  <c:v>8.69468795436659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70E-4579-ADE5-374643764BFF}"/>
            </c:ext>
          </c:extLst>
        </c:ser>
        <c:ser>
          <c:idx val="1"/>
          <c:order val="1"/>
          <c:spPr>
            <a:solidFill>
              <a:srgbClr val="25B4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8.516483516483516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770E-4579-ADE5-374643764BFF}"/>
                </c:ext>
              </c:extLst>
            </c:dLbl>
            <c:dLbl>
              <c:idx val="1"/>
              <c:layout>
                <c:manualLayout>
                  <c:x val="0"/>
                  <c:y val="-0.431318681318681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770E-4579-ADE5-374643764BFF}"/>
                </c:ext>
              </c:extLst>
            </c:dLbl>
            <c:dLbl>
              <c:idx val="2"/>
              <c:layout>
                <c:manualLayout>
                  <c:x val="0"/>
                  <c:y val="-0.2252747252747252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770E-4579-ADE5-374643764BFF}"/>
                </c:ext>
              </c:extLst>
            </c:dLbl>
            <c:dLbl>
              <c:idx val="3"/>
              <c:layout>
                <c:manualLayout>
                  <c:x val="0"/>
                  <c:y val="1.923076923076923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770E-4579-ADE5-374643764BFF}"/>
                </c:ext>
              </c:extLst>
            </c:dLbl>
            <c:dLbl>
              <c:idx val="4"/>
              <c:layout>
                <c:manualLayout>
                  <c:x val="0"/>
                  <c:y val="8.241758241758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770E-4579-ADE5-374643764BFF}"/>
                </c:ext>
              </c:extLst>
            </c:dLbl>
            <c:dLbl>
              <c:idx val="5"/>
              <c:layout>
                <c:manualLayout>
                  <c:x val="0"/>
                  <c:y val="-3.846153846153846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770E-4579-ADE5-374643764BFF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770E-4579-ADE5-374643764BFF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770E-4579-ADE5-374643764BFF}"/>
                </c:ext>
              </c:extLst>
            </c:dLbl>
            <c:dLbl>
              <c:idx val="9"/>
              <c:layout>
                <c:manualLayout>
                  <c:x val="0"/>
                  <c:y val="1.923076923076923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770E-4579-ADE5-374643764BFF}"/>
                </c:ext>
              </c:extLst>
            </c:dLbl>
            <c:dLbl>
              <c:idx val="10"/>
              <c:layout>
                <c:manualLayout>
                  <c:x val="0"/>
                  <c:y val="-8.241758241758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770E-4579-ADE5-374643764BFF}"/>
                </c:ext>
              </c:extLst>
            </c:dLbl>
            <c:dLbl>
              <c:idx val="11"/>
              <c:layout>
                <c:manualLayout>
                  <c:x val="0"/>
                  <c:y val="4.395604395604395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770E-4579-ADE5-374643764BFF}"/>
                </c:ext>
              </c:extLst>
            </c:dLbl>
            <c:dLbl>
              <c:idx val="12"/>
              <c:layout>
                <c:manualLayout>
                  <c:x val="0"/>
                  <c:y val="4.120879120879120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770E-4579-ADE5-374643764BF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M$2</c:f>
              <c:numCache>
                <c:formatCode>General</c:formatCode>
                <c:ptCount val="13"/>
                <c:pt idx="0">
                  <c:v>80.099841495459614</c:v>
                </c:pt>
                <c:pt idx="1">
                  <c:v>316.36809774083974</c:v>
                </c:pt>
                <c:pt idx="2">
                  <c:v>159.49627226136124</c:v>
                </c:pt>
                <c:pt idx="3">
                  <c:v>22.425781633963343</c:v>
                </c:pt>
                <c:pt idx="4">
                  <c:v>28.426037112941497</c:v>
                </c:pt>
                <c:pt idx="5">
                  <c:v>54.961393487355146</c:v>
                </c:pt>
                <c:pt idx="6">
                  <c:v>31.98576307817693</c:v>
                </c:pt>
                <c:pt idx="7">
                  <c:v>0</c:v>
                </c:pt>
                <c:pt idx="8">
                  <c:v>32.742030246757402</c:v>
                </c:pt>
                <c:pt idx="9">
                  <c:v>22.443797934789032</c:v>
                </c:pt>
                <c:pt idx="10">
                  <c:v>37.21052910871154</c:v>
                </c:pt>
                <c:pt idx="11">
                  <c:v>8.4411698504164292</c:v>
                </c:pt>
                <c:pt idx="12">
                  <c:v>8.9315487686587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770E-4579-ADE5-374643764B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058006040"/>
        <c:axId val="1"/>
      </c:barChart>
      <c:catAx>
        <c:axId val="10580060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kern="1200">
                <a:solidFill>
                  <a:schemeClr val="tx1"/>
                </a:solidFill>
                <a:latin typeface="+mn-lt"/>
                <a:ea typeface="+mn-ea"/>
                <a:cs typeface="Arial"/>
                <a:sym typeface="+mn-lt"/>
              </a:defRPr>
            </a:pPr>
            <a:endParaRPr lang="en-US"/>
          </a:p>
        </c:txPr>
        <c:crossAx val="1058006040"/>
        <c:crosses val="min"/>
        <c:crossBetween val="between"/>
        <c:majorUnit val="2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285351755251657E-2"/>
          <c:y val="0.14794520547945206"/>
          <c:w val="0.96038347666713664"/>
          <c:h val="0.7068493150684931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172602739726027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1F9-4D60-93A0-CE06CA95F806}"/>
                </c:ext>
              </c:extLst>
            </c:dLbl>
            <c:dLbl>
              <c:idx val="1"/>
              <c:layout>
                <c:manualLayout>
                  <c:x val="0"/>
                  <c:y val="-0.4301369863013698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1F9-4D60-93A0-CE06CA95F806}"/>
                </c:ext>
              </c:extLst>
            </c:dLbl>
            <c:dLbl>
              <c:idx val="2"/>
              <c:layout>
                <c:manualLayout>
                  <c:x val="0"/>
                  <c:y val="-0.3315068493150685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1F9-4D60-93A0-CE06CA95F806}"/>
                </c:ext>
              </c:extLst>
            </c:dLbl>
            <c:dLbl>
              <c:idx val="3"/>
              <c:layout>
                <c:manualLayout>
                  <c:x val="0"/>
                  <c:y val="-9.589041095890410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1F9-4D60-93A0-CE06CA95F806}"/>
                </c:ext>
              </c:extLst>
            </c:dLbl>
            <c:dLbl>
              <c:idx val="4"/>
              <c:layout>
                <c:manualLayout>
                  <c:x val="0"/>
                  <c:y val="-5.479452054794520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1F9-4D60-93A0-CE06CA95F806}"/>
                </c:ext>
              </c:extLst>
            </c:dLbl>
            <c:dLbl>
              <c:idx val="5"/>
              <c:layout>
                <c:manualLayout>
                  <c:x val="0"/>
                  <c:y val="-5.205479452054794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1F9-4D60-93A0-CE06CA95F806}"/>
                </c:ext>
              </c:extLst>
            </c:dLbl>
            <c:dLbl>
              <c:idx val="6"/>
              <c:layout>
                <c:manualLayout>
                  <c:x val="0"/>
                  <c:y val="1.09589041095890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1F9-4D60-93A0-CE06CA95F806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1F9-4D60-93A0-CE06CA95F806}"/>
                </c:ext>
              </c:extLst>
            </c:dLbl>
            <c:dLbl>
              <c:idx val="9"/>
              <c:layout>
                <c:manualLayout>
                  <c:x val="0"/>
                  <c:y val="1.09589041095890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1F9-4D60-93A0-CE06CA95F806}"/>
                </c:ext>
              </c:extLst>
            </c:dLbl>
            <c:dLbl>
              <c:idx val="10"/>
              <c:layout>
                <c:manualLayout>
                  <c:x val="0"/>
                  <c:y val="4.109589041095890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1F9-4D60-93A0-CE06CA95F806}"/>
                </c:ext>
              </c:extLst>
            </c:dLbl>
            <c:dLbl>
              <c:idx val="11"/>
              <c:layout>
                <c:manualLayout>
                  <c:x val="0"/>
                  <c:y val="2.73972602739726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1F9-4D60-93A0-CE06CA95F806}"/>
                </c:ext>
              </c:extLst>
            </c:dLbl>
            <c:dLbl>
              <c:idx val="12"/>
              <c:layout>
                <c:manualLayout>
                  <c:x val="0"/>
                  <c:y val="4.38356164383561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1F9-4D60-93A0-CE06CA95F80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130.50765691008061</c:v>
                </c:pt>
                <c:pt idx="1">
                  <c:v>318.59522539220615</c:v>
                </c:pt>
                <c:pt idx="2">
                  <c:v>219.44007352700947</c:v>
                </c:pt>
                <c:pt idx="3">
                  <c:v>86.282599218098724</c:v>
                </c:pt>
                <c:pt idx="4">
                  <c:v>63.284700343130503</c:v>
                </c:pt>
                <c:pt idx="5">
                  <c:v>62.454051216675758</c:v>
                </c:pt>
                <c:pt idx="6">
                  <c:v>27.02478132264676</c:v>
                </c:pt>
                <c:pt idx="7">
                  <c:v>0</c:v>
                </c:pt>
                <c:pt idx="8">
                  <c:v>32.339678706879056</c:v>
                </c:pt>
                <c:pt idx="9">
                  <c:v>26.820142981277687</c:v>
                </c:pt>
                <c:pt idx="10">
                  <c:v>9.163622178113993</c:v>
                </c:pt>
                <c:pt idx="11">
                  <c:v>17.462551113493106</c:v>
                </c:pt>
                <c:pt idx="12">
                  <c:v>7.94921699255196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1F9-4D60-93A0-CE06CA95F806}"/>
            </c:ext>
          </c:extLst>
        </c:ser>
        <c:ser>
          <c:idx val="1"/>
          <c:order val="1"/>
          <c:spPr>
            <a:solidFill>
              <a:srgbClr val="25B4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208219178082191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D1F9-4D60-93A0-CE06CA95F806}"/>
                </c:ext>
              </c:extLst>
            </c:dLbl>
            <c:dLbl>
              <c:idx val="1"/>
              <c:layout>
                <c:manualLayout>
                  <c:x val="0"/>
                  <c:y val="-0.419178082191780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D1F9-4D60-93A0-CE06CA95F806}"/>
                </c:ext>
              </c:extLst>
            </c:dLbl>
            <c:dLbl>
              <c:idx val="2"/>
              <c:layout>
                <c:manualLayout>
                  <c:x val="0"/>
                  <c:y val="-0.3232876712328767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D1F9-4D60-93A0-CE06CA95F806}"/>
                </c:ext>
              </c:extLst>
            </c:dLbl>
            <c:dLbl>
              <c:idx val="3"/>
              <c:layout>
                <c:manualLayout>
                  <c:x val="0"/>
                  <c:y val="-8.219178082191780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D1F9-4D60-93A0-CE06CA95F806}"/>
                </c:ext>
              </c:extLst>
            </c:dLbl>
            <c:dLbl>
              <c:idx val="4"/>
              <c:layout>
                <c:manualLayout>
                  <c:x val="0"/>
                  <c:y val="-8.219178082191780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D1F9-4D60-93A0-CE06CA95F806}"/>
                </c:ext>
              </c:extLst>
            </c:dLbl>
            <c:dLbl>
              <c:idx val="5"/>
              <c:layout>
                <c:manualLayout>
                  <c:x val="0"/>
                  <c:y val="-7.123287671232876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D1F9-4D60-93A0-CE06CA95F806}"/>
                </c:ext>
              </c:extLst>
            </c:dLbl>
            <c:dLbl>
              <c:idx val="6"/>
              <c:layout>
                <c:manualLayout>
                  <c:x val="0"/>
                  <c:y val="1.09589041095890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D1F9-4D60-93A0-CE06CA95F806}"/>
                </c:ext>
              </c:extLst>
            </c:dLbl>
            <c:dLbl>
              <c:idx val="8"/>
              <c:layout>
                <c:manualLayout>
                  <c:x val="0"/>
                  <c:y val="2.739726027397260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D1F9-4D60-93A0-CE06CA95F806}"/>
                </c:ext>
              </c:extLst>
            </c:dLbl>
            <c:dLbl>
              <c:idx val="9"/>
              <c:layout>
                <c:manualLayout>
                  <c:x val="0"/>
                  <c:y val="5.479452054794520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D1F9-4D60-93A0-CE06CA95F806}"/>
                </c:ext>
              </c:extLst>
            </c:dLbl>
            <c:dLbl>
              <c:idx val="10"/>
              <c:layout>
                <c:manualLayout>
                  <c:x val="0"/>
                  <c:y val="4.109589041095890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D1F9-4D60-93A0-CE06CA95F806}"/>
                </c:ext>
              </c:extLst>
            </c:dLbl>
            <c:dLbl>
              <c:idx val="11"/>
              <c:layout>
                <c:manualLayout>
                  <c:x val="0"/>
                  <c:y val="2.465753424657534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D1F9-4D60-93A0-CE06CA95F806}"/>
                </c:ext>
              </c:extLst>
            </c:dLbl>
            <c:dLbl>
              <c:idx val="12"/>
              <c:layout>
                <c:manualLayout>
                  <c:x val="0"/>
                  <c:y val="4.383561643835616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D1F9-4D60-93A0-CE06CA95F80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M$2</c:f>
              <c:numCache>
                <c:formatCode>General</c:formatCode>
                <c:ptCount val="13"/>
                <c:pt idx="0">
                  <c:v>150.05182622022249</c:v>
                </c:pt>
                <c:pt idx="1">
                  <c:v>303.20264937754689</c:v>
                </c:pt>
                <c:pt idx="2">
                  <c:v>215.79986601261734</c:v>
                </c:pt>
                <c:pt idx="3">
                  <c:v>79.235538706514745</c:v>
                </c:pt>
                <c:pt idx="4">
                  <c:v>78.691203258449221</c:v>
                </c:pt>
                <c:pt idx="5">
                  <c:v>73.490362761479318</c:v>
                </c:pt>
                <c:pt idx="6">
                  <c:v>26.365431019721367</c:v>
                </c:pt>
                <c:pt idx="7">
                  <c:v>0</c:v>
                </c:pt>
                <c:pt idx="8">
                  <c:v>30.737130945800423</c:v>
                </c:pt>
                <c:pt idx="9">
                  <c:v>28.796999193248482</c:v>
                </c:pt>
                <c:pt idx="10">
                  <c:v>9.21053780103178</c:v>
                </c:pt>
                <c:pt idx="11">
                  <c:v>18.351437085008062</c:v>
                </c:pt>
                <c:pt idx="12">
                  <c:v>8.49262122599567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D1F9-4D60-93A0-CE06CA95F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62203712"/>
        <c:axId val="1"/>
      </c:barChart>
      <c:catAx>
        <c:axId val="9622037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962203712"/>
        <c:crosses val="min"/>
        <c:crossBetween val="between"/>
        <c:majorUnit val="2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285351755251657E-2"/>
          <c:y val="2.564102564102564E-2"/>
          <c:w val="0.96038347666713664"/>
          <c:h val="0.9482248520710059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082840236686390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F96-4D34-A322-E5DBA5E06B94}"/>
                </c:ext>
              </c:extLst>
            </c:dLbl>
            <c:dLbl>
              <c:idx val="1"/>
              <c:layout>
                <c:manualLayout>
                  <c:x val="0"/>
                  <c:y val="-0.3920118343195266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F96-4D34-A322-E5DBA5E06B94}"/>
                </c:ext>
              </c:extLst>
            </c:dLbl>
            <c:dLbl>
              <c:idx val="2"/>
              <c:layout>
                <c:manualLayout>
                  <c:x val="0"/>
                  <c:y val="-0.248027613412228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F96-4D34-A322-E5DBA5E06B94}"/>
                </c:ext>
              </c:extLst>
            </c:dLbl>
            <c:dLbl>
              <c:idx val="3"/>
              <c:layout>
                <c:manualLayout>
                  <c:x val="0"/>
                  <c:y val="-0.3096646942800789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F96-4D34-A322-E5DBA5E06B94}"/>
                </c:ext>
              </c:extLst>
            </c:dLbl>
            <c:dLbl>
              <c:idx val="4"/>
              <c:layout>
                <c:manualLayout>
                  <c:x val="0"/>
                  <c:y val="-0.241124260355029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F96-4D34-A322-E5DBA5E06B94}"/>
                </c:ext>
              </c:extLst>
            </c:dLbl>
            <c:dLbl>
              <c:idx val="5"/>
              <c:layout>
                <c:manualLayout>
                  <c:x val="0"/>
                  <c:y val="-0.2026627218934911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F96-4D34-A322-E5DBA5E06B94}"/>
                </c:ext>
              </c:extLst>
            </c:dLbl>
            <c:dLbl>
              <c:idx val="6"/>
              <c:layout>
                <c:manualLayout>
                  <c:x val="0"/>
                  <c:y val="-0.2149901380670611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F96-4D34-A322-E5DBA5E06B94}"/>
                </c:ext>
              </c:extLst>
            </c:dLbl>
            <c:dLbl>
              <c:idx val="7"/>
              <c:layout>
                <c:manualLayout>
                  <c:x val="0"/>
                  <c:y val="-0.2130177514792899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5F96-4D34-A322-E5DBA5E06B94}"/>
                </c:ext>
              </c:extLst>
            </c:dLbl>
            <c:dLbl>
              <c:idx val="8"/>
              <c:layout>
                <c:manualLayout>
                  <c:x val="0"/>
                  <c:y val="-0.1405325443786982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F96-4D34-A322-E5DBA5E06B94}"/>
                </c:ext>
              </c:extLst>
            </c:dLbl>
            <c:dLbl>
              <c:idx val="9"/>
              <c:layout>
                <c:manualLayout>
                  <c:x val="0"/>
                  <c:y val="-0.1676528599605522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F96-4D34-A322-E5DBA5E06B94}"/>
                </c:ext>
              </c:extLst>
            </c:dLbl>
            <c:dLbl>
              <c:idx val="10"/>
              <c:layout>
                <c:manualLayout>
                  <c:x val="0"/>
                  <c:y val="-0.1558185404339250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5F96-4D34-A322-E5DBA5E06B94}"/>
                </c:ext>
              </c:extLst>
            </c:dLbl>
            <c:dLbl>
              <c:idx val="11"/>
              <c:layout>
                <c:manualLayout>
                  <c:x val="0"/>
                  <c:y val="-0.166666666666666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5F96-4D34-A322-E5DBA5E06B94}"/>
                </c:ext>
              </c:extLst>
            </c:dLbl>
            <c:dLbl>
              <c:idx val="12"/>
              <c:layout>
                <c:manualLayout>
                  <c:x val="0"/>
                  <c:y val="-0.144970414201183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5F96-4D34-A322-E5DBA5E06B94}"/>
                </c:ext>
              </c:extLst>
            </c:dLbl>
            <c:dLbl>
              <c:idx val="13"/>
              <c:layout>
                <c:manualLayout>
                  <c:x val="0"/>
                  <c:y val="-0.1459566074950690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5F96-4D34-A322-E5DBA5E06B94}"/>
                </c:ext>
              </c:extLst>
            </c:dLbl>
            <c:dLbl>
              <c:idx val="14"/>
              <c:layout>
                <c:manualLayout>
                  <c:x val="0"/>
                  <c:y val="-0.1370808678500986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5F96-4D34-A322-E5DBA5E06B94}"/>
                </c:ext>
              </c:extLst>
            </c:dLbl>
            <c:dLbl>
              <c:idx val="15"/>
              <c:layout>
                <c:manualLayout>
                  <c:x val="0"/>
                  <c:y val="-0.129191321499013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5F96-4D34-A322-E5DBA5E06B94}"/>
                </c:ext>
              </c:extLst>
            </c:dLbl>
            <c:dLbl>
              <c:idx val="16"/>
              <c:layout>
                <c:manualLayout>
                  <c:x val="0"/>
                  <c:y val="-0.1553254437869822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5F96-4D34-A322-E5DBA5E06B94}"/>
                </c:ext>
              </c:extLst>
            </c:dLbl>
            <c:dLbl>
              <c:idx val="17"/>
              <c:layout>
                <c:manualLayout>
                  <c:x val="0"/>
                  <c:y val="-0.1272189349112426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5F96-4D34-A322-E5DBA5E06B94}"/>
                </c:ext>
              </c:extLst>
            </c:dLbl>
            <c:dLbl>
              <c:idx val="18"/>
              <c:layout>
                <c:manualLayout>
                  <c:x val="0"/>
                  <c:y val="-0.132642998027613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5F96-4D34-A322-E5DBA5E06B94}"/>
                </c:ext>
              </c:extLst>
            </c:dLbl>
            <c:dLbl>
              <c:idx val="19"/>
              <c:layout>
                <c:manualLayout>
                  <c:x val="0"/>
                  <c:y val="-0.1183431952662721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5F96-4D34-A322-E5DBA5E06B9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T$1</c:f>
              <c:numCache>
                <c:formatCode>General</c:formatCode>
                <c:ptCount val="20"/>
                <c:pt idx="0">
                  <c:v>192.98753519520014</c:v>
                </c:pt>
                <c:pt idx="1">
                  <c:v>184.29010874038883</c:v>
                </c:pt>
                <c:pt idx="2">
                  <c:v>108.26313498044175</c:v>
                </c:pt>
                <c:pt idx="3">
                  <c:v>140.98158444592045</c:v>
                </c:pt>
                <c:pt idx="4">
                  <c:v>104.78483227213535</c:v>
                </c:pt>
                <c:pt idx="5">
                  <c:v>89.516005846088035</c:v>
                </c:pt>
                <c:pt idx="6">
                  <c:v>96.069283111438281</c:v>
                </c:pt>
                <c:pt idx="7">
                  <c:v>95.220814548801584</c:v>
                </c:pt>
                <c:pt idx="8">
                  <c:v>56.965893925473125</c:v>
                </c:pt>
                <c:pt idx="9">
                  <c:v>71.392085974857665</c:v>
                </c:pt>
                <c:pt idx="10">
                  <c:v>65.177517176018853</c:v>
                </c:pt>
                <c:pt idx="11">
                  <c:v>70.563945060649431</c:v>
                </c:pt>
                <c:pt idx="12">
                  <c:v>59.155778863729005</c:v>
                </c:pt>
                <c:pt idx="13">
                  <c:v>59.638978853174564</c:v>
                </c:pt>
                <c:pt idx="14">
                  <c:v>55.129478996413631</c:v>
                </c:pt>
                <c:pt idx="15">
                  <c:v>50.800371613954269</c:v>
                </c:pt>
                <c:pt idx="16">
                  <c:v>64.750154146389264</c:v>
                </c:pt>
                <c:pt idx="17">
                  <c:v>50.113344159025594</c:v>
                </c:pt>
                <c:pt idx="18">
                  <c:v>52.631787035851403</c:v>
                </c:pt>
                <c:pt idx="19">
                  <c:v>45.2786228744215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5F96-4D34-A322-E5DBA5E06B94}"/>
            </c:ext>
          </c:extLst>
        </c:ser>
        <c:ser>
          <c:idx val="1"/>
          <c:order val="1"/>
          <c:spPr>
            <a:solidFill>
              <a:srgbClr val="25B4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34911242603550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5F96-4D34-A322-E5DBA5E06B94}"/>
                </c:ext>
              </c:extLst>
            </c:dLbl>
            <c:dLbl>
              <c:idx val="1"/>
              <c:layout>
                <c:manualLayout>
                  <c:x val="0"/>
                  <c:y val="-0.3979289940828402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5F96-4D34-A322-E5DBA5E06B94}"/>
                </c:ext>
              </c:extLst>
            </c:dLbl>
            <c:dLbl>
              <c:idx val="2"/>
              <c:layout>
                <c:manualLayout>
                  <c:x val="0"/>
                  <c:y val="-0.3328402366863905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5F96-4D34-A322-E5DBA5E06B94}"/>
                </c:ext>
              </c:extLst>
            </c:dLbl>
            <c:dLbl>
              <c:idx val="3"/>
              <c:layout>
                <c:manualLayout>
                  <c:x val="0"/>
                  <c:y val="-0.3175542406311637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5F96-4D34-A322-E5DBA5E06B94}"/>
                </c:ext>
              </c:extLst>
            </c:dLbl>
            <c:dLbl>
              <c:idx val="4"/>
              <c:layout>
                <c:manualLayout>
                  <c:x val="0"/>
                  <c:y val="-0.2810650887573964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5F96-4D34-A322-E5DBA5E06B94}"/>
                </c:ext>
              </c:extLst>
            </c:dLbl>
            <c:dLbl>
              <c:idx val="5"/>
              <c:layout>
                <c:manualLayout>
                  <c:x val="0"/>
                  <c:y val="-0.2440828402366863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5F96-4D34-A322-E5DBA5E06B94}"/>
                </c:ext>
              </c:extLst>
            </c:dLbl>
            <c:dLbl>
              <c:idx val="6"/>
              <c:layout>
                <c:manualLayout>
                  <c:x val="0"/>
                  <c:y val="-0.2209072978303747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5F96-4D34-A322-E5DBA5E06B94}"/>
                </c:ext>
              </c:extLst>
            </c:dLbl>
            <c:dLbl>
              <c:idx val="7"/>
              <c:layout>
                <c:manualLayout>
                  <c:x val="0"/>
                  <c:y val="-0.217455621301775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5F96-4D34-A322-E5DBA5E06B94}"/>
                </c:ext>
              </c:extLst>
            </c:dLbl>
            <c:dLbl>
              <c:idx val="8"/>
              <c:layout>
                <c:manualLayout>
                  <c:x val="0"/>
                  <c:y val="-0.176528599605522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5F96-4D34-A322-E5DBA5E06B94}"/>
                </c:ext>
              </c:extLst>
            </c:dLbl>
            <c:dLbl>
              <c:idx val="9"/>
              <c:layout>
                <c:manualLayout>
                  <c:x val="0"/>
                  <c:y val="-0.1681459566074950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5F96-4D34-A322-E5DBA5E06B94}"/>
                </c:ext>
              </c:extLst>
            </c:dLbl>
            <c:dLbl>
              <c:idx val="10"/>
              <c:layout>
                <c:manualLayout>
                  <c:x val="0"/>
                  <c:y val="-0.1612426035502958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5F96-4D34-A322-E5DBA5E06B94}"/>
                </c:ext>
              </c:extLst>
            </c:dLbl>
            <c:dLbl>
              <c:idx val="11"/>
              <c:layout>
                <c:manualLayout>
                  <c:x val="0"/>
                  <c:y val="-0.1538461538461538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5F96-4D34-A322-E5DBA5E06B94}"/>
                </c:ext>
              </c:extLst>
            </c:dLbl>
            <c:dLbl>
              <c:idx val="12"/>
              <c:layout>
                <c:manualLayout>
                  <c:x val="0"/>
                  <c:y val="-0.148422090729783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5F96-4D34-A322-E5DBA5E06B94}"/>
                </c:ext>
              </c:extLst>
            </c:dLbl>
            <c:dLbl>
              <c:idx val="13"/>
              <c:layout>
                <c:manualLayout>
                  <c:x val="0"/>
                  <c:y val="-0.1429980276134122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5F96-4D34-A322-E5DBA5E06B94}"/>
                </c:ext>
              </c:extLst>
            </c:dLbl>
            <c:dLbl>
              <c:idx val="14"/>
              <c:layout>
                <c:manualLayout>
                  <c:x val="0"/>
                  <c:y val="-0.1405325443786982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5F96-4D34-A322-E5DBA5E06B94}"/>
                </c:ext>
              </c:extLst>
            </c:dLbl>
            <c:dLbl>
              <c:idx val="15"/>
              <c:layout>
                <c:manualLayout>
                  <c:x val="0"/>
                  <c:y val="-0.132149901380670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5F96-4D34-A322-E5DBA5E06B94}"/>
                </c:ext>
              </c:extLst>
            </c:dLbl>
            <c:dLbl>
              <c:idx val="16"/>
              <c:layout>
                <c:manualLayout>
                  <c:x val="0"/>
                  <c:y val="-0.131656804733727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5-5F96-4D34-A322-E5DBA5E06B94}"/>
                </c:ext>
              </c:extLst>
            </c:dLbl>
            <c:dLbl>
              <c:idx val="17"/>
              <c:layout>
                <c:manualLayout>
                  <c:x val="0"/>
                  <c:y val="-0.1272189349112426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6-5F96-4D34-A322-E5DBA5E06B94}"/>
                </c:ext>
              </c:extLst>
            </c:dLbl>
            <c:dLbl>
              <c:idx val="18"/>
              <c:layout>
                <c:manualLayout>
                  <c:x val="0"/>
                  <c:y val="-0.125246548323471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7-5F96-4D34-A322-E5DBA5E06B94}"/>
                </c:ext>
              </c:extLst>
            </c:dLbl>
            <c:dLbl>
              <c:idx val="19"/>
              <c:layout>
                <c:manualLayout>
                  <c:x val="0"/>
                  <c:y val="-0.12031558185404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8-5F96-4D34-A322-E5DBA5E06B9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T$2</c:f>
              <c:numCache>
                <c:formatCode>General</c:formatCode>
                <c:ptCount val="20"/>
                <c:pt idx="0">
                  <c:v>206.82651949883467</c:v>
                </c:pt>
                <c:pt idx="1">
                  <c:v>187.51664458804166</c:v>
                </c:pt>
                <c:pt idx="2">
                  <c:v>153.29554180131046</c:v>
                </c:pt>
                <c:pt idx="3">
                  <c:v>144.93546130358183</c:v>
                </c:pt>
                <c:pt idx="4">
                  <c:v>125.68279423443542</c:v>
                </c:pt>
                <c:pt idx="5">
                  <c:v>106.17988014451744</c:v>
                </c:pt>
                <c:pt idx="6">
                  <c:v>99.362496164123627</c:v>
                </c:pt>
                <c:pt idx="7">
                  <c:v>97.455377196230558</c:v>
                </c:pt>
                <c:pt idx="8">
                  <c:v>75.960538133926576</c:v>
                </c:pt>
                <c:pt idx="9">
                  <c:v>71.667888866259418</c:v>
                </c:pt>
                <c:pt idx="10">
                  <c:v>67.888241482597536</c:v>
                </c:pt>
                <c:pt idx="11">
                  <c:v>63.983722488515198</c:v>
                </c:pt>
                <c:pt idx="12">
                  <c:v>60.957962982079152</c:v>
                </c:pt>
                <c:pt idx="13">
                  <c:v>58.380777121630018</c:v>
                </c:pt>
                <c:pt idx="14">
                  <c:v>57.116366052800032</c:v>
                </c:pt>
                <c:pt idx="15">
                  <c:v>52.514936496082512</c:v>
                </c:pt>
                <c:pt idx="16">
                  <c:v>52.406839902849207</c:v>
                </c:pt>
                <c:pt idx="17">
                  <c:v>49.897568956144752</c:v>
                </c:pt>
                <c:pt idx="18">
                  <c:v>49.045169389736252</c:v>
                </c:pt>
                <c:pt idx="19">
                  <c:v>46.304238993838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9-5F96-4D34-A322-E5DBA5E06B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897782136"/>
        <c:axId val="1"/>
      </c:barChart>
      <c:catAx>
        <c:axId val="8977821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kern="1200">
                <a:solidFill>
                  <a:schemeClr val="tx1"/>
                </a:solidFill>
                <a:latin typeface="+mn-lt"/>
                <a:ea typeface="+mn-ea"/>
                <a:cs typeface="Arial"/>
                <a:sym typeface="+mn-lt"/>
              </a:defRPr>
            </a:pPr>
            <a:endParaRPr lang="en-US"/>
          </a:p>
        </c:txPr>
        <c:crossAx val="897782136"/>
        <c:crosses val="min"/>
        <c:crossBetween val="between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123167155425219"/>
          <c:y val="4.6804680468046804E-2"/>
          <c:w val="0.73826979472140764"/>
          <c:h val="0.90639063906390638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A77-46C9-B715-6D7DBFE656A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A77-46C9-B715-6D7DBFE656A1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5A77-46C9-B715-6D7DBFE656A1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A77-46C9-B715-6D7DBFE656A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A77-46C9-B715-6D7DBFE656A1}"/>
              </c:ext>
            </c:extLst>
          </c:dPt>
          <c:dLbls>
            <c:dLbl>
              <c:idx val="0"/>
              <c:layout>
                <c:manualLayout>
                  <c:x val="3.2991202346041054E-2"/>
                  <c:y val="-0.1584158415841584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A77-46C9-B715-6D7DBFE656A1}"/>
                </c:ext>
              </c:extLst>
            </c:dLbl>
            <c:dLbl>
              <c:idx val="1"/>
              <c:layout>
                <c:manualLayout>
                  <c:x val="0.11510263929618768"/>
                  <c:y val="1.440144014401440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A77-46C9-B715-6D7DBFE656A1}"/>
                </c:ext>
              </c:extLst>
            </c:dLbl>
            <c:dLbl>
              <c:idx val="2"/>
              <c:layout>
                <c:manualLayout>
                  <c:x val="-7.9912023460410556E-2"/>
                  <c:y val="9.810981098109811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A77-46C9-B715-6D7DBFE656A1}"/>
                </c:ext>
              </c:extLst>
            </c:dLbl>
            <c:dLbl>
              <c:idx val="4"/>
              <c:layout>
                <c:manualLayout>
                  <c:x val="-6.3049853372434017E-2"/>
                  <c:y val="-0.1197119711971197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A77-46C9-B715-6D7DBFE656A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7.952229069780353</c:v>
                </c:pt>
                <c:pt idx="1">
                  <c:v>37.31616832757306</c:v>
                </c:pt>
                <c:pt idx="2">
                  <c:v>34.320123139131766</c:v>
                </c:pt>
                <c:pt idx="3">
                  <c:v>2.1420767471601079</c:v>
                </c:pt>
                <c:pt idx="4">
                  <c:v>18.2694027163546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A77-46C9-B715-6D7DBFE656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26610475617099E-3"/>
          <c:y val="2.7615507169410514E-2"/>
          <c:w val="0.98434677904876577"/>
          <c:h val="0.94476898566117895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rgbClr val="9DB1CF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3EE5-4FF4-A4DC-45FF5ABB5010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3EE5-4FF4-A4DC-45FF5ABB5010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3EE5-4FF4-A4DC-45FF5ABB5010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3EE5-4FF4-A4DC-45FF5ABB5010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3EE5-4FF4-A4DC-45FF5ABB5010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3EE5-4FF4-A4DC-45FF5ABB5010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3EE5-4FF4-A4DC-45FF5ABB5010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3EE5-4FF4-A4DC-45FF5ABB5010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3EE5-4FF4-A4DC-45FF5ABB5010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3EE5-4FF4-A4DC-45FF5ABB5010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3EE5-4FF4-A4DC-45FF5ABB5010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3EE5-4FF4-A4DC-45FF5ABB5010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3EE5-4FF4-A4DC-45FF5ABB5010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3EE5-4FF4-A4DC-45FF5ABB5010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3EE5-4FF4-A4DC-45FF5ABB5010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3EE5-4FF4-A4DC-45FF5ABB5010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3EE5-4FF4-A4DC-45FF5ABB5010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3EE5-4FF4-A4DC-45FF5ABB5010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3EE5-4FF4-A4DC-45FF5ABB5010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3EE5-4FF4-A4DC-45FF5ABB5010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3EE5-4FF4-A4DC-45FF5ABB5010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3EE5-4FF4-A4DC-45FF5ABB5010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3EE5-4FF4-A4DC-45FF5ABB5010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3EE5-4FF4-A4DC-45FF5ABB5010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3EE5-4FF4-A4DC-45FF5ABB5010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3EE5-4FF4-A4DC-45FF5ABB5010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3EE5-4FF4-A4DC-45FF5ABB5010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3EE5-4FF4-A4DC-45FF5ABB5010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3EE5-4FF4-A4DC-45FF5ABB5010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3EE5-4FF4-A4DC-45FF5ABB5010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3EE5-4FF4-A4DC-45FF5ABB5010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3EE5-4FF4-A4DC-45FF5ABB5010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3EE5-4FF4-A4DC-45FF5ABB5010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3EE5-4FF4-A4DC-45FF5ABB5010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3EE5-4FF4-A4DC-45FF5ABB5010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3EE5-4FF4-A4DC-45FF5ABB5010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3EE5-4FF4-A4DC-45FF5ABB5010}"/>
              </c:ext>
            </c:extLst>
          </c:dPt>
          <c:val>
            <c:numRef>
              <c:f>Sheet1!$A$1:$AK$1</c:f>
              <c:numCache>
                <c:formatCode>General</c:formatCode>
                <c:ptCount val="37"/>
                <c:pt idx="0">
                  <c:v>50.971416186800525</c:v>
                </c:pt>
                <c:pt idx="1">
                  <c:v>49.518862238656226</c:v>
                </c:pt>
                <c:pt idx="2">
                  <c:v>49.896181200563262</c:v>
                </c:pt>
                <c:pt idx="3">
                  <c:v>59.235576048267177</c:v>
                </c:pt>
                <c:pt idx="4">
                  <c:v>46.922263254737018</c:v>
                </c:pt>
                <c:pt idx="5">
                  <c:v>49.364155659887274</c:v>
                </c:pt>
                <c:pt idx="6">
                  <c:v>53.325504589541083</c:v>
                </c:pt>
                <c:pt idx="7">
                  <c:v>62.830085429177117</c:v>
                </c:pt>
                <c:pt idx="8">
                  <c:v>56.068447641922518</c:v>
                </c:pt>
                <c:pt idx="9">
                  <c:v>57.049984508998648</c:v>
                </c:pt>
                <c:pt idx="10">
                  <c:v>58.33821759654046</c:v>
                </c:pt>
                <c:pt idx="11">
                  <c:v>69.818982513476982</c:v>
                </c:pt>
                <c:pt idx="12">
                  <c:v>58.11228745811492</c:v>
                </c:pt>
                <c:pt idx="13">
                  <c:v>61.982914358362606</c:v>
                </c:pt>
                <c:pt idx="14">
                  <c:v>66.6558766648036</c:v>
                </c:pt>
                <c:pt idx="15">
                  <c:v>86.04296032109491</c:v>
                </c:pt>
                <c:pt idx="16">
                  <c:v>65.871404300149393</c:v>
                </c:pt>
                <c:pt idx="17">
                  <c:v>71.502794359992251</c:v>
                </c:pt>
                <c:pt idx="18">
                  <c:v>71.913214637119353</c:v>
                </c:pt>
                <c:pt idx="19">
                  <c:v>97.516852950380951</c:v>
                </c:pt>
                <c:pt idx="20">
                  <c:v>74.356069734629145</c:v>
                </c:pt>
                <c:pt idx="21">
                  <c:v>74.911814347653333</c:v>
                </c:pt>
                <c:pt idx="22">
                  <c:v>73.373435248205098</c:v>
                </c:pt>
                <c:pt idx="23">
                  <c:v>113.53022787640245</c:v>
                </c:pt>
                <c:pt idx="24">
                  <c:v>72.135265640414957</c:v>
                </c:pt>
                <c:pt idx="25">
                  <c:v>74.94700870443252</c:v>
                </c:pt>
                <c:pt idx="26">
                  <c:v>87.639504796804317</c:v>
                </c:pt>
                <c:pt idx="27">
                  <c:v>141.64901559677463</c:v>
                </c:pt>
                <c:pt idx="28">
                  <c:v>83.379504116150088</c:v>
                </c:pt>
                <c:pt idx="29">
                  <c:v>83.989423976786384</c:v>
                </c:pt>
                <c:pt idx="30">
                  <c:v>80.650996282788896</c:v>
                </c:pt>
                <c:pt idx="31">
                  <c:v>117.56773021993808</c:v>
                </c:pt>
                <c:pt idx="32">
                  <c:v>81.6424717808477</c:v>
                </c:pt>
                <c:pt idx="33">
                  <c:v>82.518240063632248</c:v>
                </c:pt>
                <c:pt idx="34">
                  <c:v>80.467723607387455</c:v>
                </c:pt>
                <c:pt idx="35">
                  <c:v>103.95417085367413</c:v>
                </c:pt>
                <c:pt idx="36">
                  <c:v>77.9625727617020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5-3EE5-4FF4-A4DC-45FF5ABB5010}"/>
            </c:ext>
          </c:extLst>
        </c:ser>
        <c:ser>
          <c:idx val="1"/>
          <c:order val="1"/>
          <c:spPr>
            <a:ln w="19050" algn="ctr">
              <a:solidFill>
                <a:srgbClr val="25B4FF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3EE5-4FF4-A4DC-45FF5ABB5010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3EE5-4FF4-A4DC-45FF5ABB5010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3EE5-4FF4-A4DC-45FF5ABB5010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3EE5-4FF4-A4DC-45FF5ABB5010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3EE5-4FF4-A4DC-45FF5ABB5010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3EE5-4FF4-A4DC-45FF5ABB5010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3EE5-4FF4-A4DC-45FF5ABB5010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3EE5-4FF4-A4DC-45FF5ABB5010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3EE5-4FF4-A4DC-45FF5ABB5010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3EE5-4FF4-A4DC-45FF5ABB5010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3EE5-4FF4-A4DC-45FF5ABB5010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3EE5-4FF4-A4DC-45FF5ABB5010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3EE5-4FF4-A4DC-45FF5ABB5010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3EE5-4FF4-A4DC-45FF5ABB5010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3EE5-4FF4-A4DC-45FF5ABB5010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3EE5-4FF4-A4DC-45FF5ABB5010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3EE5-4FF4-A4DC-45FF5ABB5010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3EE5-4FF4-A4DC-45FF5ABB5010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3EE5-4FF4-A4DC-45FF5ABB5010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3EE5-4FF4-A4DC-45FF5ABB5010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3EE5-4FF4-A4DC-45FF5ABB5010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3EE5-4FF4-A4DC-45FF5ABB5010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3EE5-4FF4-A4DC-45FF5ABB5010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3EE5-4FF4-A4DC-45FF5ABB5010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3EE5-4FF4-A4DC-45FF5ABB5010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3EE5-4FF4-A4DC-45FF5ABB5010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3EE5-4FF4-A4DC-45FF5ABB5010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3EE5-4FF4-A4DC-45FF5ABB5010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3EE5-4FF4-A4DC-45FF5ABB5010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3EE5-4FF4-A4DC-45FF5ABB5010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3EE5-4FF4-A4DC-45FF5ABB5010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3EE5-4FF4-A4DC-45FF5ABB5010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3EE5-4FF4-A4DC-45FF5ABB5010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7-3EE5-4FF4-A4DC-45FF5ABB5010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8-3EE5-4FF4-A4DC-45FF5ABB5010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9-3EE5-4FF4-A4DC-45FF5ABB5010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A-3EE5-4FF4-A4DC-45FF5ABB5010}"/>
              </c:ext>
            </c:extLst>
          </c:dPt>
          <c:val>
            <c:numRef>
              <c:f>Sheet1!$A$2:$AK$2</c:f>
              <c:numCache>
                <c:formatCode>General</c:formatCode>
                <c:ptCount val="37"/>
                <c:pt idx="0">
                  <c:v>50.971416186800525</c:v>
                </c:pt>
                <c:pt idx="1">
                  <c:v>44.919862068845987</c:v>
                </c:pt>
                <c:pt idx="2">
                  <c:v>46.123773862112671</c:v>
                </c:pt>
                <c:pt idx="3">
                  <c:v>49.912917080355228</c:v>
                </c:pt>
                <c:pt idx="4">
                  <c:v>50.407683135921431</c:v>
                </c:pt>
                <c:pt idx="5">
                  <c:v>49.822835682254293</c:v>
                </c:pt>
                <c:pt idx="6">
                  <c:v>50.858228247599683</c:v>
                </c:pt>
                <c:pt idx="7">
                  <c:v>51.106896074042837</c:v>
                </c:pt>
                <c:pt idx="8">
                  <c:v>46.837393193817931</c:v>
                </c:pt>
                <c:pt idx="9">
                  <c:v>45.33209800438361</c:v>
                </c:pt>
                <c:pt idx="10">
                  <c:v>42.07141962874627</c:v>
                </c:pt>
                <c:pt idx="11">
                  <c:v>39.703423535156801</c:v>
                </c:pt>
                <c:pt idx="12">
                  <c:v>37.065822045937651</c:v>
                </c:pt>
                <c:pt idx="13">
                  <c:v>34.649350563141979</c:v>
                </c:pt>
                <c:pt idx="14">
                  <c:v>33.534487749375913</c:v>
                </c:pt>
                <c:pt idx="15">
                  <c:v>32.454225198270777</c:v>
                </c:pt>
                <c:pt idx="16">
                  <c:v>30.612457194217242</c:v>
                </c:pt>
                <c:pt idx="17">
                  <c:v>28.215446935130942</c:v>
                </c:pt>
                <c:pt idx="18">
                  <c:v>27.914425063160479</c:v>
                </c:pt>
                <c:pt idx="19">
                  <c:v>27.665363505844283</c:v>
                </c:pt>
                <c:pt idx="20">
                  <c:v>28.880506970089456</c:v>
                </c:pt>
                <c:pt idx="21">
                  <c:v>29.177972922985575</c:v>
                </c:pt>
                <c:pt idx="22">
                  <c:v>30.812398817521327</c:v>
                </c:pt>
                <c:pt idx="23">
                  <c:v>32.929334556785662</c:v>
                </c:pt>
                <c:pt idx="24">
                  <c:v>30.569395390414456</c:v>
                </c:pt>
                <c:pt idx="25">
                  <c:v>32.903941984017848</c:v>
                </c:pt>
                <c:pt idx="26">
                  <c:v>33.726367867726509</c:v>
                </c:pt>
                <c:pt idx="27">
                  <c:v>35.13284562866211</c:v>
                </c:pt>
                <c:pt idx="28">
                  <c:v>36.690226903382921</c:v>
                </c:pt>
                <c:pt idx="29">
                  <c:v>36.647399415307902</c:v>
                </c:pt>
                <c:pt idx="30">
                  <c:v>37.338920476916201</c:v>
                </c:pt>
                <c:pt idx="31">
                  <c:v>39.142076966352533</c:v>
                </c:pt>
                <c:pt idx="32">
                  <c:v>38.124486435294443</c:v>
                </c:pt>
                <c:pt idx="33">
                  <c:v>37.731830705431705</c:v>
                </c:pt>
                <c:pt idx="34">
                  <c:v>37.620929611603145</c:v>
                </c:pt>
                <c:pt idx="35">
                  <c:v>37.075356821935287</c:v>
                </c:pt>
                <c:pt idx="36">
                  <c:v>36.3848375819162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4B-3EE5-4FF4-A4DC-45FF5ABB5010}"/>
            </c:ext>
          </c:extLst>
        </c:ser>
        <c:ser>
          <c:idx val="2"/>
          <c:order val="2"/>
          <c:spPr>
            <a:ln w="19050" algn="ctr">
              <a:solidFill>
                <a:srgbClr val="0070C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C-3EE5-4FF4-A4DC-45FF5ABB5010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D-3EE5-4FF4-A4DC-45FF5ABB5010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E-3EE5-4FF4-A4DC-45FF5ABB5010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F-3EE5-4FF4-A4DC-45FF5ABB5010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0-3EE5-4FF4-A4DC-45FF5ABB5010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1-3EE5-4FF4-A4DC-45FF5ABB5010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2-3EE5-4FF4-A4DC-45FF5ABB5010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3-3EE5-4FF4-A4DC-45FF5ABB5010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4-3EE5-4FF4-A4DC-45FF5ABB5010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5-3EE5-4FF4-A4DC-45FF5ABB5010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6-3EE5-4FF4-A4DC-45FF5ABB5010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7-3EE5-4FF4-A4DC-45FF5ABB5010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8-3EE5-4FF4-A4DC-45FF5ABB5010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9-3EE5-4FF4-A4DC-45FF5ABB5010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A-3EE5-4FF4-A4DC-45FF5ABB5010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B-3EE5-4FF4-A4DC-45FF5ABB5010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C-3EE5-4FF4-A4DC-45FF5ABB5010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D-3EE5-4FF4-A4DC-45FF5ABB5010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E-3EE5-4FF4-A4DC-45FF5ABB5010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F-3EE5-4FF4-A4DC-45FF5ABB5010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0-3EE5-4FF4-A4DC-45FF5ABB5010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1-3EE5-4FF4-A4DC-45FF5ABB5010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2-3EE5-4FF4-A4DC-45FF5ABB5010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3-3EE5-4FF4-A4DC-45FF5ABB5010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4-3EE5-4FF4-A4DC-45FF5ABB5010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5-3EE5-4FF4-A4DC-45FF5ABB5010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6-3EE5-4FF4-A4DC-45FF5ABB5010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7-3EE5-4FF4-A4DC-45FF5ABB5010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8-3EE5-4FF4-A4DC-45FF5ABB5010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9-3EE5-4FF4-A4DC-45FF5ABB5010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A-3EE5-4FF4-A4DC-45FF5ABB5010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B-3EE5-4FF4-A4DC-45FF5ABB5010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C-3EE5-4FF4-A4DC-45FF5ABB5010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D-3EE5-4FF4-A4DC-45FF5ABB5010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E-3EE5-4FF4-A4DC-45FF5ABB5010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F-3EE5-4FF4-A4DC-45FF5ABB5010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0-3EE5-4FF4-A4DC-45FF5ABB5010}"/>
              </c:ext>
            </c:extLst>
          </c:dPt>
          <c:val>
            <c:numRef>
              <c:f>Sheet1!$A$3:$AK$3</c:f>
              <c:numCache>
                <c:formatCode>General</c:formatCode>
                <c:ptCount val="37"/>
                <c:pt idx="0">
                  <c:v>50.971416186800525</c:v>
                </c:pt>
                <c:pt idx="1">
                  <c:v>49.44714912245469</c:v>
                </c:pt>
                <c:pt idx="2">
                  <c:v>50.097227088869815</c:v>
                </c:pt>
                <c:pt idx="3">
                  <c:v>43.365366613050114</c:v>
                </c:pt>
                <c:pt idx="4">
                  <c:v>42.480413351761356</c:v>
                </c:pt>
                <c:pt idx="5">
                  <c:v>47.160725480865949</c:v>
                </c:pt>
                <c:pt idx="6">
                  <c:v>50.132583282787422</c:v>
                </c:pt>
                <c:pt idx="7">
                  <c:v>47.046669192177788</c:v>
                </c:pt>
                <c:pt idx="8">
                  <c:v>45.117730577219433</c:v>
                </c:pt>
                <c:pt idx="9">
                  <c:v>45.581750166076347</c:v>
                </c:pt>
                <c:pt idx="10">
                  <c:v>43.846128358131907</c:v>
                </c:pt>
                <c:pt idx="11">
                  <c:v>38.154131585004123</c:v>
                </c:pt>
                <c:pt idx="12">
                  <c:v>36.532778739274903</c:v>
                </c:pt>
                <c:pt idx="13">
                  <c:v>36.303859499606588</c:v>
                </c:pt>
                <c:pt idx="14">
                  <c:v>36.038790211010792</c:v>
                </c:pt>
                <c:pt idx="15">
                  <c:v>31.750679742079853</c:v>
                </c:pt>
                <c:pt idx="16">
                  <c:v>31.772795424132369</c:v>
                </c:pt>
                <c:pt idx="17">
                  <c:v>34.012009792574389</c:v>
                </c:pt>
                <c:pt idx="18">
                  <c:v>33.764833983561289</c:v>
                </c:pt>
                <c:pt idx="19">
                  <c:v>30.140872259798357</c:v>
                </c:pt>
                <c:pt idx="20">
                  <c:v>30.275828519008499</c:v>
                </c:pt>
                <c:pt idx="21">
                  <c:v>30.468670389623981</c:v>
                </c:pt>
                <c:pt idx="22">
                  <c:v>33.184126624870458</c:v>
                </c:pt>
                <c:pt idx="23">
                  <c:v>41.737788600167832</c:v>
                </c:pt>
                <c:pt idx="24">
                  <c:v>38.385369340706177</c:v>
                </c:pt>
                <c:pt idx="25">
                  <c:v>46.382755341015013</c:v>
                </c:pt>
                <c:pt idx="26">
                  <c:v>48.638388219660683</c:v>
                </c:pt>
                <c:pt idx="27">
                  <c:v>48.483581899431769</c:v>
                </c:pt>
                <c:pt idx="28">
                  <c:v>50.070668520002911</c:v>
                </c:pt>
                <c:pt idx="29">
                  <c:v>49.478700903895572</c:v>
                </c:pt>
                <c:pt idx="30">
                  <c:v>48.143411785131704</c:v>
                </c:pt>
                <c:pt idx="31">
                  <c:v>43.3667063188405</c:v>
                </c:pt>
                <c:pt idx="32">
                  <c:v>44.558363675665987</c:v>
                </c:pt>
                <c:pt idx="33">
                  <c:v>45.221112885311058</c:v>
                </c:pt>
                <c:pt idx="34">
                  <c:v>45.044903067536836</c:v>
                </c:pt>
                <c:pt idx="35">
                  <c:v>40.326015779948108</c:v>
                </c:pt>
                <c:pt idx="36">
                  <c:v>43.873503499125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71-3EE5-4FF4-A4DC-45FF5ABB5010}"/>
            </c:ext>
          </c:extLst>
        </c:ser>
        <c:ser>
          <c:idx val="3"/>
          <c:order val="3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2-3EE5-4FF4-A4DC-45FF5ABB5010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3-3EE5-4FF4-A4DC-45FF5ABB5010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4-3EE5-4FF4-A4DC-45FF5ABB5010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5-3EE5-4FF4-A4DC-45FF5ABB5010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6-3EE5-4FF4-A4DC-45FF5ABB5010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7-3EE5-4FF4-A4DC-45FF5ABB5010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8-3EE5-4FF4-A4DC-45FF5ABB5010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9-3EE5-4FF4-A4DC-45FF5ABB5010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A-3EE5-4FF4-A4DC-45FF5ABB5010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B-3EE5-4FF4-A4DC-45FF5ABB5010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C-3EE5-4FF4-A4DC-45FF5ABB5010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D-3EE5-4FF4-A4DC-45FF5ABB5010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E-3EE5-4FF4-A4DC-45FF5ABB5010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F-3EE5-4FF4-A4DC-45FF5ABB5010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0-3EE5-4FF4-A4DC-45FF5ABB5010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1-3EE5-4FF4-A4DC-45FF5ABB5010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2-3EE5-4FF4-A4DC-45FF5ABB5010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3-3EE5-4FF4-A4DC-45FF5ABB5010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4-3EE5-4FF4-A4DC-45FF5ABB5010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5-3EE5-4FF4-A4DC-45FF5ABB5010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6-3EE5-4FF4-A4DC-45FF5ABB5010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7-3EE5-4FF4-A4DC-45FF5ABB5010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8-3EE5-4FF4-A4DC-45FF5ABB5010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9-3EE5-4FF4-A4DC-45FF5ABB5010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A-3EE5-4FF4-A4DC-45FF5ABB5010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B-3EE5-4FF4-A4DC-45FF5ABB5010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C-3EE5-4FF4-A4DC-45FF5ABB5010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D-3EE5-4FF4-A4DC-45FF5ABB5010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E-3EE5-4FF4-A4DC-45FF5ABB5010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F-3EE5-4FF4-A4DC-45FF5ABB5010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0-3EE5-4FF4-A4DC-45FF5ABB5010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1-3EE5-4FF4-A4DC-45FF5ABB5010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2-3EE5-4FF4-A4DC-45FF5ABB5010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3-3EE5-4FF4-A4DC-45FF5ABB5010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4-3EE5-4FF4-A4DC-45FF5ABB5010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5-3EE5-4FF4-A4DC-45FF5ABB5010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6-3EE5-4FF4-A4DC-45FF5ABB5010}"/>
              </c:ext>
            </c:extLst>
          </c:dPt>
          <c:val>
            <c:numRef>
              <c:f>Sheet1!$A$4:$AK$4</c:f>
              <c:numCache>
                <c:formatCode>General</c:formatCode>
                <c:ptCount val="37"/>
                <c:pt idx="0">
                  <c:v>50.971416186800525</c:v>
                </c:pt>
                <c:pt idx="1">
                  <c:v>49.270820669649282</c:v>
                </c:pt>
                <c:pt idx="2">
                  <c:v>51.400193635449128</c:v>
                </c:pt>
                <c:pt idx="3">
                  <c:v>50.895101926662562</c:v>
                </c:pt>
                <c:pt idx="4">
                  <c:v>52.13613559986679</c:v>
                </c:pt>
                <c:pt idx="5">
                  <c:v>54.786942036870826</c:v>
                </c:pt>
                <c:pt idx="6">
                  <c:v>57.495360421098738</c:v>
                </c:pt>
                <c:pt idx="7">
                  <c:v>58.077204671271772</c:v>
                </c:pt>
                <c:pt idx="8">
                  <c:v>53.218769732039405</c:v>
                </c:pt>
                <c:pt idx="9">
                  <c:v>54.564191179817996</c:v>
                </c:pt>
                <c:pt idx="10">
                  <c:v>57.098940671682627</c:v>
                </c:pt>
                <c:pt idx="11">
                  <c:v>56.707395250279745</c:v>
                </c:pt>
                <c:pt idx="12">
                  <c:v>58.795298962559571</c:v>
                </c:pt>
                <c:pt idx="13">
                  <c:v>60.116957022267741</c:v>
                </c:pt>
                <c:pt idx="14">
                  <c:v>61.902524957394789</c:v>
                </c:pt>
                <c:pt idx="15">
                  <c:v>63.16915015406488</c:v>
                </c:pt>
                <c:pt idx="16">
                  <c:v>63.523220145610054</c:v>
                </c:pt>
                <c:pt idx="17">
                  <c:v>64.935761453674374</c:v>
                </c:pt>
                <c:pt idx="18">
                  <c:v>67.135848515597445</c:v>
                </c:pt>
                <c:pt idx="19">
                  <c:v>66.187655107636402</c:v>
                </c:pt>
                <c:pt idx="20">
                  <c:v>63.68842045217535</c:v>
                </c:pt>
                <c:pt idx="21">
                  <c:v>65.406071221244275</c:v>
                </c:pt>
                <c:pt idx="22">
                  <c:v>69.098915349074289</c:v>
                </c:pt>
                <c:pt idx="23">
                  <c:v>62.150899139679865</c:v>
                </c:pt>
                <c:pt idx="24">
                  <c:v>57.960717051658591</c:v>
                </c:pt>
                <c:pt idx="25">
                  <c:v>64.051153599826606</c:v>
                </c:pt>
                <c:pt idx="26">
                  <c:v>68.780663750945877</c:v>
                </c:pt>
                <c:pt idx="27">
                  <c:v>69.392682179343055</c:v>
                </c:pt>
                <c:pt idx="28">
                  <c:v>69.185790462391154</c:v>
                </c:pt>
                <c:pt idx="29">
                  <c:v>68.83527542067074</c:v>
                </c:pt>
                <c:pt idx="30">
                  <c:v>72.761327032796927</c:v>
                </c:pt>
                <c:pt idx="31">
                  <c:v>71.617885963022346</c:v>
                </c:pt>
                <c:pt idx="32">
                  <c:v>69.908872599385148</c:v>
                </c:pt>
                <c:pt idx="33">
                  <c:v>71.985772375843823</c:v>
                </c:pt>
                <c:pt idx="34">
                  <c:v>78.284773133537016</c:v>
                </c:pt>
                <c:pt idx="35">
                  <c:v>81.498995592694257</c:v>
                </c:pt>
                <c:pt idx="36">
                  <c:v>79.7956472245112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97-3EE5-4FF4-A4DC-45FF5ABB5010}"/>
            </c:ext>
          </c:extLst>
        </c:ser>
        <c:ser>
          <c:idx val="4"/>
          <c:order val="4"/>
          <c:spPr>
            <a:ln w="28575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8-3EE5-4FF4-A4DC-45FF5ABB5010}"/>
              </c:ext>
            </c:extLst>
          </c:dPt>
          <c:dPt>
            <c:idx val="1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9-3EE5-4FF4-A4DC-45FF5ABB5010}"/>
              </c:ext>
            </c:extLst>
          </c:dPt>
          <c:dPt>
            <c:idx val="2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A-3EE5-4FF4-A4DC-45FF5ABB5010}"/>
              </c:ext>
            </c:extLst>
          </c:dPt>
          <c:dPt>
            <c:idx val="3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B-3EE5-4FF4-A4DC-45FF5ABB5010}"/>
              </c:ext>
            </c:extLst>
          </c:dPt>
          <c:dPt>
            <c:idx val="4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C-3EE5-4FF4-A4DC-45FF5ABB5010}"/>
              </c:ext>
            </c:extLst>
          </c:dPt>
          <c:dPt>
            <c:idx val="5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D-3EE5-4FF4-A4DC-45FF5ABB5010}"/>
              </c:ext>
            </c:extLst>
          </c:dPt>
          <c:dPt>
            <c:idx val="6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E-3EE5-4FF4-A4DC-45FF5ABB5010}"/>
              </c:ext>
            </c:extLst>
          </c:dPt>
          <c:dPt>
            <c:idx val="7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F-3EE5-4FF4-A4DC-45FF5ABB5010}"/>
              </c:ext>
            </c:extLst>
          </c:dPt>
          <c:dPt>
            <c:idx val="8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0-3EE5-4FF4-A4DC-45FF5ABB5010}"/>
              </c:ext>
            </c:extLst>
          </c:dPt>
          <c:dPt>
            <c:idx val="9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1-3EE5-4FF4-A4DC-45FF5ABB5010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2-3EE5-4FF4-A4DC-45FF5ABB5010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3-3EE5-4FF4-A4DC-45FF5ABB5010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4-3EE5-4FF4-A4DC-45FF5ABB5010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5-3EE5-4FF4-A4DC-45FF5ABB5010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6-3EE5-4FF4-A4DC-45FF5ABB5010}"/>
              </c:ext>
            </c:extLst>
          </c:dPt>
          <c:dPt>
            <c:idx val="15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7-3EE5-4FF4-A4DC-45FF5ABB5010}"/>
              </c:ext>
            </c:extLst>
          </c:dPt>
          <c:dPt>
            <c:idx val="16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8-3EE5-4FF4-A4DC-45FF5ABB5010}"/>
              </c:ext>
            </c:extLst>
          </c:dPt>
          <c:dPt>
            <c:idx val="17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9-3EE5-4FF4-A4DC-45FF5ABB5010}"/>
              </c:ext>
            </c:extLst>
          </c:dPt>
          <c:dPt>
            <c:idx val="18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A-3EE5-4FF4-A4DC-45FF5ABB5010}"/>
              </c:ext>
            </c:extLst>
          </c:dPt>
          <c:dPt>
            <c:idx val="19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B-3EE5-4FF4-A4DC-45FF5ABB5010}"/>
              </c:ext>
            </c:extLst>
          </c:dPt>
          <c:dPt>
            <c:idx val="20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C-3EE5-4FF4-A4DC-45FF5ABB5010}"/>
              </c:ext>
            </c:extLst>
          </c:dPt>
          <c:dPt>
            <c:idx val="21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D-3EE5-4FF4-A4DC-45FF5ABB5010}"/>
              </c:ext>
            </c:extLst>
          </c:dPt>
          <c:dPt>
            <c:idx val="22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E-3EE5-4FF4-A4DC-45FF5ABB5010}"/>
              </c:ext>
            </c:extLst>
          </c:dPt>
          <c:dPt>
            <c:idx val="23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F-3EE5-4FF4-A4DC-45FF5ABB5010}"/>
              </c:ext>
            </c:extLst>
          </c:dPt>
          <c:dPt>
            <c:idx val="24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0-3EE5-4FF4-A4DC-45FF5ABB5010}"/>
              </c:ext>
            </c:extLst>
          </c:dPt>
          <c:dPt>
            <c:idx val="25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1-3EE5-4FF4-A4DC-45FF5ABB5010}"/>
              </c:ext>
            </c:extLst>
          </c:dPt>
          <c:dPt>
            <c:idx val="26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2-3EE5-4FF4-A4DC-45FF5ABB5010}"/>
              </c:ext>
            </c:extLst>
          </c:dPt>
          <c:dPt>
            <c:idx val="27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3-3EE5-4FF4-A4DC-45FF5ABB5010}"/>
              </c:ext>
            </c:extLst>
          </c:dPt>
          <c:dPt>
            <c:idx val="28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4-3EE5-4FF4-A4DC-45FF5ABB5010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5-3EE5-4FF4-A4DC-45FF5ABB5010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6-3EE5-4FF4-A4DC-45FF5ABB5010}"/>
              </c:ext>
            </c:extLst>
          </c:dPt>
          <c:dPt>
            <c:idx val="31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7-3EE5-4FF4-A4DC-45FF5ABB5010}"/>
              </c:ext>
            </c:extLst>
          </c:dPt>
          <c:dPt>
            <c:idx val="32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8-3EE5-4FF4-A4DC-45FF5ABB5010}"/>
              </c:ext>
            </c:extLst>
          </c:dPt>
          <c:dPt>
            <c:idx val="33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9-3EE5-4FF4-A4DC-45FF5ABB5010}"/>
              </c:ext>
            </c:extLst>
          </c:dPt>
          <c:dPt>
            <c:idx val="34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A-3EE5-4FF4-A4DC-45FF5ABB5010}"/>
              </c:ext>
            </c:extLst>
          </c:dPt>
          <c:dPt>
            <c:idx val="35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B-3EE5-4FF4-A4DC-45FF5ABB5010}"/>
              </c:ext>
            </c:extLst>
          </c:dPt>
          <c:dPt>
            <c:idx val="36"/>
            <c:marker>
              <c:symbol val="circle"/>
              <c:size val="6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C-3EE5-4FF4-A4DC-45FF5ABB5010}"/>
              </c:ext>
            </c:extLst>
          </c:dPt>
          <c:val>
            <c:numRef>
              <c:f>Sheet1!$A$5:$AK$5</c:f>
              <c:numCache>
                <c:formatCode>General</c:formatCode>
                <c:ptCount val="37"/>
                <c:pt idx="0">
                  <c:v>50.971416186800525</c:v>
                </c:pt>
                <c:pt idx="1">
                  <c:v>48.72487581426806</c:v>
                </c:pt>
                <c:pt idx="2">
                  <c:v>49.539130653589822</c:v>
                </c:pt>
                <c:pt idx="3">
                  <c:v>49.126617570486147</c:v>
                </c:pt>
                <c:pt idx="4">
                  <c:v>47.072488729104364</c:v>
                </c:pt>
                <c:pt idx="5">
                  <c:v>49.584624119777317</c:v>
                </c:pt>
                <c:pt idx="6">
                  <c:v>52.220081866233642</c:v>
                </c:pt>
                <c:pt idx="7">
                  <c:v>52.487362891261398</c:v>
                </c:pt>
                <c:pt idx="8">
                  <c:v>47.966839109655169</c:v>
                </c:pt>
                <c:pt idx="9">
                  <c:v>49.207447898576348</c:v>
                </c:pt>
                <c:pt idx="10">
                  <c:v>48.720610709807403</c:v>
                </c:pt>
                <c:pt idx="11">
                  <c:v>47.321762908658656</c:v>
                </c:pt>
                <c:pt idx="12">
                  <c:v>43.896800414136791</c:v>
                </c:pt>
                <c:pt idx="13">
                  <c:v>44.959010370657168</c:v>
                </c:pt>
                <c:pt idx="14">
                  <c:v>45.577744806514914</c:v>
                </c:pt>
                <c:pt idx="15">
                  <c:v>46.605385272715154</c:v>
                </c:pt>
                <c:pt idx="16">
                  <c:v>41.948028843863213</c:v>
                </c:pt>
                <c:pt idx="17">
                  <c:v>43.228069517383489</c:v>
                </c:pt>
                <c:pt idx="18">
                  <c:v>43.51790348210443</c:v>
                </c:pt>
                <c:pt idx="19">
                  <c:v>45.527853839136611</c:v>
                </c:pt>
                <c:pt idx="20">
                  <c:v>42.255456030913507</c:v>
                </c:pt>
                <c:pt idx="21">
                  <c:v>43.528179997909263</c:v>
                </c:pt>
                <c:pt idx="22">
                  <c:v>45.591634685182086</c:v>
                </c:pt>
                <c:pt idx="23">
                  <c:v>50.603895235505391</c:v>
                </c:pt>
                <c:pt idx="24">
                  <c:v>41.6264521719377</c:v>
                </c:pt>
                <c:pt idx="25">
                  <c:v>47.204138030294203</c:v>
                </c:pt>
                <c:pt idx="26">
                  <c:v>49.665074122422439</c:v>
                </c:pt>
                <c:pt idx="27">
                  <c:v>57.911678979138472</c:v>
                </c:pt>
                <c:pt idx="28">
                  <c:v>50.845159034044997</c:v>
                </c:pt>
                <c:pt idx="29">
                  <c:v>50.785590515142346</c:v>
                </c:pt>
                <c:pt idx="30">
                  <c:v>50.415437963721388</c:v>
                </c:pt>
                <c:pt idx="31">
                  <c:v>53.94106649932597</c:v>
                </c:pt>
                <c:pt idx="32">
                  <c:v>49.180820942187935</c:v>
                </c:pt>
                <c:pt idx="33">
                  <c:v>50.118940893261595</c:v>
                </c:pt>
                <c:pt idx="34">
                  <c:v>50.632883753216063</c:v>
                </c:pt>
                <c:pt idx="35">
                  <c:v>50.809722525379982</c:v>
                </c:pt>
                <c:pt idx="36">
                  <c:v>47.4997708676028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BD-3EE5-4FF4-A4DC-45FF5ABB50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85314152"/>
        <c:axId val="1"/>
      </c:lineChart>
      <c:catAx>
        <c:axId val="8853141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.9714161868005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885314152"/>
        <c:crosses val="min"/>
        <c:crossBetween val="midCat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26610475617099E-3"/>
          <c:y val="2.7674294837679615E-2"/>
          <c:w val="0.98434677904876577"/>
          <c:h val="0.94465141032464073"/>
        </c:manualLayout>
      </c:layout>
      <c:lineChart>
        <c:grouping val="standard"/>
        <c:varyColors val="0"/>
        <c:ser>
          <c:idx val="0"/>
          <c:order val="0"/>
          <c:spPr>
            <a:ln w="28575" algn="ctr">
              <a:solidFill>
                <a:srgbClr val="0070C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B524-437C-9419-2F1B05B4160C}"/>
              </c:ext>
            </c:extLst>
          </c:dPt>
          <c:dPt>
            <c:idx val="1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B524-437C-9419-2F1B05B4160C}"/>
              </c:ext>
            </c:extLst>
          </c:dPt>
          <c:dPt>
            <c:idx val="2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B524-437C-9419-2F1B05B4160C}"/>
              </c:ext>
            </c:extLst>
          </c:dPt>
          <c:dPt>
            <c:idx val="3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B524-437C-9419-2F1B05B4160C}"/>
              </c:ext>
            </c:extLst>
          </c:dPt>
          <c:dPt>
            <c:idx val="4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B524-437C-9419-2F1B05B4160C}"/>
              </c:ext>
            </c:extLst>
          </c:dPt>
          <c:dPt>
            <c:idx val="5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B524-437C-9419-2F1B05B4160C}"/>
              </c:ext>
            </c:extLst>
          </c:dPt>
          <c:dPt>
            <c:idx val="6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B524-437C-9419-2F1B05B4160C}"/>
              </c:ext>
            </c:extLst>
          </c:dPt>
          <c:dPt>
            <c:idx val="7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B524-437C-9419-2F1B05B4160C}"/>
              </c:ext>
            </c:extLst>
          </c:dPt>
          <c:dPt>
            <c:idx val="8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B524-437C-9419-2F1B05B4160C}"/>
              </c:ext>
            </c:extLst>
          </c:dPt>
          <c:dPt>
            <c:idx val="9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B524-437C-9419-2F1B05B4160C}"/>
              </c:ext>
            </c:extLst>
          </c:dPt>
          <c:dPt>
            <c:idx val="10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B524-437C-9419-2F1B05B4160C}"/>
              </c:ext>
            </c:extLst>
          </c:dPt>
          <c:dPt>
            <c:idx val="11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B524-437C-9419-2F1B05B4160C}"/>
              </c:ext>
            </c:extLst>
          </c:dPt>
          <c:dPt>
            <c:idx val="12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B524-437C-9419-2F1B05B4160C}"/>
              </c:ext>
            </c:extLst>
          </c:dPt>
          <c:dPt>
            <c:idx val="13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B524-437C-9419-2F1B05B4160C}"/>
              </c:ext>
            </c:extLst>
          </c:dPt>
          <c:dPt>
            <c:idx val="14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B524-437C-9419-2F1B05B4160C}"/>
              </c:ext>
            </c:extLst>
          </c:dPt>
          <c:dPt>
            <c:idx val="15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B524-437C-9419-2F1B05B4160C}"/>
              </c:ext>
            </c:extLst>
          </c:dPt>
          <c:dPt>
            <c:idx val="16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B524-437C-9419-2F1B05B4160C}"/>
              </c:ext>
            </c:extLst>
          </c:dPt>
          <c:dPt>
            <c:idx val="17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B524-437C-9419-2F1B05B4160C}"/>
              </c:ext>
            </c:extLst>
          </c:dPt>
          <c:dPt>
            <c:idx val="18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B524-437C-9419-2F1B05B4160C}"/>
              </c:ext>
            </c:extLst>
          </c:dPt>
          <c:dPt>
            <c:idx val="19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B524-437C-9419-2F1B05B4160C}"/>
              </c:ext>
            </c:extLst>
          </c:dPt>
          <c:dPt>
            <c:idx val="20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B524-437C-9419-2F1B05B4160C}"/>
              </c:ext>
            </c:extLst>
          </c:dPt>
          <c:dPt>
            <c:idx val="21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B524-437C-9419-2F1B05B4160C}"/>
              </c:ext>
            </c:extLst>
          </c:dPt>
          <c:dPt>
            <c:idx val="22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B524-437C-9419-2F1B05B4160C}"/>
              </c:ext>
            </c:extLst>
          </c:dPt>
          <c:dPt>
            <c:idx val="23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B524-437C-9419-2F1B05B4160C}"/>
              </c:ext>
            </c:extLst>
          </c:dPt>
          <c:dPt>
            <c:idx val="24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B524-437C-9419-2F1B05B4160C}"/>
              </c:ext>
            </c:extLst>
          </c:dPt>
          <c:dPt>
            <c:idx val="25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B524-437C-9419-2F1B05B4160C}"/>
              </c:ext>
            </c:extLst>
          </c:dPt>
          <c:dPt>
            <c:idx val="26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B524-437C-9419-2F1B05B4160C}"/>
              </c:ext>
            </c:extLst>
          </c:dPt>
          <c:dPt>
            <c:idx val="27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B524-437C-9419-2F1B05B4160C}"/>
              </c:ext>
            </c:extLst>
          </c:dPt>
          <c:dPt>
            <c:idx val="28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B524-437C-9419-2F1B05B4160C}"/>
              </c:ext>
            </c:extLst>
          </c:dPt>
          <c:dPt>
            <c:idx val="29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B524-437C-9419-2F1B05B4160C}"/>
              </c:ext>
            </c:extLst>
          </c:dPt>
          <c:dPt>
            <c:idx val="30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B524-437C-9419-2F1B05B4160C}"/>
              </c:ext>
            </c:extLst>
          </c:dPt>
          <c:dPt>
            <c:idx val="31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B524-437C-9419-2F1B05B4160C}"/>
              </c:ext>
            </c:extLst>
          </c:dPt>
          <c:dPt>
            <c:idx val="32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B524-437C-9419-2F1B05B4160C}"/>
              </c:ext>
            </c:extLst>
          </c:dPt>
          <c:dPt>
            <c:idx val="33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B524-437C-9419-2F1B05B4160C}"/>
              </c:ext>
            </c:extLst>
          </c:dPt>
          <c:dPt>
            <c:idx val="34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B524-437C-9419-2F1B05B4160C}"/>
              </c:ext>
            </c:extLst>
          </c:dPt>
          <c:dPt>
            <c:idx val="35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B524-437C-9419-2F1B05B4160C}"/>
              </c:ext>
            </c:extLst>
          </c:dPt>
          <c:dPt>
            <c:idx val="36"/>
            <c:marker>
              <c:symbol val="square"/>
              <c:size val="7"/>
              <c:spPr>
                <a:solidFill>
                  <a:srgbClr val="0070C0"/>
                </a:solidFill>
                <a:ln w="9525" algn="ctr">
                  <a:solidFill>
                    <a:srgbClr val="0070C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B524-437C-9419-2F1B05B4160C}"/>
              </c:ext>
            </c:extLst>
          </c:dPt>
          <c:val>
            <c:numRef>
              <c:f>Sheet1!$A$1:$AK$1</c:f>
              <c:numCache>
                <c:formatCode>General</c:formatCode>
                <c:ptCount val="37"/>
                <c:pt idx="0">
                  <c:v>38.133212088111073</c:v>
                </c:pt>
                <c:pt idx="1">
                  <c:v>35.051717866263324</c:v>
                </c:pt>
                <c:pt idx="2">
                  <c:v>34.710689706907694</c:v>
                </c:pt>
                <c:pt idx="3">
                  <c:v>34.822076250207523</c:v>
                </c:pt>
                <c:pt idx="4">
                  <c:v>36.45092469626811</c:v>
                </c:pt>
                <c:pt idx="5">
                  <c:v>38.393006772221703</c:v>
                </c:pt>
                <c:pt idx="6">
                  <c:v>40.132197806559098</c:v>
                </c:pt>
                <c:pt idx="7">
                  <c:v>40.651800926484661</c:v>
                </c:pt>
                <c:pt idx="8">
                  <c:v>40.62303008589685</c:v>
                </c:pt>
                <c:pt idx="9">
                  <c:v>42.435668913237826</c:v>
                </c:pt>
                <c:pt idx="10">
                  <c:v>40.838681649466601</c:v>
                </c:pt>
                <c:pt idx="11">
                  <c:v>39.365420952325074</c:v>
                </c:pt>
                <c:pt idx="12">
                  <c:v>39.513763027151846</c:v>
                </c:pt>
                <c:pt idx="13">
                  <c:v>40.031090994075136</c:v>
                </c:pt>
                <c:pt idx="14">
                  <c:v>39.354817964569726</c:v>
                </c:pt>
                <c:pt idx="15">
                  <c:v>39.257751951682671</c:v>
                </c:pt>
                <c:pt idx="16">
                  <c:v>37.416657973077385</c:v>
                </c:pt>
                <c:pt idx="17">
                  <c:v>42.590802882246798</c:v>
                </c:pt>
                <c:pt idx="18">
                  <c:v>43.609427446352576</c:v>
                </c:pt>
                <c:pt idx="19">
                  <c:v>44.027813641712719</c:v>
                </c:pt>
                <c:pt idx="20">
                  <c:v>46.953215967272733</c:v>
                </c:pt>
                <c:pt idx="21">
                  <c:v>49.046206970381711</c:v>
                </c:pt>
                <c:pt idx="22">
                  <c:v>50.267736999585317</c:v>
                </c:pt>
                <c:pt idx="23">
                  <c:v>54.15781746710838</c:v>
                </c:pt>
                <c:pt idx="24">
                  <c:v>55.332083163247766</c:v>
                </c:pt>
                <c:pt idx="25">
                  <c:v>57.986990986195174</c:v>
                </c:pt>
                <c:pt idx="26">
                  <c:v>58.405320282669415</c:v>
                </c:pt>
                <c:pt idx="27">
                  <c:v>59.814698615945353</c:v>
                </c:pt>
                <c:pt idx="28">
                  <c:v>69.456718489837328</c:v>
                </c:pt>
                <c:pt idx="29">
                  <c:v>71.147716396419469</c:v>
                </c:pt>
                <c:pt idx="30">
                  <c:v>71.77096602837014</c:v>
                </c:pt>
                <c:pt idx="31">
                  <c:v>74.670175063333431</c:v>
                </c:pt>
                <c:pt idx="32">
                  <c:v>77.154625814777745</c:v>
                </c:pt>
                <c:pt idx="33">
                  <c:v>78.740038534742098</c:v>
                </c:pt>
                <c:pt idx="34">
                  <c:v>80.210244834811675</c:v>
                </c:pt>
                <c:pt idx="35">
                  <c:v>82.134644658215308</c:v>
                </c:pt>
                <c:pt idx="36">
                  <c:v>82.7835307189394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5-B524-437C-9419-2F1B05B4160C}"/>
            </c:ext>
          </c:extLst>
        </c:ser>
        <c:ser>
          <c:idx val="1"/>
          <c:order val="1"/>
          <c:spPr>
            <a:ln w="28575" algn="ctr">
              <a:solidFill>
                <a:schemeClr val="hlink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B524-437C-9419-2F1B05B4160C}"/>
              </c:ext>
            </c:extLst>
          </c:dPt>
          <c:dPt>
            <c:idx val="1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B524-437C-9419-2F1B05B4160C}"/>
              </c:ext>
            </c:extLst>
          </c:dPt>
          <c:dPt>
            <c:idx val="2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B524-437C-9419-2F1B05B4160C}"/>
              </c:ext>
            </c:extLst>
          </c:dPt>
          <c:dPt>
            <c:idx val="3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B524-437C-9419-2F1B05B4160C}"/>
              </c:ext>
            </c:extLst>
          </c:dPt>
          <c:dPt>
            <c:idx val="4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B524-437C-9419-2F1B05B4160C}"/>
              </c:ext>
            </c:extLst>
          </c:dPt>
          <c:dPt>
            <c:idx val="5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B524-437C-9419-2F1B05B4160C}"/>
              </c:ext>
            </c:extLst>
          </c:dPt>
          <c:dPt>
            <c:idx val="6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B524-437C-9419-2F1B05B4160C}"/>
              </c:ext>
            </c:extLst>
          </c:dPt>
          <c:dPt>
            <c:idx val="7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B524-437C-9419-2F1B05B4160C}"/>
              </c:ext>
            </c:extLst>
          </c:dPt>
          <c:dPt>
            <c:idx val="8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B524-437C-9419-2F1B05B4160C}"/>
              </c:ext>
            </c:extLst>
          </c:dPt>
          <c:dPt>
            <c:idx val="9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B524-437C-9419-2F1B05B4160C}"/>
              </c:ext>
            </c:extLst>
          </c:dPt>
          <c:dPt>
            <c:idx val="10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B524-437C-9419-2F1B05B4160C}"/>
              </c:ext>
            </c:extLst>
          </c:dPt>
          <c:dPt>
            <c:idx val="11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B524-437C-9419-2F1B05B4160C}"/>
              </c:ext>
            </c:extLst>
          </c:dPt>
          <c:dPt>
            <c:idx val="12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B524-437C-9419-2F1B05B4160C}"/>
              </c:ext>
            </c:extLst>
          </c:dPt>
          <c:dPt>
            <c:idx val="13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B524-437C-9419-2F1B05B4160C}"/>
              </c:ext>
            </c:extLst>
          </c:dPt>
          <c:dPt>
            <c:idx val="14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B524-437C-9419-2F1B05B4160C}"/>
              </c:ext>
            </c:extLst>
          </c:dPt>
          <c:dPt>
            <c:idx val="15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B524-437C-9419-2F1B05B4160C}"/>
              </c:ext>
            </c:extLst>
          </c:dPt>
          <c:dPt>
            <c:idx val="16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B524-437C-9419-2F1B05B4160C}"/>
              </c:ext>
            </c:extLst>
          </c:dPt>
          <c:dPt>
            <c:idx val="17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B524-437C-9419-2F1B05B4160C}"/>
              </c:ext>
            </c:extLst>
          </c:dPt>
          <c:dPt>
            <c:idx val="18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B524-437C-9419-2F1B05B4160C}"/>
              </c:ext>
            </c:extLst>
          </c:dPt>
          <c:dPt>
            <c:idx val="19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B524-437C-9419-2F1B05B4160C}"/>
              </c:ext>
            </c:extLst>
          </c:dPt>
          <c:dPt>
            <c:idx val="20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B524-437C-9419-2F1B05B4160C}"/>
              </c:ext>
            </c:extLst>
          </c:dPt>
          <c:dPt>
            <c:idx val="21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B-B524-437C-9419-2F1B05B4160C}"/>
              </c:ext>
            </c:extLst>
          </c:dPt>
          <c:dPt>
            <c:idx val="22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B524-437C-9419-2F1B05B4160C}"/>
              </c:ext>
            </c:extLst>
          </c:dPt>
          <c:dPt>
            <c:idx val="23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B524-437C-9419-2F1B05B4160C}"/>
              </c:ext>
            </c:extLst>
          </c:dPt>
          <c:dPt>
            <c:idx val="24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B524-437C-9419-2F1B05B4160C}"/>
              </c:ext>
            </c:extLst>
          </c:dPt>
          <c:dPt>
            <c:idx val="25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B524-437C-9419-2F1B05B4160C}"/>
              </c:ext>
            </c:extLst>
          </c:dPt>
          <c:dPt>
            <c:idx val="26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B524-437C-9419-2F1B05B4160C}"/>
              </c:ext>
            </c:extLst>
          </c:dPt>
          <c:dPt>
            <c:idx val="27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B524-437C-9419-2F1B05B4160C}"/>
              </c:ext>
            </c:extLst>
          </c:dPt>
          <c:dPt>
            <c:idx val="28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B524-437C-9419-2F1B05B4160C}"/>
              </c:ext>
            </c:extLst>
          </c:dPt>
          <c:dPt>
            <c:idx val="29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B524-437C-9419-2F1B05B4160C}"/>
              </c:ext>
            </c:extLst>
          </c:dPt>
          <c:dPt>
            <c:idx val="30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B524-437C-9419-2F1B05B4160C}"/>
              </c:ext>
            </c:extLst>
          </c:dPt>
          <c:dPt>
            <c:idx val="31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B524-437C-9419-2F1B05B4160C}"/>
              </c:ext>
            </c:extLst>
          </c:dPt>
          <c:dPt>
            <c:idx val="32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B524-437C-9419-2F1B05B4160C}"/>
              </c:ext>
            </c:extLst>
          </c:dPt>
          <c:dPt>
            <c:idx val="33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7-B524-437C-9419-2F1B05B4160C}"/>
              </c:ext>
            </c:extLst>
          </c:dPt>
          <c:dPt>
            <c:idx val="34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8-B524-437C-9419-2F1B05B4160C}"/>
              </c:ext>
            </c:extLst>
          </c:dPt>
          <c:dPt>
            <c:idx val="35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9-B524-437C-9419-2F1B05B4160C}"/>
              </c:ext>
            </c:extLst>
          </c:dPt>
          <c:dPt>
            <c:idx val="36"/>
            <c:marker>
              <c:symbol val="triangle"/>
              <c:size val="7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A-B524-437C-9419-2F1B05B4160C}"/>
              </c:ext>
            </c:extLst>
          </c:dPt>
          <c:val>
            <c:numRef>
              <c:f>Sheet1!$A$2:$AK$2</c:f>
              <c:numCache>
                <c:formatCode>General</c:formatCode>
                <c:ptCount val="37"/>
                <c:pt idx="0">
                  <c:v>38.133212088111073</c:v>
                </c:pt>
                <c:pt idx="1">
                  <c:v>36.551225607805726</c:v>
                </c:pt>
                <c:pt idx="2">
                  <c:v>35.959127260578505</c:v>
                </c:pt>
                <c:pt idx="3">
                  <c:v>38.913931724017537</c:v>
                </c:pt>
                <c:pt idx="4">
                  <c:v>43.327833694151344</c:v>
                </c:pt>
                <c:pt idx="5">
                  <c:v>47.568092163751949</c:v>
                </c:pt>
                <c:pt idx="6">
                  <c:v>50.290845912309102</c:v>
                </c:pt>
                <c:pt idx="7">
                  <c:v>57.419783421795636</c:v>
                </c:pt>
                <c:pt idx="8">
                  <c:v>59.803890540196754</c:v>
                </c:pt>
                <c:pt idx="9">
                  <c:v>61.954937756947125</c:v>
                </c:pt>
                <c:pt idx="10">
                  <c:v>57.118573391202055</c:v>
                </c:pt>
                <c:pt idx="11">
                  <c:v>58.730773639661201</c:v>
                </c:pt>
                <c:pt idx="12">
                  <c:v>62.169132308168479</c:v>
                </c:pt>
                <c:pt idx="13">
                  <c:v>64.079864756878919</c:v>
                </c:pt>
                <c:pt idx="14">
                  <c:v>64.964675615467144</c:v>
                </c:pt>
                <c:pt idx="15">
                  <c:v>67.028671263558806</c:v>
                </c:pt>
                <c:pt idx="16">
                  <c:v>69.646850429700464</c:v>
                </c:pt>
                <c:pt idx="17">
                  <c:v>72.162836060905562</c:v>
                </c:pt>
                <c:pt idx="18">
                  <c:v>72.260852581104928</c:v>
                </c:pt>
                <c:pt idx="19">
                  <c:v>74.223298463284976</c:v>
                </c:pt>
                <c:pt idx="20">
                  <c:v>76.947983154400958</c:v>
                </c:pt>
                <c:pt idx="21">
                  <c:v>77.482652385905254</c:v>
                </c:pt>
                <c:pt idx="22">
                  <c:v>80.43801935093984</c:v>
                </c:pt>
                <c:pt idx="23">
                  <c:v>81.461030624196127</c:v>
                </c:pt>
                <c:pt idx="24">
                  <c:v>78.834461303736475</c:v>
                </c:pt>
                <c:pt idx="25">
                  <c:v>82.812784004010808</c:v>
                </c:pt>
                <c:pt idx="26">
                  <c:v>84.017936687473536</c:v>
                </c:pt>
                <c:pt idx="27">
                  <c:v>83.99796221880095</c:v>
                </c:pt>
                <c:pt idx="28">
                  <c:v>85.934856597714344</c:v>
                </c:pt>
                <c:pt idx="29">
                  <c:v>88.295154527042229</c:v>
                </c:pt>
                <c:pt idx="30">
                  <c:v>89.518052224068981</c:v>
                </c:pt>
                <c:pt idx="31">
                  <c:v>90.741217805156623</c:v>
                </c:pt>
                <c:pt idx="32">
                  <c:v>92.370458607625636</c:v>
                </c:pt>
                <c:pt idx="33">
                  <c:v>92.871378479540482</c:v>
                </c:pt>
                <c:pt idx="34">
                  <c:v>91.420899515068385</c:v>
                </c:pt>
                <c:pt idx="35">
                  <c:v>91.838914549372276</c:v>
                </c:pt>
                <c:pt idx="36">
                  <c:v>91.2795591710637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4B-B524-437C-9419-2F1B05B4160C}"/>
            </c:ext>
          </c:extLst>
        </c:ser>
        <c:ser>
          <c:idx val="2"/>
          <c:order val="2"/>
          <c:spPr>
            <a:ln w="28575" algn="ctr">
              <a:solidFill>
                <a:srgbClr val="25B4FF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C-B524-437C-9419-2F1B05B4160C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D-B524-437C-9419-2F1B05B4160C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E-B524-437C-9419-2F1B05B4160C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F-B524-437C-9419-2F1B05B4160C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0-B524-437C-9419-2F1B05B4160C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1-B524-437C-9419-2F1B05B4160C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2-B524-437C-9419-2F1B05B4160C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3-B524-437C-9419-2F1B05B4160C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4-B524-437C-9419-2F1B05B4160C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5-B524-437C-9419-2F1B05B4160C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6-B524-437C-9419-2F1B05B4160C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7-B524-437C-9419-2F1B05B4160C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8-B524-437C-9419-2F1B05B4160C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9-B524-437C-9419-2F1B05B4160C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A-B524-437C-9419-2F1B05B4160C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B-B524-437C-9419-2F1B05B4160C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C-B524-437C-9419-2F1B05B4160C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D-B524-437C-9419-2F1B05B4160C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E-B524-437C-9419-2F1B05B4160C}"/>
              </c:ext>
            </c:extLst>
          </c:dPt>
          <c:dPt>
            <c:idx val="19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F-B524-437C-9419-2F1B05B4160C}"/>
              </c:ext>
            </c:extLst>
          </c:dPt>
          <c:dPt>
            <c:idx val="20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0-B524-437C-9419-2F1B05B4160C}"/>
              </c:ext>
            </c:extLst>
          </c:dPt>
          <c:dPt>
            <c:idx val="21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1-B524-437C-9419-2F1B05B4160C}"/>
              </c:ext>
            </c:extLst>
          </c:dPt>
          <c:dPt>
            <c:idx val="22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2-B524-437C-9419-2F1B05B4160C}"/>
              </c:ext>
            </c:extLst>
          </c:dPt>
          <c:dPt>
            <c:idx val="23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3-B524-437C-9419-2F1B05B4160C}"/>
              </c:ext>
            </c:extLst>
          </c:dPt>
          <c:dPt>
            <c:idx val="24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4-B524-437C-9419-2F1B05B4160C}"/>
              </c:ext>
            </c:extLst>
          </c:dPt>
          <c:dPt>
            <c:idx val="25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5-B524-437C-9419-2F1B05B4160C}"/>
              </c:ext>
            </c:extLst>
          </c:dPt>
          <c:dPt>
            <c:idx val="26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6-B524-437C-9419-2F1B05B4160C}"/>
              </c:ext>
            </c:extLst>
          </c:dPt>
          <c:dPt>
            <c:idx val="27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7-B524-437C-9419-2F1B05B4160C}"/>
              </c:ext>
            </c:extLst>
          </c:dPt>
          <c:dPt>
            <c:idx val="28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8-B524-437C-9419-2F1B05B4160C}"/>
              </c:ext>
            </c:extLst>
          </c:dPt>
          <c:dPt>
            <c:idx val="29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9-B524-437C-9419-2F1B05B4160C}"/>
              </c:ext>
            </c:extLst>
          </c:dPt>
          <c:dPt>
            <c:idx val="30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A-B524-437C-9419-2F1B05B4160C}"/>
              </c:ext>
            </c:extLst>
          </c:dPt>
          <c:dPt>
            <c:idx val="31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B-B524-437C-9419-2F1B05B4160C}"/>
              </c:ext>
            </c:extLst>
          </c:dPt>
          <c:dPt>
            <c:idx val="32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C-B524-437C-9419-2F1B05B4160C}"/>
              </c:ext>
            </c:extLst>
          </c:dPt>
          <c:dPt>
            <c:idx val="33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D-B524-437C-9419-2F1B05B4160C}"/>
              </c:ext>
            </c:extLst>
          </c:dPt>
          <c:dPt>
            <c:idx val="34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E-B524-437C-9419-2F1B05B4160C}"/>
              </c:ext>
            </c:extLst>
          </c:dPt>
          <c:dPt>
            <c:idx val="35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F-B524-437C-9419-2F1B05B4160C}"/>
              </c:ext>
            </c:extLst>
          </c:dPt>
          <c:dPt>
            <c:idx val="36"/>
            <c:marker>
              <c:symbol val="circle"/>
              <c:size val="7"/>
              <c:spPr>
                <a:solidFill>
                  <a:srgbClr val="25B4FF"/>
                </a:solidFill>
                <a:ln w="9525" algn="ctr">
                  <a:solidFill>
                    <a:srgbClr val="25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0-B524-437C-9419-2F1B05B4160C}"/>
              </c:ext>
            </c:extLst>
          </c:dPt>
          <c:val>
            <c:numRef>
              <c:f>Sheet1!$A$3:$AK$3</c:f>
              <c:numCache>
                <c:formatCode>General</c:formatCode>
                <c:ptCount val="37"/>
                <c:pt idx="0">
                  <c:v>38.133212088111073</c:v>
                </c:pt>
                <c:pt idx="1">
                  <c:v>33.877478582082311</c:v>
                </c:pt>
                <c:pt idx="2">
                  <c:v>32.374280410878704</c:v>
                </c:pt>
                <c:pt idx="3">
                  <c:v>30.137904816492743</c:v>
                </c:pt>
                <c:pt idx="4">
                  <c:v>30.609321793934079</c:v>
                </c:pt>
                <c:pt idx="5">
                  <c:v>30.978762129010924</c:v>
                </c:pt>
                <c:pt idx="6">
                  <c:v>30.956346870776464</c:v>
                </c:pt>
                <c:pt idx="7">
                  <c:v>31.023181500596074</c:v>
                </c:pt>
                <c:pt idx="8">
                  <c:v>29.305566216838791</c:v>
                </c:pt>
                <c:pt idx="9">
                  <c:v>28.674067900368065</c:v>
                </c:pt>
                <c:pt idx="10">
                  <c:v>25.910395227961452</c:v>
                </c:pt>
                <c:pt idx="11">
                  <c:v>24.668219783192335</c:v>
                </c:pt>
                <c:pt idx="12">
                  <c:v>23.594445832606063</c:v>
                </c:pt>
                <c:pt idx="13">
                  <c:v>21.493159602087395</c:v>
                </c:pt>
                <c:pt idx="14">
                  <c:v>18.655418616257428</c:v>
                </c:pt>
                <c:pt idx="15">
                  <c:v>17.242189993991524</c:v>
                </c:pt>
                <c:pt idx="16">
                  <c:v>15.779956364007923</c:v>
                </c:pt>
                <c:pt idx="17">
                  <c:v>13.566039069376522</c:v>
                </c:pt>
                <c:pt idx="18">
                  <c:v>11.47514963397311</c:v>
                </c:pt>
                <c:pt idx="19">
                  <c:v>10.455937526204373</c:v>
                </c:pt>
                <c:pt idx="20">
                  <c:v>10.966144012933775</c:v>
                </c:pt>
                <c:pt idx="21">
                  <c:v>11.405685811155884</c:v>
                </c:pt>
                <c:pt idx="22">
                  <c:v>11.246296834060878</c:v>
                </c:pt>
                <c:pt idx="23">
                  <c:v>11.536075108950634</c:v>
                </c:pt>
                <c:pt idx="24">
                  <c:v>10.193884769163965</c:v>
                </c:pt>
                <c:pt idx="25">
                  <c:v>10.128847187918332</c:v>
                </c:pt>
                <c:pt idx="26">
                  <c:v>10.992933847345206</c:v>
                </c:pt>
                <c:pt idx="27">
                  <c:v>11.610383256544758</c:v>
                </c:pt>
                <c:pt idx="28">
                  <c:v>11.162920072359135</c:v>
                </c:pt>
                <c:pt idx="29">
                  <c:v>11.846612190060988</c:v>
                </c:pt>
                <c:pt idx="30">
                  <c:v>12.329929355904021</c:v>
                </c:pt>
                <c:pt idx="31">
                  <c:v>13.298092402106043</c:v>
                </c:pt>
                <c:pt idx="32">
                  <c:v>12.737436698783718</c:v>
                </c:pt>
                <c:pt idx="33">
                  <c:v>13.316392508319446</c:v>
                </c:pt>
                <c:pt idx="34">
                  <c:v>13.581111778112437</c:v>
                </c:pt>
                <c:pt idx="35">
                  <c:v>14.232850612121432</c:v>
                </c:pt>
                <c:pt idx="36">
                  <c:v>13.4218393436917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71-B524-437C-9419-2F1B05B4160C}"/>
            </c:ext>
          </c:extLst>
        </c:ser>
        <c:ser>
          <c:idx val="3"/>
          <c:order val="3"/>
          <c:spPr>
            <a:ln w="28575" algn="ctr">
              <a:solidFill>
                <a:srgbClr val="9DB1CF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2-B524-437C-9419-2F1B05B4160C}"/>
              </c:ext>
            </c:extLst>
          </c:dPt>
          <c:dPt>
            <c:idx val="1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3-B524-437C-9419-2F1B05B4160C}"/>
              </c:ext>
            </c:extLst>
          </c:dPt>
          <c:dPt>
            <c:idx val="2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4-B524-437C-9419-2F1B05B4160C}"/>
              </c:ext>
            </c:extLst>
          </c:dPt>
          <c:dPt>
            <c:idx val="3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5-B524-437C-9419-2F1B05B4160C}"/>
              </c:ext>
            </c:extLst>
          </c:dPt>
          <c:dPt>
            <c:idx val="4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6-B524-437C-9419-2F1B05B4160C}"/>
              </c:ext>
            </c:extLst>
          </c:dPt>
          <c:dPt>
            <c:idx val="5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7-B524-437C-9419-2F1B05B4160C}"/>
              </c:ext>
            </c:extLst>
          </c:dPt>
          <c:dPt>
            <c:idx val="6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8-B524-437C-9419-2F1B05B4160C}"/>
              </c:ext>
            </c:extLst>
          </c:dPt>
          <c:dPt>
            <c:idx val="7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9-B524-437C-9419-2F1B05B4160C}"/>
              </c:ext>
            </c:extLst>
          </c:dPt>
          <c:dPt>
            <c:idx val="8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A-B524-437C-9419-2F1B05B4160C}"/>
              </c:ext>
            </c:extLst>
          </c:dPt>
          <c:dPt>
            <c:idx val="9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B-B524-437C-9419-2F1B05B4160C}"/>
              </c:ext>
            </c:extLst>
          </c:dPt>
          <c:dPt>
            <c:idx val="10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C-B524-437C-9419-2F1B05B4160C}"/>
              </c:ext>
            </c:extLst>
          </c:dPt>
          <c:dPt>
            <c:idx val="11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D-B524-437C-9419-2F1B05B4160C}"/>
              </c:ext>
            </c:extLst>
          </c:dPt>
          <c:dPt>
            <c:idx val="12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E-B524-437C-9419-2F1B05B4160C}"/>
              </c:ext>
            </c:extLst>
          </c:dPt>
          <c:dPt>
            <c:idx val="13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F-B524-437C-9419-2F1B05B4160C}"/>
              </c:ext>
            </c:extLst>
          </c:dPt>
          <c:dPt>
            <c:idx val="14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0-B524-437C-9419-2F1B05B4160C}"/>
              </c:ext>
            </c:extLst>
          </c:dPt>
          <c:dPt>
            <c:idx val="15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1-B524-437C-9419-2F1B05B4160C}"/>
              </c:ext>
            </c:extLst>
          </c:dPt>
          <c:dPt>
            <c:idx val="16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2-B524-437C-9419-2F1B05B4160C}"/>
              </c:ext>
            </c:extLst>
          </c:dPt>
          <c:dPt>
            <c:idx val="17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3-B524-437C-9419-2F1B05B4160C}"/>
              </c:ext>
            </c:extLst>
          </c:dPt>
          <c:dPt>
            <c:idx val="18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4-B524-437C-9419-2F1B05B4160C}"/>
              </c:ext>
            </c:extLst>
          </c:dPt>
          <c:dPt>
            <c:idx val="19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5-B524-437C-9419-2F1B05B4160C}"/>
              </c:ext>
            </c:extLst>
          </c:dPt>
          <c:dPt>
            <c:idx val="20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6-B524-437C-9419-2F1B05B4160C}"/>
              </c:ext>
            </c:extLst>
          </c:dPt>
          <c:dPt>
            <c:idx val="21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7-B524-437C-9419-2F1B05B4160C}"/>
              </c:ext>
            </c:extLst>
          </c:dPt>
          <c:dPt>
            <c:idx val="22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8-B524-437C-9419-2F1B05B4160C}"/>
              </c:ext>
            </c:extLst>
          </c:dPt>
          <c:dPt>
            <c:idx val="23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9-B524-437C-9419-2F1B05B4160C}"/>
              </c:ext>
            </c:extLst>
          </c:dPt>
          <c:dPt>
            <c:idx val="24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A-B524-437C-9419-2F1B05B4160C}"/>
              </c:ext>
            </c:extLst>
          </c:dPt>
          <c:dPt>
            <c:idx val="25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B-B524-437C-9419-2F1B05B4160C}"/>
              </c:ext>
            </c:extLst>
          </c:dPt>
          <c:dPt>
            <c:idx val="26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C-B524-437C-9419-2F1B05B4160C}"/>
              </c:ext>
            </c:extLst>
          </c:dPt>
          <c:dPt>
            <c:idx val="27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D-B524-437C-9419-2F1B05B4160C}"/>
              </c:ext>
            </c:extLst>
          </c:dPt>
          <c:dPt>
            <c:idx val="28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E-B524-437C-9419-2F1B05B4160C}"/>
              </c:ext>
            </c:extLst>
          </c:dPt>
          <c:dPt>
            <c:idx val="29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F-B524-437C-9419-2F1B05B4160C}"/>
              </c:ext>
            </c:extLst>
          </c:dPt>
          <c:dPt>
            <c:idx val="30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0-B524-437C-9419-2F1B05B4160C}"/>
              </c:ext>
            </c:extLst>
          </c:dPt>
          <c:dPt>
            <c:idx val="31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1-B524-437C-9419-2F1B05B4160C}"/>
              </c:ext>
            </c:extLst>
          </c:dPt>
          <c:dPt>
            <c:idx val="32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2-B524-437C-9419-2F1B05B4160C}"/>
              </c:ext>
            </c:extLst>
          </c:dPt>
          <c:dPt>
            <c:idx val="33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3-B524-437C-9419-2F1B05B4160C}"/>
              </c:ext>
            </c:extLst>
          </c:dPt>
          <c:dPt>
            <c:idx val="34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4-B524-437C-9419-2F1B05B4160C}"/>
              </c:ext>
            </c:extLst>
          </c:dPt>
          <c:dPt>
            <c:idx val="35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5-B524-437C-9419-2F1B05B4160C}"/>
              </c:ext>
            </c:extLst>
          </c:dPt>
          <c:dPt>
            <c:idx val="36"/>
            <c:marker>
              <c:symbol val="diamond"/>
              <c:size val="7"/>
              <c:spPr>
                <a:solidFill>
                  <a:srgbClr val="9DB1CF"/>
                </a:solidFill>
                <a:ln w="9525" algn="ctr">
                  <a:solidFill>
                    <a:srgbClr val="9DB1C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6-B524-437C-9419-2F1B05B4160C}"/>
              </c:ext>
            </c:extLst>
          </c:dPt>
          <c:val>
            <c:numRef>
              <c:f>Sheet1!$A$4:$AK$4</c:f>
              <c:numCache>
                <c:formatCode>General</c:formatCode>
                <c:ptCount val="37"/>
                <c:pt idx="0">
                  <c:v>38.133212088111073</c:v>
                </c:pt>
                <c:pt idx="1">
                  <c:v>40.6342694891406</c:v>
                </c:pt>
                <c:pt idx="2">
                  <c:v>29.765826486120382</c:v>
                </c:pt>
                <c:pt idx="3">
                  <c:v>33.008880852320253</c:v>
                </c:pt>
                <c:pt idx="4">
                  <c:v>27.378548740191185</c:v>
                </c:pt>
                <c:pt idx="5">
                  <c:v>36.757551021325874</c:v>
                </c:pt>
                <c:pt idx="6">
                  <c:v>30.648091523531228</c:v>
                </c:pt>
                <c:pt idx="7">
                  <c:v>41.329027427867977</c:v>
                </c:pt>
                <c:pt idx="8">
                  <c:v>34.084834912520328</c:v>
                </c:pt>
                <c:pt idx="9">
                  <c:v>41.347311215224146</c:v>
                </c:pt>
                <c:pt idx="10">
                  <c:v>31.489874673820573</c:v>
                </c:pt>
                <c:pt idx="11">
                  <c:v>37.669805824081287</c:v>
                </c:pt>
                <c:pt idx="12">
                  <c:v>32.860040946774625</c:v>
                </c:pt>
                <c:pt idx="13">
                  <c:v>43.954755391317043</c:v>
                </c:pt>
                <c:pt idx="14">
                  <c:v>34.869969291951584</c:v>
                </c:pt>
                <c:pt idx="15">
                  <c:v>38.271917625380517</c:v>
                </c:pt>
                <c:pt idx="16">
                  <c:v>33.272290226647108</c:v>
                </c:pt>
                <c:pt idx="17">
                  <c:v>38.014581562371809</c:v>
                </c:pt>
                <c:pt idx="18">
                  <c:v>30.213417635821095</c:v>
                </c:pt>
                <c:pt idx="19">
                  <c:v>37.244380217792148</c:v>
                </c:pt>
                <c:pt idx="20">
                  <c:v>19.96930044144397</c:v>
                </c:pt>
                <c:pt idx="21">
                  <c:v>28.762432912183421</c:v>
                </c:pt>
                <c:pt idx="22">
                  <c:v>21.300249674701526</c:v>
                </c:pt>
                <c:pt idx="23">
                  <c:v>27.275638555112302</c:v>
                </c:pt>
                <c:pt idx="24">
                  <c:v>17.915043307068423</c:v>
                </c:pt>
                <c:pt idx="25">
                  <c:v>36.911730435189646</c:v>
                </c:pt>
                <c:pt idx="26">
                  <c:v>25.869769523972231</c:v>
                </c:pt>
                <c:pt idx="27">
                  <c:v>29.038945105463391</c:v>
                </c:pt>
                <c:pt idx="28">
                  <c:v>28.20246692860956</c:v>
                </c:pt>
                <c:pt idx="29">
                  <c:v>31.489559461921623</c:v>
                </c:pt>
                <c:pt idx="30">
                  <c:v>23.953502684339277</c:v>
                </c:pt>
                <c:pt idx="31">
                  <c:v>25.025025603595758</c:v>
                </c:pt>
                <c:pt idx="32">
                  <c:v>23.764825615486934</c:v>
                </c:pt>
                <c:pt idx="33">
                  <c:v>29.58697342847811</c:v>
                </c:pt>
                <c:pt idx="34">
                  <c:v>21.360777382525221</c:v>
                </c:pt>
                <c:pt idx="35">
                  <c:v>22.875869989022654</c:v>
                </c:pt>
                <c:pt idx="36">
                  <c:v>21.6211478492398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97-B524-437C-9419-2F1B05B4160C}"/>
            </c:ext>
          </c:extLst>
        </c:ser>
        <c:ser>
          <c:idx val="4"/>
          <c:order val="4"/>
          <c:spPr>
            <a:ln w="28575" algn="ctr">
              <a:solidFill>
                <a:srgbClr val="6EB4FF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8-B524-437C-9419-2F1B05B4160C}"/>
              </c:ext>
            </c:extLst>
          </c:dPt>
          <c:dPt>
            <c:idx val="1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9-B524-437C-9419-2F1B05B4160C}"/>
              </c:ext>
            </c:extLst>
          </c:dPt>
          <c:dPt>
            <c:idx val="2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A-B524-437C-9419-2F1B05B4160C}"/>
              </c:ext>
            </c:extLst>
          </c:dPt>
          <c:dPt>
            <c:idx val="3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B-B524-437C-9419-2F1B05B4160C}"/>
              </c:ext>
            </c:extLst>
          </c:dPt>
          <c:dPt>
            <c:idx val="4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C-B524-437C-9419-2F1B05B4160C}"/>
              </c:ext>
            </c:extLst>
          </c:dPt>
          <c:dPt>
            <c:idx val="5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D-B524-437C-9419-2F1B05B4160C}"/>
              </c:ext>
            </c:extLst>
          </c:dPt>
          <c:dPt>
            <c:idx val="6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E-B524-437C-9419-2F1B05B4160C}"/>
              </c:ext>
            </c:extLst>
          </c:dPt>
          <c:dPt>
            <c:idx val="7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F-B524-437C-9419-2F1B05B4160C}"/>
              </c:ext>
            </c:extLst>
          </c:dPt>
          <c:dPt>
            <c:idx val="8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0-B524-437C-9419-2F1B05B4160C}"/>
              </c:ext>
            </c:extLst>
          </c:dPt>
          <c:dPt>
            <c:idx val="9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1-B524-437C-9419-2F1B05B4160C}"/>
              </c:ext>
            </c:extLst>
          </c:dPt>
          <c:dPt>
            <c:idx val="10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2-B524-437C-9419-2F1B05B4160C}"/>
              </c:ext>
            </c:extLst>
          </c:dPt>
          <c:dPt>
            <c:idx val="11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3-B524-437C-9419-2F1B05B4160C}"/>
              </c:ext>
            </c:extLst>
          </c:dPt>
          <c:dPt>
            <c:idx val="12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4-B524-437C-9419-2F1B05B4160C}"/>
              </c:ext>
            </c:extLst>
          </c:dPt>
          <c:dPt>
            <c:idx val="13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5-B524-437C-9419-2F1B05B4160C}"/>
              </c:ext>
            </c:extLst>
          </c:dPt>
          <c:dPt>
            <c:idx val="14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6-B524-437C-9419-2F1B05B4160C}"/>
              </c:ext>
            </c:extLst>
          </c:dPt>
          <c:dPt>
            <c:idx val="15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7-B524-437C-9419-2F1B05B4160C}"/>
              </c:ext>
            </c:extLst>
          </c:dPt>
          <c:dPt>
            <c:idx val="16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8-B524-437C-9419-2F1B05B4160C}"/>
              </c:ext>
            </c:extLst>
          </c:dPt>
          <c:dPt>
            <c:idx val="17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9-B524-437C-9419-2F1B05B4160C}"/>
              </c:ext>
            </c:extLst>
          </c:dPt>
          <c:dPt>
            <c:idx val="18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A-B524-437C-9419-2F1B05B4160C}"/>
              </c:ext>
            </c:extLst>
          </c:dPt>
          <c:dPt>
            <c:idx val="19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B-B524-437C-9419-2F1B05B4160C}"/>
              </c:ext>
            </c:extLst>
          </c:dPt>
          <c:dPt>
            <c:idx val="20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C-B524-437C-9419-2F1B05B4160C}"/>
              </c:ext>
            </c:extLst>
          </c:dPt>
          <c:dPt>
            <c:idx val="21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D-B524-437C-9419-2F1B05B4160C}"/>
              </c:ext>
            </c:extLst>
          </c:dPt>
          <c:dPt>
            <c:idx val="22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E-B524-437C-9419-2F1B05B4160C}"/>
              </c:ext>
            </c:extLst>
          </c:dPt>
          <c:dPt>
            <c:idx val="23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AF-B524-437C-9419-2F1B05B4160C}"/>
              </c:ext>
            </c:extLst>
          </c:dPt>
          <c:dPt>
            <c:idx val="24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0-B524-437C-9419-2F1B05B4160C}"/>
              </c:ext>
            </c:extLst>
          </c:dPt>
          <c:dPt>
            <c:idx val="25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1-B524-437C-9419-2F1B05B4160C}"/>
              </c:ext>
            </c:extLst>
          </c:dPt>
          <c:dPt>
            <c:idx val="26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2-B524-437C-9419-2F1B05B4160C}"/>
              </c:ext>
            </c:extLst>
          </c:dPt>
          <c:dPt>
            <c:idx val="27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3-B524-437C-9419-2F1B05B4160C}"/>
              </c:ext>
            </c:extLst>
          </c:dPt>
          <c:dPt>
            <c:idx val="28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4-B524-437C-9419-2F1B05B4160C}"/>
              </c:ext>
            </c:extLst>
          </c:dPt>
          <c:dPt>
            <c:idx val="29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5-B524-437C-9419-2F1B05B4160C}"/>
              </c:ext>
            </c:extLst>
          </c:dPt>
          <c:dPt>
            <c:idx val="30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6-B524-437C-9419-2F1B05B4160C}"/>
              </c:ext>
            </c:extLst>
          </c:dPt>
          <c:dPt>
            <c:idx val="31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7-B524-437C-9419-2F1B05B4160C}"/>
              </c:ext>
            </c:extLst>
          </c:dPt>
          <c:dPt>
            <c:idx val="32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8-B524-437C-9419-2F1B05B4160C}"/>
              </c:ext>
            </c:extLst>
          </c:dPt>
          <c:dPt>
            <c:idx val="33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9-B524-437C-9419-2F1B05B4160C}"/>
              </c:ext>
            </c:extLst>
          </c:dPt>
          <c:dPt>
            <c:idx val="34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A-B524-437C-9419-2F1B05B4160C}"/>
              </c:ext>
            </c:extLst>
          </c:dPt>
          <c:dPt>
            <c:idx val="35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B-B524-437C-9419-2F1B05B4160C}"/>
              </c:ext>
            </c:extLst>
          </c:dPt>
          <c:dPt>
            <c:idx val="36"/>
            <c:marker>
              <c:symbol val="star"/>
              <c:size val="7"/>
              <c:spPr>
                <a:noFill/>
                <a:ln w="9525" algn="ctr">
                  <a:solidFill>
                    <a:srgbClr val="6EB4F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C-B524-437C-9419-2F1B05B4160C}"/>
              </c:ext>
            </c:extLst>
          </c:dPt>
          <c:val>
            <c:numRef>
              <c:f>Sheet1!$A$5:$AK$5</c:f>
              <c:numCache>
                <c:formatCode>General</c:formatCode>
                <c:ptCount val="37"/>
                <c:pt idx="0">
                  <c:v>38.133212088111073</c:v>
                </c:pt>
                <c:pt idx="1">
                  <c:v>33.656944226128708</c:v>
                </c:pt>
                <c:pt idx="2">
                  <c:v>31.991734900200875</c:v>
                </c:pt>
                <c:pt idx="3">
                  <c:v>29.08112390824089</c:v>
                </c:pt>
                <c:pt idx="4">
                  <c:v>28.744549360386792</c:v>
                </c:pt>
                <c:pt idx="5">
                  <c:v>29.838264482613972</c:v>
                </c:pt>
                <c:pt idx="6">
                  <c:v>29.522542809804285</c:v>
                </c:pt>
                <c:pt idx="7">
                  <c:v>29.487018202450976</c:v>
                </c:pt>
                <c:pt idx="8">
                  <c:v>24.717446094000046</c:v>
                </c:pt>
                <c:pt idx="9">
                  <c:v>22.860554663997284</c:v>
                </c:pt>
                <c:pt idx="10">
                  <c:v>18.919530047924447</c:v>
                </c:pt>
                <c:pt idx="11">
                  <c:v>15.892361642426714</c:v>
                </c:pt>
                <c:pt idx="12">
                  <c:v>14.056489292277682</c:v>
                </c:pt>
                <c:pt idx="13">
                  <c:v>12.923727237921234</c:v>
                </c:pt>
                <c:pt idx="14">
                  <c:v>11.989523684014024</c:v>
                </c:pt>
                <c:pt idx="15">
                  <c:v>10.557996567871591</c:v>
                </c:pt>
                <c:pt idx="16">
                  <c:v>9.9273441874773809</c:v>
                </c:pt>
                <c:pt idx="17">
                  <c:v>10.236364955536679</c:v>
                </c:pt>
                <c:pt idx="18">
                  <c:v>10.03564092744039</c:v>
                </c:pt>
                <c:pt idx="19">
                  <c:v>9.1222422504441241</c:v>
                </c:pt>
                <c:pt idx="20">
                  <c:v>11.609994935879818</c:v>
                </c:pt>
                <c:pt idx="21">
                  <c:v>12.440403958844719</c:v>
                </c:pt>
                <c:pt idx="22">
                  <c:v>12.75656817729007</c:v>
                </c:pt>
                <c:pt idx="23">
                  <c:v>12.428214240236336</c:v>
                </c:pt>
                <c:pt idx="24">
                  <c:v>10.894965946070705</c:v>
                </c:pt>
                <c:pt idx="25">
                  <c:v>10.771502750176886</c:v>
                </c:pt>
                <c:pt idx="26">
                  <c:v>11.321278380623575</c:v>
                </c:pt>
                <c:pt idx="27">
                  <c:v>11.402631199618504</c:v>
                </c:pt>
                <c:pt idx="28">
                  <c:v>11.167669698203618</c:v>
                </c:pt>
                <c:pt idx="29">
                  <c:v>11.924272167610106</c:v>
                </c:pt>
                <c:pt idx="30">
                  <c:v>11.968580256498051</c:v>
                </c:pt>
                <c:pt idx="31">
                  <c:v>12.186023249561593</c:v>
                </c:pt>
                <c:pt idx="32">
                  <c:v>11.522268404873081</c:v>
                </c:pt>
                <c:pt idx="33">
                  <c:v>11.600806537813604</c:v>
                </c:pt>
                <c:pt idx="34">
                  <c:v>11.429904281777034</c:v>
                </c:pt>
                <c:pt idx="35">
                  <c:v>11.69350237432581</c:v>
                </c:pt>
                <c:pt idx="36">
                  <c:v>10.8663281820583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BD-B524-437C-9419-2F1B05B4160C}"/>
            </c:ext>
          </c:extLst>
        </c:ser>
        <c:ser>
          <c:idx val="5"/>
          <c:order val="5"/>
          <c:spPr>
            <a:ln w="28575" algn="ctr">
              <a:solidFill>
                <a:srgbClr val="1D0E7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E-B524-437C-9419-2F1B05B4160C}"/>
              </c:ext>
            </c:extLst>
          </c:dPt>
          <c:dPt>
            <c:idx val="1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BF-B524-437C-9419-2F1B05B4160C}"/>
              </c:ext>
            </c:extLst>
          </c:dPt>
          <c:dPt>
            <c:idx val="2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C0-B524-437C-9419-2F1B05B4160C}"/>
              </c:ext>
            </c:extLst>
          </c:dPt>
          <c:dPt>
            <c:idx val="3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C1-B524-437C-9419-2F1B05B4160C}"/>
              </c:ext>
            </c:extLst>
          </c:dPt>
          <c:dPt>
            <c:idx val="4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C2-B524-437C-9419-2F1B05B4160C}"/>
              </c:ext>
            </c:extLst>
          </c:dPt>
          <c:dPt>
            <c:idx val="5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C3-B524-437C-9419-2F1B05B4160C}"/>
              </c:ext>
            </c:extLst>
          </c:dPt>
          <c:dPt>
            <c:idx val="6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C4-B524-437C-9419-2F1B05B4160C}"/>
              </c:ext>
            </c:extLst>
          </c:dPt>
          <c:dPt>
            <c:idx val="7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C5-B524-437C-9419-2F1B05B4160C}"/>
              </c:ext>
            </c:extLst>
          </c:dPt>
          <c:dPt>
            <c:idx val="8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C6-B524-437C-9419-2F1B05B4160C}"/>
              </c:ext>
            </c:extLst>
          </c:dPt>
          <c:dPt>
            <c:idx val="9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C7-B524-437C-9419-2F1B05B4160C}"/>
              </c:ext>
            </c:extLst>
          </c:dPt>
          <c:dPt>
            <c:idx val="10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C8-B524-437C-9419-2F1B05B4160C}"/>
              </c:ext>
            </c:extLst>
          </c:dPt>
          <c:dPt>
            <c:idx val="11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C9-B524-437C-9419-2F1B05B4160C}"/>
              </c:ext>
            </c:extLst>
          </c:dPt>
          <c:dPt>
            <c:idx val="12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CA-B524-437C-9419-2F1B05B4160C}"/>
              </c:ext>
            </c:extLst>
          </c:dPt>
          <c:dPt>
            <c:idx val="13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CB-B524-437C-9419-2F1B05B4160C}"/>
              </c:ext>
            </c:extLst>
          </c:dPt>
          <c:dPt>
            <c:idx val="14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CC-B524-437C-9419-2F1B05B4160C}"/>
              </c:ext>
            </c:extLst>
          </c:dPt>
          <c:dPt>
            <c:idx val="15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CD-B524-437C-9419-2F1B05B4160C}"/>
              </c:ext>
            </c:extLst>
          </c:dPt>
          <c:dPt>
            <c:idx val="16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CE-B524-437C-9419-2F1B05B4160C}"/>
              </c:ext>
            </c:extLst>
          </c:dPt>
          <c:dPt>
            <c:idx val="17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CF-B524-437C-9419-2F1B05B4160C}"/>
              </c:ext>
            </c:extLst>
          </c:dPt>
          <c:dPt>
            <c:idx val="18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D0-B524-437C-9419-2F1B05B4160C}"/>
              </c:ext>
            </c:extLst>
          </c:dPt>
          <c:dPt>
            <c:idx val="19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D1-B524-437C-9419-2F1B05B4160C}"/>
              </c:ext>
            </c:extLst>
          </c:dPt>
          <c:dPt>
            <c:idx val="20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D2-B524-437C-9419-2F1B05B4160C}"/>
              </c:ext>
            </c:extLst>
          </c:dPt>
          <c:dPt>
            <c:idx val="21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D3-B524-437C-9419-2F1B05B4160C}"/>
              </c:ext>
            </c:extLst>
          </c:dPt>
          <c:dPt>
            <c:idx val="22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D4-B524-437C-9419-2F1B05B4160C}"/>
              </c:ext>
            </c:extLst>
          </c:dPt>
          <c:dPt>
            <c:idx val="23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D5-B524-437C-9419-2F1B05B4160C}"/>
              </c:ext>
            </c:extLst>
          </c:dPt>
          <c:dPt>
            <c:idx val="24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D6-B524-437C-9419-2F1B05B4160C}"/>
              </c:ext>
            </c:extLst>
          </c:dPt>
          <c:dPt>
            <c:idx val="25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D7-B524-437C-9419-2F1B05B4160C}"/>
              </c:ext>
            </c:extLst>
          </c:dPt>
          <c:dPt>
            <c:idx val="26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D8-B524-437C-9419-2F1B05B4160C}"/>
              </c:ext>
            </c:extLst>
          </c:dPt>
          <c:dPt>
            <c:idx val="27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D9-B524-437C-9419-2F1B05B4160C}"/>
              </c:ext>
            </c:extLst>
          </c:dPt>
          <c:dPt>
            <c:idx val="28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DA-B524-437C-9419-2F1B05B4160C}"/>
              </c:ext>
            </c:extLst>
          </c:dPt>
          <c:dPt>
            <c:idx val="29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DB-B524-437C-9419-2F1B05B4160C}"/>
              </c:ext>
            </c:extLst>
          </c:dPt>
          <c:dPt>
            <c:idx val="30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DC-B524-437C-9419-2F1B05B4160C}"/>
              </c:ext>
            </c:extLst>
          </c:dPt>
          <c:dPt>
            <c:idx val="31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DD-B524-437C-9419-2F1B05B4160C}"/>
              </c:ext>
            </c:extLst>
          </c:dPt>
          <c:dPt>
            <c:idx val="32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DE-B524-437C-9419-2F1B05B4160C}"/>
              </c:ext>
            </c:extLst>
          </c:dPt>
          <c:dPt>
            <c:idx val="33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DF-B524-437C-9419-2F1B05B4160C}"/>
              </c:ext>
            </c:extLst>
          </c:dPt>
          <c:dPt>
            <c:idx val="34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E0-B524-437C-9419-2F1B05B4160C}"/>
              </c:ext>
            </c:extLst>
          </c:dPt>
          <c:dPt>
            <c:idx val="35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E1-B524-437C-9419-2F1B05B4160C}"/>
              </c:ext>
            </c:extLst>
          </c:dPt>
          <c:dPt>
            <c:idx val="36"/>
            <c:marker>
              <c:symbol val="square"/>
              <c:size val="6"/>
              <c:spPr>
                <a:solidFill>
                  <a:srgbClr val="1D0E72"/>
                </a:solidFill>
                <a:ln w="9525" algn="ctr">
                  <a:solidFill>
                    <a:srgbClr val="1D0E7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E2-B524-437C-9419-2F1B05B4160C}"/>
              </c:ext>
            </c:extLst>
          </c:dPt>
          <c:val>
            <c:numRef>
              <c:f>Sheet1!$A$6:$AK$6</c:f>
              <c:numCache>
                <c:formatCode>General</c:formatCode>
                <c:ptCount val="37"/>
                <c:pt idx="0">
                  <c:v>38.133212088111073</c:v>
                </c:pt>
                <c:pt idx="1">
                  <c:v>41.218129115731621</c:v>
                </c:pt>
                <c:pt idx="2">
                  <c:v>48.200878685302193</c:v>
                </c:pt>
                <c:pt idx="3">
                  <c:v>33.093517137733677</c:v>
                </c:pt>
                <c:pt idx="4">
                  <c:v>32.887834703530665</c:v>
                </c:pt>
                <c:pt idx="5">
                  <c:v>41.160641079715852</c:v>
                </c:pt>
                <c:pt idx="6">
                  <c:v>50.395141246997689</c:v>
                </c:pt>
                <c:pt idx="7">
                  <c:v>37.796679838131077</c:v>
                </c:pt>
                <c:pt idx="8">
                  <c:v>30.1709237630864</c:v>
                </c:pt>
                <c:pt idx="9">
                  <c:v>36.855016113290482</c:v>
                </c:pt>
                <c:pt idx="10">
                  <c:v>45.480881894163183</c:v>
                </c:pt>
                <c:pt idx="11">
                  <c:v>29.968903948389944</c:v>
                </c:pt>
                <c:pt idx="12">
                  <c:v>29.321649801063735</c:v>
                </c:pt>
                <c:pt idx="13">
                  <c:v>38.155110543085051</c:v>
                </c:pt>
                <c:pt idx="14">
                  <c:v>42.000379586409146</c:v>
                </c:pt>
                <c:pt idx="15">
                  <c:v>29.91279896553305</c:v>
                </c:pt>
                <c:pt idx="16">
                  <c:v>27.179916139972569</c:v>
                </c:pt>
                <c:pt idx="17">
                  <c:v>35.753511932793394</c:v>
                </c:pt>
                <c:pt idx="18">
                  <c:v>39.799888412771189</c:v>
                </c:pt>
                <c:pt idx="19">
                  <c:v>26.589986177146478</c:v>
                </c:pt>
                <c:pt idx="20">
                  <c:v>25.593182110682541</c:v>
                </c:pt>
                <c:pt idx="21">
                  <c:v>30.106324629338708</c:v>
                </c:pt>
                <c:pt idx="22">
                  <c:v>39.49210249543723</c:v>
                </c:pt>
                <c:pt idx="23">
                  <c:v>26.848826367995962</c:v>
                </c:pt>
                <c:pt idx="24">
                  <c:v>20.985280503370824</c:v>
                </c:pt>
                <c:pt idx="25">
                  <c:v>45.569224837209852</c:v>
                </c:pt>
                <c:pt idx="26">
                  <c:v>46.360420119813192</c:v>
                </c:pt>
                <c:pt idx="27">
                  <c:v>42.962493577638931</c:v>
                </c:pt>
                <c:pt idx="28">
                  <c:v>44.139198105470278</c:v>
                </c:pt>
                <c:pt idx="29">
                  <c:v>39.441241710593495</c:v>
                </c:pt>
                <c:pt idx="30">
                  <c:v>36.151197241270175</c:v>
                </c:pt>
                <c:pt idx="31">
                  <c:v>22.353992834492338</c:v>
                </c:pt>
                <c:pt idx="32">
                  <c:v>28.719961564901972</c:v>
                </c:pt>
                <c:pt idx="33">
                  <c:v>28.850497860149311</c:v>
                </c:pt>
                <c:pt idx="34">
                  <c:v>31.294780392641563</c:v>
                </c:pt>
                <c:pt idx="35">
                  <c:v>13.687948050410277</c:v>
                </c:pt>
                <c:pt idx="36">
                  <c:v>19.0847498841498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E3-B524-437C-9419-2F1B05B416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05644888"/>
        <c:axId val="1"/>
      </c:lineChart>
      <c:catAx>
        <c:axId val="9056448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8.13321208811106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905644888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6387283236994217E-2"/>
          <c:y val="4.1104294478527606E-2"/>
          <c:w val="0.9460982658959538"/>
          <c:h val="0.917791411042944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30C3E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E914-4AF2-98D5-3E514D2B6157}"/>
              </c:ext>
            </c:extLst>
          </c:dPt>
          <c:dPt>
            <c:idx val="2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914-4AF2-98D5-3E514D2B6157}"/>
              </c:ext>
            </c:extLst>
          </c:dPt>
          <c:dLbls>
            <c:dLbl>
              <c:idx val="0"/>
              <c:layout>
                <c:manualLayout>
                  <c:x val="0"/>
                  <c:y val="-7.7914110429447847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914-4AF2-98D5-3E514D2B6157}"/>
                </c:ext>
              </c:extLst>
            </c:dLbl>
            <c:dLbl>
              <c:idx val="3"/>
              <c:layout>
                <c:manualLayout>
                  <c:x val="0"/>
                  <c:y val="-0.236196319018404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914-4AF2-98D5-3E514D2B615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-45.98664554323139</c:v>
                </c:pt>
                <c:pt idx="1">
                  <c:v>104.39164735095187</c:v>
                </c:pt>
                <c:pt idx="2">
                  <c:v>104.39164735095187</c:v>
                </c:pt>
                <c:pt idx="3">
                  <c:v>253.015360837472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914-4AF2-98D5-3E514D2B6157}"/>
            </c:ext>
          </c:extLst>
        </c:ser>
        <c:ser>
          <c:idx val="1"/>
          <c:order val="1"/>
          <c:spPr>
            <a:solidFill>
              <a:srgbClr val="00777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2"/>
              <c:layout>
                <c:manualLayout>
                  <c:x val="0"/>
                  <c:y val="-0.1558282208588956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914-4AF2-98D5-3E514D2B615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-45.98664554323139</c:v>
                </c:pt>
                <c:pt idx="2">
                  <c:v>148.623713486520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914-4AF2-98D5-3E514D2B61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44563984"/>
        <c:axId val="1"/>
      </c:barChart>
      <c:catAx>
        <c:axId val="10445639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300"/>
          <c:min val="-30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 kern="1200">
                <a:solidFill>
                  <a:schemeClr val="tx1"/>
                </a:solidFill>
                <a:latin typeface="+mn-lt"/>
                <a:ea typeface="+mn-ea"/>
                <a:cs typeface="Arial"/>
                <a:sym typeface="+mn-lt"/>
              </a:defRPr>
            </a:pPr>
            <a:endParaRPr lang="en-US"/>
          </a:p>
        </c:txPr>
        <c:crossAx val="1044563984"/>
        <c:crosses val="min"/>
        <c:crossBetween val="between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6447692085081753E-2"/>
          <c:y val="4.1154791154791155E-2"/>
          <c:w val="0.94602807119085519"/>
          <c:h val="0.917690417690417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30C3E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AB7F-4A04-B1BC-B4A0E68D6CB9}"/>
              </c:ext>
            </c:extLst>
          </c:dPt>
          <c:dPt>
            <c:idx val="2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B7F-4A04-B1BC-B4A0E68D6CB9}"/>
              </c:ext>
            </c:extLst>
          </c:dPt>
          <c:dLbls>
            <c:dLbl>
              <c:idx val="0"/>
              <c:layout>
                <c:manualLayout>
                  <c:x val="0"/>
                  <c:y val="-8.476658476658476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B7F-4A04-B1BC-B4A0E68D6CB9}"/>
                </c:ext>
              </c:extLst>
            </c:dLbl>
            <c:dLbl>
              <c:idx val="3"/>
              <c:layout>
                <c:manualLayout>
                  <c:x val="0"/>
                  <c:y val="-0.172604422604422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B7F-4A04-B1BC-B4A0E68D6CB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-55.613446250000003</c:v>
                </c:pt>
                <c:pt idx="1">
                  <c:v>66.22766415000001</c:v>
                </c:pt>
                <c:pt idx="2">
                  <c:v>66.22766415000001</c:v>
                </c:pt>
                <c:pt idx="3">
                  <c:v>169.755261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B7F-4A04-B1BC-B4A0E68D6CB9}"/>
            </c:ext>
          </c:extLst>
        </c:ser>
        <c:ser>
          <c:idx val="1"/>
          <c:order val="1"/>
          <c:spPr>
            <a:solidFill>
              <a:srgbClr val="00777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2"/>
              <c:layout>
                <c:manualLayout>
                  <c:x val="0"/>
                  <c:y val="-0.1216216216216216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B7F-4A04-B1BC-B4A0E68D6CB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-55.613446250000003</c:v>
                </c:pt>
                <c:pt idx="2">
                  <c:v>103.5275973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B7F-4A04-B1BC-B4A0E68D6C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52137136"/>
        <c:axId val="1"/>
      </c:barChart>
      <c:catAx>
        <c:axId val="7521371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300"/>
          <c:min val="-30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 kern="12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en-US"/>
          </a:p>
        </c:txPr>
        <c:crossAx val="752137136"/>
        <c:crosses val="min"/>
        <c:crossBetween val="between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71648735097412E-2"/>
          <c:y val="5.3072625698324022E-2"/>
          <c:w val="0.96772317534166907"/>
          <c:h val="0.893854748603351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5B4FF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E28C-4986-93CB-5DFE4BAB6028}"/>
              </c:ext>
            </c:extLst>
          </c:dPt>
          <c:val>
            <c:numRef>
              <c:f>Sheet1!$A$1:$R$1</c:f>
              <c:numCache>
                <c:formatCode>General</c:formatCode>
                <c:ptCount val="18"/>
                <c:pt idx="0">
                  <c:v>1.04</c:v>
                </c:pt>
                <c:pt idx="1">
                  <c:v>0.65</c:v>
                </c:pt>
                <c:pt idx="2">
                  <c:v>0.95</c:v>
                </c:pt>
                <c:pt idx="3">
                  <c:v>1.1000000000000001</c:v>
                </c:pt>
                <c:pt idx="4">
                  <c:v>1.1100000000000001</c:v>
                </c:pt>
                <c:pt idx="5">
                  <c:v>1.62</c:v>
                </c:pt>
                <c:pt idx="6">
                  <c:v>0.93</c:v>
                </c:pt>
                <c:pt idx="7">
                  <c:v>2.54</c:v>
                </c:pt>
                <c:pt idx="8">
                  <c:v>4.46</c:v>
                </c:pt>
                <c:pt idx="9">
                  <c:v>2.62</c:v>
                </c:pt>
                <c:pt idx="10">
                  <c:v>3.41</c:v>
                </c:pt>
                <c:pt idx="11">
                  <c:v>5.01</c:v>
                </c:pt>
                <c:pt idx="12">
                  <c:v>1.73</c:v>
                </c:pt>
                <c:pt idx="13">
                  <c:v>3.19</c:v>
                </c:pt>
                <c:pt idx="14">
                  <c:v>0.96</c:v>
                </c:pt>
                <c:pt idx="15">
                  <c:v>2.06</c:v>
                </c:pt>
                <c:pt idx="16">
                  <c:v>1.97</c:v>
                </c:pt>
                <c:pt idx="17">
                  <c:v>2.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28C-4986-93CB-5DFE4BAB60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55088112"/>
        <c:axId val="1"/>
      </c:barChart>
      <c:catAx>
        <c:axId val="6550881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.0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en-US"/>
          </a:p>
        </c:txPr>
        <c:crossAx val="655088112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060908797937477E-2"/>
          <c:y val="2.5791855203619908E-2"/>
          <c:w val="0.92958427328391879"/>
          <c:h val="0.90090497737556563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square"/>
            <c:size val="4"/>
            <c:spPr>
              <a:solidFill>
                <a:srgbClr val="4C6C9C"/>
              </a:solidFill>
              <a:ln w="9525" algn="ctr">
                <a:solidFill>
                  <a:srgbClr val="4C6C9C"/>
                </a:solidFill>
                <a:prstDash val="solid"/>
              </a:ln>
            </c:spPr>
          </c:marker>
          <c:xVal>
            <c:numRef>
              <c:f>Sheet1!$A$1:$A$18</c:f>
              <c:numCache>
                <c:formatCode>General</c:formatCode>
                <c:ptCount val="18"/>
                <c:pt idx="0">
                  <c:v>37212</c:v>
                </c:pt>
                <c:pt idx="1">
                  <c:v>52461</c:v>
                </c:pt>
                <c:pt idx="2">
                  <c:v>42341</c:v>
                </c:pt>
              </c:numCache>
            </c:numRef>
          </c:xVal>
          <c:yVal>
            <c:numRef>
              <c:f>Sheet1!$B$1:$B$18</c:f>
              <c:numCache>
                <c:formatCode>General</c:formatCode>
                <c:ptCount val="18"/>
                <c:pt idx="0">
                  <c:v>1.04</c:v>
                </c:pt>
                <c:pt idx="1">
                  <c:v>0.65</c:v>
                </c:pt>
                <c:pt idx="2">
                  <c:v>0.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CA4-4062-BF41-B0F1C155E562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none"/>
          </c:marker>
          <c:xVal>
            <c:numRef>
              <c:f>Sheet1!$A$1:$A$18</c:f>
              <c:numCache>
                <c:formatCode>General</c:formatCode>
                <c:ptCount val="18"/>
                <c:pt idx="3">
                  <c:v>46748</c:v>
                </c:pt>
                <c:pt idx="4">
                  <c:v>49957</c:v>
                </c:pt>
                <c:pt idx="5">
                  <c:v>42665</c:v>
                </c:pt>
                <c:pt idx="6">
                  <c:v>43606</c:v>
                </c:pt>
              </c:numCache>
            </c:numRef>
          </c:xVal>
          <c:yVal>
            <c:numRef>
              <c:f>Sheet1!$C$1:$C$18</c:f>
              <c:numCache>
                <c:formatCode>General</c:formatCode>
                <c:ptCount val="18"/>
                <c:pt idx="3">
                  <c:v>1.1000000000000001</c:v>
                </c:pt>
                <c:pt idx="4">
                  <c:v>1.1100000000000001</c:v>
                </c:pt>
                <c:pt idx="5">
                  <c:v>1.62</c:v>
                </c:pt>
                <c:pt idx="6">
                  <c:v>0.9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CCA4-4062-BF41-B0F1C155E562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circle"/>
            <c:size val="4"/>
            <c:spPr>
              <a:solidFill>
                <a:srgbClr val="9DB1CF"/>
              </a:solidFill>
              <a:ln w="9525" algn="ctr">
                <a:solidFill>
                  <a:srgbClr val="9DB1CF"/>
                </a:solidFill>
                <a:prstDash val="solid"/>
              </a:ln>
            </c:spPr>
          </c:marker>
          <c:xVal>
            <c:numRef>
              <c:f>Sheet1!$A$1:$A$18</c:f>
              <c:numCache>
                <c:formatCode>General</c:formatCode>
                <c:ptCount val="18"/>
                <c:pt idx="7">
                  <c:v>37359</c:v>
                </c:pt>
                <c:pt idx="8">
                  <c:v>68775</c:v>
                </c:pt>
                <c:pt idx="9">
                  <c:v>65818</c:v>
                </c:pt>
                <c:pt idx="10">
                  <c:v>55698</c:v>
                </c:pt>
              </c:numCache>
            </c:numRef>
          </c:xVal>
          <c:yVal>
            <c:numRef>
              <c:f>Sheet1!$D$1:$D$18</c:f>
              <c:numCache>
                <c:formatCode>General</c:formatCode>
                <c:ptCount val="18"/>
                <c:pt idx="7">
                  <c:v>2.54</c:v>
                </c:pt>
                <c:pt idx="8">
                  <c:v>4.46</c:v>
                </c:pt>
                <c:pt idx="9">
                  <c:v>2.62</c:v>
                </c:pt>
                <c:pt idx="10">
                  <c:v>3.4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CCA4-4062-BF41-B0F1C155E562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diamond"/>
            <c:size val="4"/>
            <c:spPr>
              <a:solidFill>
                <a:srgbClr val="DFE5EF"/>
              </a:solidFill>
              <a:ln w="9525" algn="ctr">
                <a:solidFill>
                  <a:srgbClr val="DFE5EF"/>
                </a:solidFill>
                <a:prstDash val="solid"/>
              </a:ln>
            </c:spPr>
          </c:marker>
          <c:xVal>
            <c:numRef>
              <c:f>Sheet1!$A$1:$A$18</c:f>
              <c:numCache>
                <c:formatCode>General</c:formatCode>
                <c:ptCount val="18"/>
                <c:pt idx="11">
                  <c:v>64099</c:v>
                </c:pt>
                <c:pt idx="12">
                  <c:v>70966</c:v>
                </c:pt>
              </c:numCache>
            </c:numRef>
          </c:xVal>
          <c:yVal>
            <c:numRef>
              <c:f>Sheet1!$E$1:$E$18</c:f>
              <c:numCache>
                <c:formatCode>General</c:formatCode>
                <c:ptCount val="18"/>
                <c:pt idx="11">
                  <c:v>5.01</c:v>
                </c:pt>
                <c:pt idx="12">
                  <c:v>1.7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CCA4-4062-BF41-B0F1C155E562}"/>
            </c:ext>
          </c:extLst>
        </c:ser>
        <c:ser>
          <c:idx val="4"/>
          <c:order val="4"/>
          <c:spPr>
            <a:ln>
              <a:noFill/>
            </a:ln>
          </c:spPr>
          <c:marker>
            <c:symbol val="star"/>
            <c:size val="4"/>
            <c:spPr>
              <a:noFill/>
              <a:ln w="9525" algn="ctr">
                <a:solidFill>
                  <a:srgbClr val="FF0000"/>
                </a:solidFill>
                <a:prstDash val="solid"/>
              </a:ln>
            </c:spPr>
          </c:marker>
          <c:xVal>
            <c:numRef>
              <c:f>Sheet1!$A$1:$A$18</c:f>
              <c:numCache>
                <c:formatCode>General</c:formatCode>
                <c:ptCount val="18"/>
                <c:pt idx="13">
                  <c:v>128343</c:v>
                </c:pt>
                <c:pt idx="14">
                  <c:v>55378</c:v>
                </c:pt>
                <c:pt idx="15">
                  <c:v>59808</c:v>
                </c:pt>
                <c:pt idx="16">
                  <c:v>95027</c:v>
                </c:pt>
              </c:numCache>
            </c:numRef>
          </c:xVal>
          <c:yVal>
            <c:numRef>
              <c:f>Sheet1!$F$1:$F$18</c:f>
              <c:numCache>
                <c:formatCode>General</c:formatCode>
                <c:ptCount val="18"/>
                <c:pt idx="13">
                  <c:v>3.19</c:v>
                </c:pt>
                <c:pt idx="14">
                  <c:v>0.96</c:v>
                </c:pt>
                <c:pt idx="15">
                  <c:v>2.06</c:v>
                </c:pt>
                <c:pt idx="16">
                  <c:v>1.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CCA4-4062-BF41-B0F1C155E562}"/>
            </c:ext>
          </c:extLst>
        </c:ser>
        <c:ser>
          <c:idx val="5"/>
          <c:order val="5"/>
          <c:spPr>
            <a:ln>
              <a:noFill/>
            </a:ln>
          </c:spPr>
          <c:marker>
            <c:symbol val="none"/>
          </c:marker>
          <c:xVal>
            <c:numRef>
              <c:f>Sheet1!$A$1:$A$18</c:f>
              <c:numCache>
                <c:formatCode>General</c:formatCode>
                <c:ptCount val="18"/>
                <c:pt idx="17">
                  <c:v>65209</c:v>
                </c:pt>
              </c:numCache>
            </c:numRef>
          </c:xVal>
          <c:yVal>
            <c:numRef>
              <c:f>Sheet1!$G$1:$G$18</c:f>
              <c:numCache>
                <c:formatCode>General</c:formatCode>
                <c:ptCount val="18"/>
                <c:pt idx="17">
                  <c:v>2.7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CCA4-4062-BF41-B0F1C155E5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31249168"/>
        <c:axId val="1"/>
      </c:scatterChart>
      <c:valAx>
        <c:axId val="531249168"/>
        <c:scaling>
          <c:orientation val="minMax"/>
          <c:max val="130000"/>
          <c:min val="20000"/>
        </c:scaling>
        <c:delete val="0"/>
        <c:axPos val="b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1"/>
        <c:crosses val="min"/>
        <c:crossBetween val="midCat"/>
        <c:majorUnit val="10000"/>
      </c:valAx>
      <c:valAx>
        <c:axId val="1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531249168"/>
        <c:crosses val="min"/>
        <c:crossBetween val="midCat"/>
        <c:majorUnit val="1"/>
      </c:valAx>
      <c:spPr>
        <a:noFill/>
        <a:ln w="9525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923076923076927E-3"/>
          <c:y val="4.4142614601018676E-2"/>
          <c:w val="0.98461538461538467"/>
          <c:h val="0.911714770797962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5B4FF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8973-4E2E-8032-5183BD8A85B9}"/>
              </c:ext>
            </c:extLst>
          </c:dPt>
          <c:val>
            <c:numRef>
              <c:f>Sheet1!$A$1:$R$1</c:f>
              <c:numCache>
                <c:formatCode>General</c:formatCode>
                <c:ptCount val="18"/>
                <c:pt idx="0">
                  <c:v>0.27</c:v>
                </c:pt>
                <c:pt idx="1">
                  <c:v>0.28999999999999998</c:v>
                </c:pt>
                <c:pt idx="2">
                  <c:v>0.24</c:v>
                </c:pt>
                <c:pt idx="3">
                  <c:v>0.28000000000000003</c:v>
                </c:pt>
                <c:pt idx="4">
                  <c:v>0.31</c:v>
                </c:pt>
                <c:pt idx="5">
                  <c:v>0.24</c:v>
                </c:pt>
                <c:pt idx="6">
                  <c:v>0.27</c:v>
                </c:pt>
                <c:pt idx="7">
                  <c:v>0.65</c:v>
                </c:pt>
                <c:pt idx="8">
                  <c:v>0.44</c:v>
                </c:pt>
                <c:pt idx="9">
                  <c:v>0.31</c:v>
                </c:pt>
                <c:pt idx="10">
                  <c:v>0.5</c:v>
                </c:pt>
                <c:pt idx="11">
                  <c:v>0.95</c:v>
                </c:pt>
                <c:pt idx="12">
                  <c:v>0.51</c:v>
                </c:pt>
                <c:pt idx="13">
                  <c:v>0.45</c:v>
                </c:pt>
                <c:pt idx="14">
                  <c:v>0.38</c:v>
                </c:pt>
                <c:pt idx="15">
                  <c:v>0.37</c:v>
                </c:pt>
                <c:pt idx="16">
                  <c:v>0.31</c:v>
                </c:pt>
                <c:pt idx="17">
                  <c:v>0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973-4E2E-8032-5183BD8A85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66608504"/>
        <c:axId val="1"/>
      </c:barChart>
      <c:catAx>
        <c:axId val="8666085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866608504"/>
        <c:crosses val="min"/>
        <c:crossBetween val="between"/>
        <c:majorUnit val="0.2"/>
      </c:valAx>
    </c:plotArea>
    <c:plotVisOnly val="0"/>
    <c:dispBlanksAs val="gap"/>
    <c:showDLblsOverMax val="1"/>
  </c:chart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540779839945509E-3"/>
          <c:y val="2.4821002386634844E-2"/>
          <c:w val="0.98229184403201086"/>
          <c:h val="0.95035799522673026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square"/>
            <c:size val="4"/>
            <c:spPr>
              <a:solidFill>
                <a:srgbClr val="4C6C9C"/>
              </a:solidFill>
              <a:ln w="9525" algn="ctr">
                <a:solidFill>
                  <a:srgbClr val="4C6C9C"/>
                </a:solidFill>
                <a:prstDash val="solid"/>
              </a:ln>
            </c:spPr>
          </c:marker>
          <c:xVal>
            <c:numRef>
              <c:f>Sheet1!$A$1:$A$18</c:f>
              <c:numCache>
                <c:formatCode>General</c:formatCode>
                <c:ptCount val="18"/>
                <c:pt idx="0">
                  <c:v>37212</c:v>
                </c:pt>
                <c:pt idx="1">
                  <c:v>52461</c:v>
                </c:pt>
                <c:pt idx="2">
                  <c:v>42341</c:v>
                </c:pt>
              </c:numCache>
            </c:numRef>
          </c:xVal>
          <c:yVal>
            <c:numRef>
              <c:f>Sheet1!$B$1:$B$18</c:f>
              <c:numCache>
                <c:formatCode>General</c:formatCode>
                <c:ptCount val="18"/>
                <c:pt idx="0">
                  <c:v>0.27</c:v>
                </c:pt>
                <c:pt idx="1">
                  <c:v>0.28999999999999998</c:v>
                </c:pt>
                <c:pt idx="2">
                  <c:v>0.2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ACE-49A2-9824-0BD07266B777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none"/>
          </c:marker>
          <c:xVal>
            <c:numRef>
              <c:f>Sheet1!$A$1:$A$18</c:f>
              <c:numCache>
                <c:formatCode>General</c:formatCode>
                <c:ptCount val="18"/>
                <c:pt idx="3">
                  <c:v>46748</c:v>
                </c:pt>
                <c:pt idx="4">
                  <c:v>49957</c:v>
                </c:pt>
                <c:pt idx="5">
                  <c:v>42665</c:v>
                </c:pt>
                <c:pt idx="6">
                  <c:v>43606</c:v>
                </c:pt>
              </c:numCache>
            </c:numRef>
          </c:xVal>
          <c:yVal>
            <c:numRef>
              <c:f>Sheet1!$C$1:$C$18</c:f>
              <c:numCache>
                <c:formatCode>General</c:formatCode>
                <c:ptCount val="18"/>
                <c:pt idx="3">
                  <c:v>0.28000000000000003</c:v>
                </c:pt>
                <c:pt idx="4">
                  <c:v>0.31</c:v>
                </c:pt>
                <c:pt idx="5">
                  <c:v>0.24</c:v>
                </c:pt>
                <c:pt idx="6">
                  <c:v>0.2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ACE-49A2-9824-0BD07266B777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circle"/>
            <c:size val="4"/>
            <c:spPr>
              <a:solidFill>
                <a:srgbClr val="9DB1CF"/>
              </a:solidFill>
              <a:ln w="9525" algn="ctr">
                <a:solidFill>
                  <a:srgbClr val="9DB1CF"/>
                </a:solidFill>
                <a:prstDash val="solid"/>
              </a:ln>
            </c:spPr>
          </c:marker>
          <c:xVal>
            <c:numRef>
              <c:f>Sheet1!$A$1:$A$18</c:f>
              <c:numCache>
                <c:formatCode>General</c:formatCode>
                <c:ptCount val="18"/>
                <c:pt idx="7">
                  <c:v>37359</c:v>
                </c:pt>
                <c:pt idx="8">
                  <c:v>68775</c:v>
                </c:pt>
                <c:pt idx="9">
                  <c:v>65818</c:v>
                </c:pt>
                <c:pt idx="10">
                  <c:v>55698</c:v>
                </c:pt>
              </c:numCache>
            </c:numRef>
          </c:xVal>
          <c:yVal>
            <c:numRef>
              <c:f>Sheet1!$D$1:$D$18</c:f>
              <c:numCache>
                <c:formatCode>General</c:formatCode>
                <c:ptCount val="18"/>
                <c:pt idx="7">
                  <c:v>0.65</c:v>
                </c:pt>
                <c:pt idx="8">
                  <c:v>0.44</c:v>
                </c:pt>
                <c:pt idx="9">
                  <c:v>0.31</c:v>
                </c:pt>
                <c:pt idx="10">
                  <c:v>0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0ACE-49A2-9824-0BD07266B777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diamond"/>
            <c:size val="4"/>
            <c:spPr>
              <a:solidFill>
                <a:srgbClr val="DFE5EF"/>
              </a:solidFill>
              <a:ln w="9525" algn="ctr">
                <a:solidFill>
                  <a:srgbClr val="DFE5EF"/>
                </a:solidFill>
                <a:prstDash val="solid"/>
              </a:ln>
            </c:spPr>
          </c:marker>
          <c:xVal>
            <c:numRef>
              <c:f>Sheet1!$A$1:$A$18</c:f>
              <c:numCache>
                <c:formatCode>General</c:formatCode>
                <c:ptCount val="18"/>
                <c:pt idx="11">
                  <c:v>64099</c:v>
                </c:pt>
                <c:pt idx="12">
                  <c:v>70966</c:v>
                </c:pt>
              </c:numCache>
            </c:numRef>
          </c:xVal>
          <c:yVal>
            <c:numRef>
              <c:f>Sheet1!$E$1:$E$18</c:f>
              <c:numCache>
                <c:formatCode>General</c:formatCode>
                <c:ptCount val="18"/>
                <c:pt idx="11">
                  <c:v>0.95</c:v>
                </c:pt>
                <c:pt idx="12">
                  <c:v>0.5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0ACE-49A2-9824-0BD07266B777}"/>
            </c:ext>
          </c:extLst>
        </c:ser>
        <c:ser>
          <c:idx val="4"/>
          <c:order val="4"/>
          <c:spPr>
            <a:ln>
              <a:noFill/>
            </a:ln>
          </c:spPr>
          <c:marker>
            <c:symbol val="star"/>
            <c:size val="4"/>
            <c:spPr>
              <a:noFill/>
              <a:ln w="9525" algn="ctr">
                <a:solidFill>
                  <a:srgbClr val="FF0000"/>
                </a:solidFill>
                <a:prstDash val="solid"/>
              </a:ln>
            </c:spPr>
          </c:marker>
          <c:xVal>
            <c:numRef>
              <c:f>Sheet1!$A$1:$A$18</c:f>
              <c:numCache>
                <c:formatCode>General</c:formatCode>
                <c:ptCount val="18"/>
                <c:pt idx="13">
                  <c:v>128343</c:v>
                </c:pt>
                <c:pt idx="14">
                  <c:v>55378</c:v>
                </c:pt>
                <c:pt idx="15">
                  <c:v>59808</c:v>
                </c:pt>
                <c:pt idx="16">
                  <c:v>95027</c:v>
                </c:pt>
              </c:numCache>
            </c:numRef>
          </c:xVal>
          <c:yVal>
            <c:numRef>
              <c:f>Sheet1!$F$1:$F$18</c:f>
              <c:numCache>
                <c:formatCode>General</c:formatCode>
                <c:ptCount val="18"/>
                <c:pt idx="13">
                  <c:v>0.45</c:v>
                </c:pt>
                <c:pt idx="14">
                  <c:v>0.38</c:v>
                </c:pt>
                <c:pt idx="15">
                  <c:v>0.37</c:v>
                </c:pt>
                <c:pt idx="16">
                  <c:v>0.3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0ACE-49A2-9824-0BD07266B777}"/>
            </c:ext>
          </c:extLst>
        </c:ser>
        <c:ser>
          <c:idx val="5"/>
          <c:order val="5"/>
          <c:spPr>
            <a:ln>
              <a:noFill/>
            </a:ln>
          </c:spPr>
          <c:marker>
            <c:symbol val="none"/>
          </c:marker>
          <c:xVal>
            <c:numRef>
              <c:f>Sheet1!$A$1:$A$18</c:f>
              <c:numCache>
                <c:formatCode>General</c:formatCode>
                <c:ptCount val="18"/>
                <c:pt idx="17">
                  <c:v>65209</c:v>
                </c:pt>
              </c:numCache>
            </c:numRef>
          </c:xVal>
          <c:yVal>
            <c:numRef>
              <c:f>Sheet1!$G$1:$G$18</c:f>
              <c:numCache>
                <c:formatCode>General</c:formatCode>
                <c:ptCount val="18"/>
                <c:pt idx="17">
                  <c:v>0.4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0ACE-49A2-9824-0BD07266B7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39996464"/>
        <c:axId val="1"/>
      </c:scatterChart>
      <c:valAx>
        <c:axId val="539996464"/>
        <c:scaling>
          <c:orientation val="minMax"/>
          <c:max val="130000"/>
          <c:min val="2000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1"/>
        <c:crosses val="min"/>
        <c:crossBetween val="midCat"/>
        <c:majorUnit val="10000"/>
      </c:valAx>
      <c:valAx>
        <c:axId val="1"/>
        <c:scaling>
          <c:orientation val="minMax"/>
          <c:max val="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539996464"/>
        <c:crosses val="min"/>
        <c:crossBetween val="midCat"/>
        <c:majorUnit val="0.2"/>
      </c:valAx>
      <c:spPr>
        <a:noFill/>
        <a:ln w="9525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923076923076927E-3"/>
          <c:y val="4.1599999999999998E-2"/>
          <c:w val="0.98461538461538467"/>
          <c:h val="0.9167999999999999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5B4FF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AE5C-4777-B37E-2CA492EB002A}"/>
              </c:ext>
            </c:extLst>
          </c:dPt>
          <c:val>
            <c:numRef>
              <c:f>Sheet1!$A$1:$R$1</c:f>
              <c:numCache>
                <c:formatCode>General</c:formatCode>
                <c:ptCount val="18"/>
                <c:pt idx="0">
                  <c:v>0.19</c:v>
                </c:pt>
                <c:pt idx="1">
                  <c:v>0.16</c:v>
                </c:pt>
                <c:pt idx="2">
                  <c:v>0.15</c:v>
                </c:pt>
                <c:pt idx="3">
                  <c:v>0.14000000000000001</c:v>
                </c:pt>
                <c:pt idx="4">
                  <c:v>0.12</c:v>
                </c:pt>
                <c:pt idx="5">
                  <c:v>0.1</c:v>
                </c:pt>
                <c:pt idx="6">
                  <c:v>0.1</c:v>
                </c:pt>
                <c:pt idx="7">
                  <c:v>0.12</c:v>
                </c:pt>
                <c:pt idx="8">
                  <c:v>0.21</c:v>
                </c:pt>
                <c:pt idx="9">
                  <c:v>0.15</c:v>
                </c:pt>
                <c:pt idx="10">
                  <c:v>0.16</c:v>
                </c:pt>
                <c:pt idx="11">
                  <c:v>0.16</c:v>
                </c:pt>
                <c:pt idx="12">
                  <c:v>0.12</c:v>
                </c:pt>
                <c:pt idx="13">
                  <c:v>0.16</c:v>
                </c:pt>
                <c:pt idx="14">
                  <c:v>0.09</c:v>
                </c:pt>
                <c:pt idx="15">
                  <c:v>0.12</c:v>
                </c:pt>
                <c:pt idx="16">
                  <c:v>0.15</c:v>
                </c:pt>
                <c:pt idx="17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5C-4777-B37E-2CA492EB00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85078288"/>
        <c:axId val="1"/>
      </c:barChart>
      <c:catAx>
        <c:axId val="8850782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0.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885078288"/>
        <c:crosses val="min"/>
        <c:crossBetween val="between"/>
        <c:majorUnit val="0.2"/>
      </c:valAx>
    </c:plotArea>
    <c:plotVisOnly val="0"/>
    <c:dispBlanksAs val="gap"/>
    <c:showDLblsOverMax val="1"/>
  </c:chart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540779839945509E-3"/>
          <c:y val="2.4821002386634844E-2"/>
          <c:w val="0.98229184403201086"/>
          <c:h val="0.95035799522673026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square"/>
            <c:size val="4"/>
            <c:spPr>
              <a:solidFill>
                <a:srgbClr val="4C6C9C"/>
              </a:solidFill>
              <a:ln w="9525" algn="ctr">
                <a:solidFill>
                  <a:srgbClr val="4C6C9C"/>
                </a:solidFill>
                <a:prstDash val="solid"/>
              </a:ln>
            </c:spPr>
          </c:marker>
          <c:xVal>
            <c:numRef>
              <c:f>Sheet1!$A$1:$A$18</c:f>
              <c:numCache>
                <c:formatCode>General</c:formatCode>
                <c:ptCount val="18"/>
                <c:pt idx="0">
                  <c:v>37212</c:v>
                </c:pt>
                <c:pt idx="1">
                  <c:v>52461</c:v>
                </c:pt>
                <c:pt idx="2">
                  <c:v>42341</c:v>
                </c:pt>
                <c:pt idx="3">
                  <c:v>46748</c:v>
                </c:pt>
                <c:pt idx="4">
                  <c:v>49957</c:v>
                </c:pt>
                <c:pt idx="5">
                  <c:v>42665</c:v>
                </c:pt>
                <c:pt idx="6">
                  <c:v>43606</c:v>
                </c:pt>
              </c:numCache>
            </c:numRef>
          </c:xVal>
          <c:yVal>
            <c:numRef>
              <c:f>Sheet1!$B$1:$B$18</c:f>
              <c:numCache>
                <c:formatCode>General</c:formatCode>
                <c:ptCount val="18"/>
                <c:pt idx="0">
                  <c:v>0.19</c:v>
                </c:pt>
                <c:pt idx="1">
                  <c:v>0.16</c:v>
                </c:pt>
                <c:pt idx="2">
                  <c:v>0.15</c:v>
                </c:pt>
                <c:pt idx="3">
                  <c:v>0.14000000000000001</c:v>
                </c:pt>
                <c:pt idx="4">
                  <c:v>0.12</c:v>
                </c:pt>
                <c:pt idx="5">
                  <c:v>0.1</c:v>
                </c:pt>
                <c:pt idx="6">
                  <c:v>0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C72-44E9-A685-043A7D68D628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circle"/>
            <c:size val="4"/>
            <c:spPr>
              <a:solidFill>
                <a:srgbClr val="9DB1CF"/>
              </a:solidFill>
              <a:ln w="9525" algn="ctr">
                <a:solidFill>
                  <a:srgbClr val="9DB1CF"/>
                </a:solidFill>
                <a:prstDash val="solid"/>
              </a:ln>
            </c:spPr>
          </c:marker>
          <c:xVal>
            <c:numRef>
              <c:f>Sheet1!$A$1:$A$18</c:f>
              <c:numCache>
                <c:formatCode>General</c:formatCode>
                <c:ptCount val="18"/>
                <c:pt idx="7">
                  <c:v>37359</c:v>
                </c:pt>
              </c:numCache>
            </c:numRef>
          </c:xVal>
          <c:yVal>
            <c:numRef>
              <c:f>Sheet1!$C$1:$C$18</c:f>
              <c:numCache>
                <c:formatCode>General</c:formatCode>
                <c:ptCount val="18"/>
                <c:pt idx="7">
                  <c:v>0.1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FC72-44E9-A685-043A7D68D628}"/>
            </c:ext>
          </c:extLst>
        </c:ser>
        <c:ser>
          <c:idx val="2"/>
          <c:order val="2"/>
          <c:spPr>
            <a:ln>
              <a:noFill/>
            </a:ln>
          </c:spPr>
          <c:marker>
            <c:symbol val="diamond"/>
            <c:size val="4"/>
            <c:spPr>
              <a:solidFill>
                <a:srgbClr val="DFE5EF"/>
              </a:solidFill>
              <a:ln w="9525" algn="ctr">
                <a:solidFill>
                  <a:srgbClr val="DFE5EF"/>
                </a:solidFill>
                <a:prstDash val="solid"/>
              </a:ln>
            </c:spPr>
          </c:marker>
          <c:xVal>
            <c:numRef>
              <c:f>Sheet1!$A$1:$A$18</c:f>
              <c:numCache>
                <c:formatCode>General</c:formatCode>
                <c:ptCount val="18"/>
                <c:pt idx="8">
                  <c:v>68775</c:v>
                </c:pt>
                <c:pt idx="9">
                  <c:v>65818</c:v>
                </c:pt>
                <c:pt idx="10">
                  <c:v>55698</c:v>
                </c:pt>
                <c:pt idx="11">
                  <c:v>64099</c:v>
                </c:pt>
                <c:pt idx="12">
                  <c:v>70966</c:v>
                </c:pt>
              </c:numCache>
            </c:numRef>
          </c:xVal>
          <c:yVal>
            <c:numRef>
              <c:f>Sheet1!$D$1:$D$18</c:f>
              <c:numCache>
                <c:formatCode>General</c:formatCode>
                <c:ptCount val="18"/>
                <c:pt idx="8">
                  <c:v>0.21</c:v>
                </c:pt>
                <c:pt idx="9">
                  <c:v>0.15</c:v>
                </c:pt>
                <c:pt idx="10">
                  <c:v>0.16</c:v>
                </c:pt>
                <c:pt idx="11">
                  <c:v>0.16</c:v>
                </c:pt>
                <c:pt idx="12">
                  <c:v>0.1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FC72-44E9-A685-043A7D68D628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star"/>
            <c:size val="4"/>
            <c:spPr>
              <a:noFill/>
              <a:ln w="9525" algn="ctr">
                <a:solidFill>
                  <a:srgbClr val="FF0000"/>
                </a:solidFill>
                <a:prstDash val="solid"/>
              </a:ln>
            </c:spPr>
          </c:marker>
          <c:xVal>
            <c:numRef>
              <c:f>Sheet1!$A$1:$A$18</c:f>
              <c:numCache>
                <c:formatCode>General</c:formatCode>
                <c:ptCount val="18"/>
                <c:pt idx="13">
                  <c:v>128343</c:v>
                </c:pt>
                <c:pt idx="14">
                  <c:v>55378</c:v>
                </c:pt>
                <c:pt idx="15">
                  <c:v>59808</c:v>
                </c:pt>
              </c:numCache>
            </c:numRef>
          </c:xVal>
          <c:yVal>
            <c:numRef>
              <c:f>Sheet1!$E$1:$E$18</c:f>
              <c:numCache>
                <c:formatCode>General</c:formatCode>
                <c:ptCount val="18"/>
                <c:pt idx="13">
                  <c:v>0.16</c:v>
                </c:pt>
                <c:pt idx="14">
                  <c:v>0.09</c:v>
                </c:pt>
                <c:pt idx="15">
                  <c:v>0.1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FC72-44E9-A685-043A7D68D628}"/>
            </c:ext>
          </c:extLst>
        </c:ser>
        <c:ser>
          <c:idx val="4"/>
          <c:order val="4"/>
          <c:spPr>
            <a:ln>
              <a:noFill/>
            </a:ln>
          </c:spPr>
          <c:marker>
            <c:symbol val="none"/>
          </c:marker>
          <c:xVal>
            <c:numRef>
              <c:f>Sheet1!$A$1:$A$18</c:f>
              <c:numCache>
                <c:formatCode>General</c:formatCode>
                <c:ptCount val="18"/>
                <c:pt idx="16">
                  <c:v>95027</c:v>
                </c:pt>
                <c:pt idx="17">
                  <c:v>65209</c:v>
                </c:pt>
              </c:numCache>
            </c:numRef>
          </c:xVal>
          <c:yVal>
            <c:numRef>
              <c:f>Sheet1!$F$1:$F$18</c:f>
              <c:numCache>
                <c:formatCode>General</c:formatCode>
                <c:ptCount val="18"/>
                <c:pt idx="16">
                  <c:v>0.15</c:v>
                </c:pt>
                <c:pt idx="17">
                  <c:v>0.0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FC72-44E9-A685-043A7D68D6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60265344"/>
        <c:axId val="1"/>
      </c:scatterChart>
      <c:valAx>
        <c:axId val="960265344"/>
        <c:scaling>
          <c:orientation val="minMax"/>
          <c:max val="130000"/>
          <c:min val="2000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1"/>
        <c:crosses val="min"/>
        <c:crossBetween val="midCat"/>
        <c:majorUnit val="10000"/>
      </c:valAx>
      <c:valAx>
        <c:axId val="1"/>
        <c:scaling>
          <c:orientation val="minMax"/>
          <c:max val="0.28000000000000003"/>
          <c:min val="0.04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960265344"/>
        <c:crosses val="min"/>
        <c:crossBetween val="midCat"/>
        <c:majorUnit val="0.04"/>
      </c:valAx>
      <c:spPr>
        <a:noFill/>
        <a:ln w="9525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854234150856085"/>
          <c:y val="5.620805369127517E-2"/>
          <c:w val="0.82739472466450714"/>
          <c:h val="0.8875838926174496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5B4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30C3E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CAC-46C7-95A1-9C065D73F81B}"/>
              </c:ext>
            </c:extLst>
          </c:dPt>
          <c:dPt>
            <c:idx val="2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CAC-46C7-95A1-9C065D73F81B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-55.61</c:v>
                </c:pt>
                <c:pt idx="1">
                  <c:v>66.19</c:v>
                </c:pt>
                <c:pt idx="2">
                  <c:v>66.19</c:v>
                </c:pt>
                <c:pt idx="3">
                  <c:v>169.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CAC-46C7-95A1-9C065D73F81B}"/>
            </c:ext>
          </c:extLst>
        </c:ser>
        <c:ser>
          <c:idx val="1"/>
          <c:order val="1"/>
          <c:spPr>
            <a:solidFill>
              <a:srgbClr val="25B4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1">
                  <c:v>-55.61</c:v>
                </c:pt>
                <c:pt idx="2">
                  <c:v>103.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CAC-46C7-95A1-9C065D73F8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79002616"/>
        <c:axId val="1"/>
      </c:barChart>
      <c:catAx>
        <c:axId val="5790026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300"/>
          <c:min val="-30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pPr>
            <a:endParaRPr lang="en-US"/>
          </a:p>
        </c:txPr>
        <c:crossAx val="579002616"/>
        <c:crosses val="min"/>
        <c:crossBetween val="between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446358416440015E-2"/>
          <c:y val="3.5714285714285712E-2"/>
          <c:w val="0.94469628286491392"/>
          <c:h val="0.928571428571428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5187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58.199999999999996</c:v>
                </c:pt>
                <c:pt idx="1">
                  <c:v>22.2</c:v>
                </c:pt>
                <c:pt idx="2">
                  <c:v>44.5</c:v>
                </c:pt>
                <c:pt idx="3">
                  <c:v>23.599999999999998</c:v>
                </c:pt>
                <c:pt idx="4">
                  <c:v>80.300000000000011</c:v>
                </c:pt>
                <c:pt idx="5">
                  <c:v>23.599999999999998</c:v>
                </c:pt>
                <c:pt idx="6">
                  <c:v>51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37-48D5-AEB0-1B21B8F066E6}"/>
            </c:ext>
          </c:extLst>
        </c:ser>
        <c:ser>
          <c:idx val="1"/>
          <c:order val="1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G$2</c:f>
              <c:numCache>
                <c:formatCode>General</c:formatCode>
                <c:ptCount val="7"/>
                <c:pt idx="0">
                  <c:v>25.1</c:v>
                </c:pt>
                <c:pt idx="1">
                  <c:v>15.299999999999999</c:v>
                </c:pt>
                <c:pt idx="2">
                  <c:v>27.600000000000009</c:v>
                </c:pt>
                <c:pt idx="3">
                  <c:v>13.3</c:v>
                </c:pt>
                <c:pt idx="4">
                  <c:v>14.500000000000002</c:v>
                </c:pt>
                <c:pt idx="5">
                  <c:v>13.8</c:v>
                </c:pt>
                <c:pt idx="6">
                  <c:v>28.7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537-48D5-AEB0-1B21B8F066E6}"/>
            </c:ext>
          </c:extLst>
        </c:ser>
        <c:ser>
          <c:idx val="2"/>
          <c:order val="2"/>
          <c:spPr>
            <a:solidFill>
              <a:srgbClr val="25B4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G$3</c:f>
              <c:numCache>
                <c:formatCode>General</c:formatCode>
                <c:ptCount val="7"/>
                <c:pt idx="0">
                  <c:v>10.099999999999998</c:v>
                </c:pt>
                <c:pt idx="1">
                  <c:v>11.899999999999999</c:v>
                </c:pt>
                <c:pt idx="2">
                  <c:v>17.000000000000004</c:v>
                </c:pt>
                <c:pt idx="3">
                  <c:v>10.399999999999999</c:v>
                </c:pt>
                <c:pt idx="4">
                  <c:v>2.6000000000000023</c:v>
                </c:pt>
                <c:pt idx="5">
                  <c:v>9.9999999999999982</c:v>
                </c:pt>
                <c:pt idx="6">
                  <c:v>14.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537-48D5-AEB0-1B21B8F066E6}"/>
            </c:ext>
          </c:extLst>
        </c:ser>
        <c:ser>
          <c:idx val="3"/>
          <c:order val="3"/>
          <c:spPr>
            <a:solidFill>
              <a:srgbClr val="CAE3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4:$G$4</c:f>
              <c:numCache>
                <c:formatCode>General</c:formatCode>
                <c:ptCount val="7"/>
                <c:pt idx="0">
                  <c:v>6.6000000000000059</c:v>
                </c:pt>
                <c:pt idx="1">
                  <c:v>50.6</c:v>
                </c:pt>
                <c:pt idx="2">
                  <c:v>10.900000000000009</c:v>
                </c:pt>
                <c:pt idx="3">
                  <c:v>52.7</c:v>
                </c:pt>
                <c:pt idx="4">
                  <c:v>2.5999999999999912</c:v>
                </c:pt>
                <c:pt idx="5">
                  <c:v>52.6</c:v>
                </c:pt>
                <c:pt idx="6">
                  <c:v>5.30000000000000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537-48D5-AEB0-1B21B8F066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957475360"/>
        <c:axId val="1"/>
      </c:barChart>
      <c:catAx>
        <c:axId val="9574753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en-US"/>
          </a:p>
        </c:txPr>
        <c:crossAx val="957475360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956763073327487E-3"/>
          <c:y val="3.4414295168762411E-2"/>
          <c:w val="0.98480864738533447"/>
          <c:h val="0.9311714096624751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24</c:v>
                </c:pt>
                <c:pt idx="1">
                  <c:v>37.73829642895295</c:v>
                </c:pt>
                <c:pt idx="2">
                  <c:v>21.89551708213887</c:v>
                </c:pt>
                <c:pt idx="3">
                  <c:v>34.163882938731234</c:v>
                </c:pt>
                <c:pt idx="4">
                  <c:v>18.426658317286044</c:v>
                </c:pt>
                <c:pt idx="5">
                  <c:v>34.300876421941702</c:v>
                </c:pt>
                <c:pt idx="6">
                  <c:v>14.08320321267168</c:v>
                </c:pt>
                <c:pt idx="7">
                  <c:v>31.41474864795476</c:v>
                </c:pt>
                <c:pt idx="8">
                  <c:v>18.294316344958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41-41D0-92A3-EF1B7629A13E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I$2</c:f>
              <c:numCache>
                <c:formatCode>General</c:formatCode>
                <c:ptCount val="9"/>
                <c:pt idx="0">
                  <c:v>37.700000000000003</c:v>
                </c:pt>
                <c:pt idx="1">
                  <c:v>74.987859810217756</c:v>
                </c:pt>
                <c:pt idx="2">
                  <c:v>66.231642436216447</c:v>
                </c:pt>
                <c:pt idx="3">
                  <c:v>54.620776576009767</c:v>
                </c:pt>
                <c:pt idx="4">
                  <c:v>76.993189261632779</c:v>
                </c:pt>
                <c:pt idx="5">
                  <c:v>48.751635585999701</c:v>
                </c:pt>
                <c:pt idx="6">
                  <c:v>46.411631088410651</c:v>
                </c:pt>
                <c:pt idx="7">
                  <c:v>54.786079764816776</c:v>
                </c:pt>
                <c:pt idx="8">
                  <c:v>48.8403107302663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141-41D0-92A3-EF1B7629A1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629138544"/>
        <c:axId val="1"/>
      </c:barChart>
      <c:catAx>
        <c:axId val="6291385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6.99318926163277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291385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443396226415094"/>
          <c:y val="3.8433111603843315E-2"/>
          <c:w val="0.69654088050314467"/>
          <c:h val="0.9231337767923133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7770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DFD-462E-B668-E201D6297C27}"/>
              </c:ext>
            </c:extLst>
          </c:dPt>
          <c:dPt>
            <c:idx val="2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DFD-462E-B668-E201D6297C27}"/>
              </c:ext>
            </c:extLst>
          </c:dPt>
          <c:dPt>
            <c:idx val="3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DDFD-462E-B668-E201D6297C27}"/>
              </c:ext>
            </c:extLst>
          </c:dPt>
          <c:dLbls>
            <c:dLbl>
              <c:idx val="0"/>
              <c:layout>
                <c:manualLayout>
                  <c:x val="0.25235849056603776"/>
                  <c:y val="2.217294900221729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DFD-462E-B668-E201D6297C27}"/>
                </c:ext>
              </c:extLst>
            </c:dLbl>
            <c:dLbl>
              <c:idx val="1"/>
              <c:layout>
                <c:manualLayout>
                  <c:x val="0.12735849056603774"/>
                  <c:y val="2.217294900221729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+mj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DFD-462E-B668-E201D6297C27}"/>
                </c:ext>
              </c:extLst>
            </c:dLbl>
            <c:dLbl>
              <c:idx val="2"/>
              <c:layout>
                <c:manualLayout>
                  <c:x val="6.9968553459119495E-2"/>
                  <c:y val="2.217294900221729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DFD-462E-B668-E201D6297C27}"/>
                </c:ext>
              </c:extLst>
            </c:dLbl>
            <c:dLbl>
              <c:idx val="3"/>
              <c:layout>
                <c:manualLayout>
                  <c:x val="-6.761006289308176E-2"/>
                  <c:y val="-2.2172949002217295E-3"/>
                </c:manualLayout>
              </c:layout>
              <c:numFmt formatCode="#,##0&quot;%&quot;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DFD-462E-B668-E201D6297C27}"/>
                </c:ext>
              </c:extLst>
            </c:dLbl>
            <c:dLbl>
              <c:idx val="4"/>
              <c:layout>
                <c:manualLayout>
                  <c:x val="0.4308176100628931"/>
                  <c:y val="2.217294900221729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j-lt"/>
                      <a:ea typeface="+mj-ea"/>
                      <a:cs typeface="+mj-cs"/>
                      <a:sym typeface="+mj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DFD-462E-B668-E201D6297C2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8.5612596311454023</c:v>
                </c:pt>
                <c:pt idx="1">
                  <c:v>2.8157328085534759</c:v>
                </c:pt>
                <c:pt idx="2">
                  <c:v>0.1714133081210579</c:v>
                </c:pt>
                <c:pt idx="3">
                  <c:v>-4.1128555975746557E-2</c:v>
                </c:pt>
                <c:pt idx="4">
                  <c:v>15.94228569050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DFD-462E-B668-E201D6297C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75832280"/>
        <c:axId val="1"/>
      </c:barChart>
      <c:catAx>
        <c:axId val="57583228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5.9422856905096"/>
          <c:min val="-4.1128555975746557E-2"/>
        </c:scaling>
        <c:delete val="1"/>
        <c:axPos val="t"/>
        <c:numFmt formatCode="General" sourceLinked="1"/>
        <c:majorTickMark val="out"/>
        <c:minorTickMark val="none"/>
        <c:tickLblPos val="nextTo"/>
        <c:crossAx val="5758322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289338612699809E-2"/>
          <c:y val="3.7966932026944275E-2"/>
          <c:w val="0.95908490981082273"/>
          <c:h val="0.9240661359461114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CC7D-4A8D-B4E7-5F8C957E32E3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C7D-4A8D-B4E7-5F8C957E32E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2.8459606085444067</c:v>
                </c:pt>
                <c:pt idx="1">
                  <c:v>3.1774734343143511</c:v>
                </c:pt>
                <c:pt idx="2">
                  <c:v>3.3396683470299968</c:v>
                </c:pt>
                <c:pt idx="3">
                  <c:v>6.6793366940599945</c:v>
                </c:pt>
                <c:pt idx="4">
                  <c:v>7.6319585268914256</c:v>
                </c:pt>
                <c:pt idx="5">
                  <c:v>7.88949593768310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C7D-4A8D-B4E7-5F8C957E32E3}"/>
            </c:ext>
          </c:extLst>
        </c:ser>
        <c:ser>
          <c:idx val="1"/>
          <c:order val="1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5B4FF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CC7D-4A8D-B4E7-5F8C957E32E3}"/>
              </c:ext>
            </c:extLst>
          </c:dPt>
          <c:dLbls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C7D-4A8D-B4E7-5F8C957E32E3}"/>
                </c:ext>
              </c:extLst>
            </c:dLbl>
            <c:dLbl>
              <c:idx val="3"/>
              <c:layout>
                <c:manualLayout>
                  <c:x val="-2.2144009385540401E-2"/>
                  <c:y val="0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C7D-4A8D-B4E7-5F8C957E32E3}"/>
                </c:ext>
              </c:extLst>
            </c:dLbl>
            <c:dLbl>
              <c:idx val="5"/>
              <c:layout>
                <c:manualLayout>
                  <c:x val="0"/>
                  <c:y val="-6.1236987140232701E-4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C7D-4A8D-B4E7-5F8C957E32E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0.33151282576994445</c:v>
                </c:pt>
                <c:pt idx="1">
                  <c:v>0.13841453722559027</c:v>
                </c:pt>
                <c:pt idx="2">
                  <c:v>2.9843751457699974</c:v>
                </c:pt>
                <c:pt idx="3">
                  <c:v>0.82826921239043205</c:v>
                </c:pt>
                <c:pt idx="4">
                  <c:v>0.22875866148962221</c:v>
                </c:pt>
                <c:pt idx="5">
                  <c:v>4.04140301965005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C7D-4A8D-B4E7-5F8C957E32E3}"/>
            </c:ext>
          </c:extLst>
        </c:ser>
        <c:ser>
          <c:idx val="2"/>
          <c:order val="2"/>
          <c:spPr>
            <a:solidFill>
              <a:srgbClr val="25B4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1">
                  <c:v>2.3780375490055405E-2</c:v>
                </c:pt>
                <c:pt idx="2">
                  <c:v>0.3552932012600003</c:v>
                </c:pt>
                <c:pt idx="3">
                  <c:v>0.12435262044099904</c:v>
                </c:pt>
                <c:pt idx="4">
                  <c:v>2.8778749302060369E-2</c:v>
                </c:pt>
                <c:pt idx="5">
                  <c:v>0.508424571003059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C7D-4A8D-B4E7-5F8C957E32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10554312"/>
        <c:axId val="1"/>
      </c:barChart>
      <c:catAx>
        <c:axId val="9105543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910554312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5194805194805192E-2"/>
          <c:y val="3.1932773109243695E-2"/>
          <c:w val="0.92792207792207793"/>
          <c:h val="0.9361344537815126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234E-4A63-AEF1-3AA806E6EC1C}"/>
              </c:ext>
            </c:extLst>
          </c:dPt>
          <c:dPt>
            <c:idx val="4"/>
            <c:invertIfNegative val="0"/>
            <c:bubble3D val="0"/>
            <c:spPr>
              <a:solidFill>
                <a:srgbClr val="0070C0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234E-4A63-AEF1-3AA806E6EC1C}"/>
              </c:ext>
            </c:extLst>
          </c:dPt>
          <c:dLbls>
            <c:dLbl>
              <c:idx val="0"/>
              <c:layout>
                <c:manualLayout>
                  <c:x val="0"/>
                  <c:y val="-0.1394957983193277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34E-4A63-AEF1-3AA806E6EC1C}"/>
                </c:ext>
              </c:extLst>
            </c:dLbl>
            <c:dLbl>
              <c:idx val="4"/>
              <c:layout>
                <c:manualLayout>
                  <c:x val="0"/>
                  <c:y val="-0.4593837535014005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34E-4A63-AEF1-3AA806E6EC1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.1362005324931674</c:v>
                </c:pt>
                <c:pt idx="1">
                  <c:v>1.1362005324931674</c:v>
                </c:pt>
                <c:pt idx="2">
                  <c:v>2.4127223271712204</c:v>
                </c:pt>
                <c:pt idx="3">
                  <c:v>3.6248176775188647</c:v>
                </c:pt>
                <c:pt idx="4">
                  <c:v>4.54982759065310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34E-4A63-AEF1-3AA806E6EC1C}"/>
            </c:ext>
          </c:extLst>
        </c:ser>
        <c:ser>
          <c:idx val="1"/>
          <c:order val="1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-0.1523809523809523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34E-4A63-AEF1-3AA806E6EC1C}"/>
                </c:ext>
              </c:extLst>
            </c:dLbl>
            <c:dLbl>
              <c:idx val="2"/>
              <c:layout>
                <c:manualLayout>
                  <c:x val="0"/>
                  <c:y val="-0.1462184873949579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34E-4A63-AEF1-3AA806E6EC1C}"/>
                </c:ext>
              </c:extLst>
            </c:dLbl>
            <c:dLbl>
              <c:idx val="3"/>
              <c:layout>
                <c:manualLayout>
                  <c:x val="0"/>
                  <c:y val="-0.1198879551820728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34E-4A63-AEF1-3AA806E6EC1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1">
                  <c:v>1.2765217946780529</c:v>
                </c:pt>
                <c:pt idx="2">
                  <c:v>1.2120953503476444</c:v>
                </c:pt>
                <c:pt idx="3">
                  <c:v>0.925009913134243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34E-4A63-AEF1-3AA806E6EC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75985960"/>
        <c:axId val="1"/>
      </c:barChart>
      <c:catAx>
        <c:axId val="5759859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+mn-lt"/>
                <a:ea typeface="+mn-ea"/>
                <a:cs typeface="Arial"/>
                <a:sym typeface="+mn-lt"/>
              </a:defRPr>
            </a:pPr>
            <a:endParaRPr lang="en-US"/>
          </a:p>
        </c:txPr>
        <c:crossAx val="575985960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514109633473889E-2"/>
          <c:y val="3.1932773109243695E-2"/>
          <c:w val="0.92799221537463505"/>
          <c:h val="0.9361344537815126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C09-4A8E-AB17-B6B21B66840E}"/>
              </c:ext>
            </c:extLst>
          </c:dPt>
          <c:dLbls>
            <c:dLbl>
              <c:idx val="0"/>
              <c:layout>
                <c:manualLayout>
                  <c:x val="0"/>
                  <c:y val="-0.4117647058823529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C09-4A8E-AB17-B6B21B66840E}"/>
                </c:ext>
              </c:extLst>
            </c:dLbl>
            <c:dLbl>
              <c:idx val="2"/>
              <c:layout>
                <c:manualLayout>
                  <c:x val="0"/>
                  <c:y val="-0.45938375350140054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C09-4A8E-AB17-B6B21B66840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4.0414030196500512</c:v>
                </c:pt>
                <c:pt idx="1">
                  <c:v>4.0414030196500512</c:v>
                </c:pt>
                <c:pt idx="2">
                  <c:v>4.5498275906531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C09-4A8E-AB17-B6B21B66840E}"/>
            </c:ext>
          </c:extLst>
        </c:ser>
        <c:ser>
          <c:idx val="1"/>
          <c:order val="1"/>
          <c:spPr>
            <a:solidFill>
              <a:srgbClr val="0070C0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7.9551820728291311E-2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C09-4A8E-AB17-B6B21B66840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1">
                  <c:v>0.508424571003059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C09-4A8E-AB17-B6B21B6684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06641856"/>
        <c:axId val="1"/>
      </c:barChart>
      <c:catAx>
        <c:axId val="6066418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en-US"/>
          </a:p>
        </c:txPr>
        <c:crossAx val="606641856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839367122552964E-2"/>
          <c:y val="2.8457314028956564E-2"/>
          <c:w val="0.96218825422365251"/>
          <c:h val="0.9430853719420868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0C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AC$1</c:f>
              <c:numCache>
                <c:formatCode>General</c:formatCode>
                <c:ptCount val="29"/>
                <c:pt idx="0">
                  <c:v>0.7369822746293555</c:v>
                </c:pt>
                <c:pt idx="1">
                  <c:v>0.72807829046678751</c:v>
                </c:pt>
                <c:pt idx="2">
                  <c:v>0.69866332888639893</c:v>
                </c:pt>
                <c:pt idx="3">
                  <c:v>0.7564821676090816</c:v>
                </c:pt>
                <c:pt idx="4">
                  <c:v>0.73204525000828169</c:v>
                </c:pt>
                <c:pt idx="5">
                  <c:v>0.72543962892613978</c:v>
                </c:pt>
                <c:pt idx="6">
                  <c:v>0.69590567328579733</c:v>
                </c:pt>
                <c:pt idx="7">
                  <c:v>0.76047777825104435</c:v>
                </c:pt>
                <c:pt idx="8">
                  <c:v>0.74971852224454283</c:v>
                </c:pt>
                <c:pt idx="9">
                  <c:v>0.73075184602044174</c:v>
                </c:pt>
                <c:pt idx="10">
                  <c:v>0.70765595977554407</c:v>
                </c:pt>
                <c:pt idx="11">
                  <c:v>0.79652675260476136</c:v>
                </c:pt>
                <c:pt idx="12">
                  <c:v>0.76203943447607581</c:v>
                </c:pt>
                <c:pt idx="13">
                  <c:v>0.76080172141397162</c:v>
                </c:pt>
                <c:pt idx="14">
                  <c:v>0.73118623599352395</c:v>
                </c:pt>
                <c:pt idx="15">
                  <c:v>0.82856766135490834</c:v>
                </c:pt>
                <c:pt idx="16">
                  <c:v>0.80904732264791068</c:v>
                </c:pt>
                <c:pt idx="17">
                  <c:v>0.7283052884808604</c:v>
                </c:pt>
                <c:pt idx="18">
                  <c:v>0.74757865085251884</c:v>
                </c:pt>
                <c:pt idx="19">
                  <c:v>0.86367204463142766</c:v>
                </c:pt>
                <c:pt idx="20">
                  <c:v>0.74091390932188927</c:v>
                </c:pt>
                <c:pt idx="21">
                  <c:v>0.76874173760675868</c:v>
                </c:pt>
                <c:pt idx="22">
                  <c:v>0.77385370726798741</c:v>
                </c:pt>
                <c:pt idx="23">
                  <c:v>0.87307067355722745</c:v>
                </c:pt>
                <c:pt idx="24">
                  <c:v>0.78693187519145857</c:v>
                </c:pt>
                <c:pt idx="25">
                  <c:v>0.80948635321068518</c:v>
                </c:pt>
                <c:pt idx="26">
                  <c:v>0.80288602110167451</c:v>
                </c:pt>
                <c:pt idx="27">
                  <c:v>0.90361601316831941</c:v>
                </c:pt>
                <c:pt idx="28">
                  <c:v>0.849309843764636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B9-458E-A0A2-39C84322BD15}"/>
            </c:ext>
          </c:extLst>
        </c:ser>
        <c:ser>
          <c:idx val="1"/>
          <c:order val="1"/>
          <c:spPr>
            <a:solidFill>
              <a:srgbClr val="25B4EB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AC$2</c:f>
              <c:numCache>
                <c:formatCode>General</c:formatCode>
                <c:ptCount val="29"/>
                <c:pt idx="0">
                  <c:v>0.17632013076459385</c:v>
                </c:pt>
                <c:pt idx="1">
                  <c:v>0.17507392963952539</c:v>
                </c:pt>
                <c:pt idx="2">
                  <c:v>0.16179432151181594</c:v>
                </c:pt>
                <c:pt idx="3">
                  <c:v>0.16869527254211325</c:v>
                </c:pt>
                <c:pt idx="4">
                  <c:v>0.16848905979862883</c:v>
                </c:pt>
                <c:pt idx="5">
                  <c:v>0.16417508266665382</c:v>
                </c:pt>
                <c:pt idx="6">
                  <c:v>0.15308537211617401</c:v>
                </c:pt>
                <c:pt idx="7">
                  <c:v>0.1620041146915927</c:v>
                </c:pt>
                <c:pt idx="8">
                  <c:v>0.17214750085479236</c:v>
                </c:pt>
                <c:pt idx="9">
                  <c:v>0.16754852165843892</c:v>
                </c:pt>
                <c:pt idx="10">
                  <c:v>0.16328654863807002</c:v>
                </c:pt>
                <c:pt idx="11">
                  <c:v>0.17944344405816481</c:v>
                </c:pt>
                <c:pt idx="12">
                  <c:v>0.1849423100376405</c:v>
                </c:pt>
                <c:pt idx="13">
                  <c:v>0.18921480127794921</c:v>
                </c:pt>
                <c:pt idx="14">
                  <c:v>0.18629071297892963</c:v>
                </c:pt>
                <c:pt idx="15">
                  <c:v>0.20473078026996194</c:v>
                </c:pt>
                <c:pt idx="16">
                  <c:v>0.21473633123179758</c:v>
                </c:pt>
                <c:pt idx="17">
                  <c:v>0.19564187877649053</c:v>
                </c:pt>
                <c:pt idx="18">
                  <c:v>0.20487490166147704</c:v>
                </c:pt>
                <c:pt idx="19">
                  <c:v>0.22227268564718194</c:v>
                </c:pt>
                <c:pt idx="20">
                  <c:v>0.22058091701411831</c:v>
                </c:pt>
                <c:pt idx="21">
                  <c:v>0.23608915183184132</c:v>
                </c:pt>
                <c:pt idx="22">
                  <c:v>0.23599331976534965</c:v>
                </c:pt>
                <c:pt idx="23">
                  <c:v>0.25404886163255169</c:v>
                </c:pt>
                <c:pt idx="24">
                  <c:v>0.25139815553316247</c:v>
                </c:pt>
                <c:pt idx="25">
                  <c:v>0.25499988862341627</c:v>
                </c:pt>
                <c:pt idx="26">
                  <c:v>0.25182749774914648</c:v>
                </c:pt>
                <c:pt idx="27">
                  <c:v>0.27755698095753012</c:v>
                </c:pt>
                <c:pt idx="28">
                  <c:v>0.284776858420027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BB9-458E-A0A2-39C84322BD15}"/>
            </c:ext>
          </c:extLst>
        </c:ser>
        <c:ser>
          <c:idx val="2"/>
          <c:order val="2"/>
          <c:spPr>
            <a:solidFill>
              <a:srgbClr val="CAE3FF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AC$3</c:f>
              <c:numCache>
                <c:formatCode>General</c:formatCode>
                <c:ptCount val="29"/>
                <c:pt idx="0">
                  <c:v>3.200275915826245E-2</c:v>
                </c:pt>
                <c:pt idx="1">
                  <c:v>3.1486003557344988E-2</c:v>
                </c:pt>
                <c:pt idx="2">
                  <c:v>3.1386846308129379E-2</c:v>
                </c:pt>
                <c:pt idx="3">
                  <c:v>3.3600688197701234E-2</c:v>
                </c:pt>
                <c:pt idx="4">
                  <c:v>3.1588163188095431E-2</c:v>
                </c:pt>
                <c:pt idx="5">
                  <c:v>3.2734177951219023E-2</c:v>
                </c:pt>
                <c:pt idx="6">
                  <c:v>3.0273538046215021E-2</c:v>
                </c:pt>
                <c:pt idx="7">
                  <c:v>3.0806466836626911E-2</c:v>
                </c:pt>
                <c:pt idx="8">
                  <c:v>2.9897954902768031E-2</c:v>
                </c:pt>
                <c:pt idx="9">
                  <c:v>2.7746727422865991E-2</c:v>
                </c:pt>
                <c:pt idx="10">
                  <c:v>2.7402946191270039E-2</c:v>
                </c:pt>
                <c:pt idx="11">
                  <c:v>3.0115896975190015E-2</c:v>
                </c:pt>
                <c:pt idx="12">
                  <c:v>2.9204485467357988E-2</c:v>
                </c:pt>
                <c:pt idx="13">
                  <c:v>2.7845738663831998E-2</c:v>
                </c:pt>
                <c:pt idx="14">
                  <c:v>2.5996381473662011E-2</c:v>
                </c:pt>
                <c:pt idx="15">
                  <c:v>2.9801743205648101E-2</c:v>
                </c:pt>
                <c:pt idx="16">
                  <c:v>3.2392275468944076E-2</c:v>
                </c:pt>
                <c:pt idx="17">
                  <c:v>2.8919080017176024E-2</c:v>
                </c:pt>
                <c:pt idx="18">
                  <c:v>2.8524360086595979E-2</c:v>
                </c:pt>
                <c:pt idx="19">
                  <c:v>2.9699167127759996E-2</c:v>
                </c:pt>
                <c:pt idx="20">
                  <c:v>2.9315145726697467E-2</c:v>
                </c:pt>
                <c:pt idx="21">
                  <c:v>2.9467769202595973E-2</c:v>
                </c:pt>
                <c:pt idx="22">
                  <c:v>2.8828734222362096E-2</c:v>
                </c:pt>
                <c:pt idx="23">
                  <c:v>2.971208737755382E-2</c:v>
                </c:pt>
                <c:pt idx="24">
                  <c:v>2.8676054569511056E-2</c:v>
                </c:pt>
                <c:pt idx="25">
                  <c:v>2.8332529130490114E-2</c:v>
                </c:pt>
                <c:pt idx="26">
                  <c:v>2.7917018969674912E-2</c:v>
                </c:pt>
                <c:pt idx="27">
                  <c:v>3.0185043481635088E-2</c:v>
                </c:pt>
                <c:pt idx="28">
                  <c:v>2.893354207587206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BB9-458E-A0A2-39C84322BD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09801888"/>
        <c:axId val="1"/>
      </c:barChart>
      <c:catAx>
        <c:axId val="12098018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.400000000000000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1209801888"/>
        <c:crosses val="min"/>
        <c:crossBetween val="between"/>
        <c:majorUnit val="0.2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6" y="279802"/>
            <a:ext cx="3848659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6" y="669140"/>
            <a:ext cx="3848659" cy="156667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/>
              <a:pPr algn="l"/>
              <a:t>6/12/2023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76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99171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/>
          </a:p>
        </p:txBody>
      </p:sp>
      <p:grpSp>
        <p:nvGrpSpPr>
          <p:cNvPr id="13" name="Group 12"/>
          <p:cNvGrpSpPr/>
          <p:nvPr/>
        </p:nvGrpSpPr>
        <p:grpSpPr>
          <a:xfrm>
            <a:off x="5225906" y="285482"/>
            <a:ext cx="1328988" cy="362143"/>
            <a:chOff x="6113463" y="-755650"/>
            <a:chExt cx="7013575" cy="1922462"/>
          </a:xfrm>
        </p:grpSpPr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99926" y="329699"/>
            <a:ext cx="3783110" cy="4189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929" y="820414"/>
            <a:ext cx="3043343" cy="25134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6/12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10013" y="7061200"/>
            <a:ext cx="2690812" cy="1512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416" y="1314912"/>
            <a:ext cx="6230270" cy="525964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06332" y="8780243"/>
            <a:ext cx="927049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325790" y="285482"/>
            <a:ext cx="1328988" cy="362143"/>
            <a:chOff x="6113463" y="-755650"/>
            <a:chExt cx="7013575" cy="1922462"/>
          </a:xfrm>
        </p:grpSpPr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9B8906-A173-424D-890E-3B49E53E9B2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02125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9B8906-A173-424D-890E-3B49E53E9B29}" type="slidenum">
              <a:rPr lang="en-US" smtClean="0"/>
              <a:pPr>
                <a:defRPr/>
              </a:pPr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0853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61E296-9532-40C3-9174-581AD2B7748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1136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9B8906-A173-424D-890E-3B49E53E9B2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99334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61E296-9532-40C3-9174-581AD2B7748B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9801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61E296-9532-40C3-9174-581AD2B7748B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30391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854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l-GR" dirty="0">
              <a:latin typeface="Arial" pitchFamily="34" charset="0"/>
            </a:endParaRPr>
          </a:p>
        </p:txBody>
      </p:sp>
      <p:sp>
        <p:nvSpPr>
          <p:cNvPr id="10854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870180"/>
            <a:fld id="{D57FE684-FFD9-4886-A83C-01CAE81E6C6F}" type="slidenum">
              <a:rPr lang="en-US" smtClean="0">
                <a:latin typeface="Arial" pitchFamily="34" charset="0"/>
              </a:rPr>
              <a:pPr defTabSz="870180"/>
              <a:t>32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3724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854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l-GR" dirty="0">
              <a:latin typeface="Arial" pitchFamily="34" charset="0"/>
            </a:endParaRPr>
          </a:p>
        </p:txBody>
      </p:sp>
      <p:sp>
        <p:nvSpPr>
          <p:cNvPr id="10854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870180"/>
            <a:fld id="{D57FE684-FFD9-4886-A83C-01CAE81E6C6F}" type="slidenum">
              <a:rPr lang="en-US" smtClean="0">
                <a:latin typeface="Arial" pitchFamily="34" charset="0"/>
              </a:rPr>
              <a:pPr defTabSz="870180"/>
              <a:t>33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53267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9B8906-A173-424D-890E-3B49E53E9B29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62991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9B8906-A173-424D-890E-3B49E53E9B29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5536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2315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261101" cy="68453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429377" y="4127476"/>
            <a:ext cx="4605337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</a:t>
            </a:r>
            <a:br>
              <a:rPr lang="en-US" dirty="0"/>
            </a:br>
            <a:r>
              <a:rPr lang="en-US" dirty="0"/>
              <a:t>sentenc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29377" y="4908325"/>
            <a:ext cx="4605337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 16pt Arial</a:t>
            </a:r>
          </a:p>
        </p:txBody>
      </p:sp>
      <p:sp>
        <p:nvSpPr>
          <p:cNvPr id="19" name="TextBox 18"/>
          <p:cNvSpPr txBox="1"/>
          <p:nvPr/>
        </p:nvSpPr>
        <p:spPr bwMode="black">
          <a:xfrm>
            <a:off x="2248001" y="6520894"/>
            <a:ext cx="2204450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ea typeface="Arial" charset="0"/>
                <a:cs typeface="Arial" charset="0"/>
              </a:rPr>
              <a:t>Copyright © 2023 IQVIA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29377" y="3083845"/>
            <a:ext cx="4605337" cy="984885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32pt Arial Bold Titl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436735" y="5497452"/>
            <a:ext cx="2592472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192000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641"/>
            <a:ext cx="1389888" cy="24271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143270" y="914400"/>
            <a:ext cx="9905730" cy="5029199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Arial sentence case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2033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04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152525" y="1562101"/>
            <a:ext cx="9898336" cy="1156066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sentence cas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08148"/>
            <a:ext cx="3326745" cy="3637151"/>
          </a:xfrm>
          <a:prstGeom prst="rect">
            <a:avLst/>
          </a:prstGeom>
        </p:spPr>
      </p:pic>
      <p:sp>
        <p:nvSpPr>
          <p:cNvPr id="11" name="Rectangle 58"/>
          <p:cNvSpPr>
            <a:spLocks noChangeArrowheads="1"/>
          </p:cNvSpPr>
          <p:nvPr/>
        </p:nvSpPr>
        <p:spPr bwMode="white">
          <a:xfrm>
            <a:off x="11506198" y="771348"/>
            <a:ext cx="697189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4BB0B6-F5A7-41D0-A596-1D42455232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7625" y="2981325"/>
            <a:ext cx="7192963" cy="164147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en-US" sz="1600" dirty="0" smtClean="0">
                <a:solidFill>
                  <a:schemeClr val="bg1"/>
                </a:solidFill>
              </a:defRPr>
            </a:lvl1pPr>
            <a:lvl2pPr>
              <a:defRPr lang="en-US" sz="1600" dirty="0" smtClean="0">
                <a:solidFill>
                  <a:schemeClr val="bg1"/>
                </a:solidFill>
              </a:defRPr>
            </a:lvl2pPr>
            <a:lvl3pPr>
              <a:defRPr lang="en-US" sz="1600" dirty="0" smtClean="0">
                <a:solidFill>
                  <a:schemeClr val="bg1"/>
                </a:solidFill>
              </a:defRPr>
            </a:lvl3pPr>
            <a:lvl4pPr>
              <a:defRPr lang="en-US" sz="1600" dirty="0" smtClean="0">
                <a:solidFill>
                  <a:schemeClr val="bg1"/>
                </a:solidFill>
              </a:defRPr>
            </a:lvl4pPr>
            <a:lvl5pPr>
              <a:defRPr lang="en-US" sz="1600" dirty="0">
                <a:solidFill>
                  <a:schemeClr val="bg1"/>
                </a:solidFill>
              </a:defRPr>
            </a:lvl5pPr>
          </a:lstStyle>
          <a:p>
            <a:pPr marL="171450" lvl="0" indent="-171450">
              <a:lnSpc>
                <a:spcPct val="100000"/>
              </a:lnSpc>
            </a:pPr>
            <a:r>
              <a:rPr lang="en-US" dirty="0"/>
              <a:t>Arial </a:t>
            </a:r>
            <a:r>
              <a:rPr lang="cs-CZ" dirty="0"/>
              <a:t>16</a:t>
            </a:r>
            <a:r>
              <a:rPr lang="en-US" dirty="0"/>
              <a:t>pt bullet level 1</a:t>
            </a:r>
          </a:p>
          <a:p>
            <a:pPr marL="342900" lvl="1" indent="-171450">
              <a:lnSpc>
                <a:spcPct val="100000"/>
              </a:lnSpc>
              <a:spcBef>
                <a:spcPts val="800"/>
              </a:spcBef>
              <a:buChar char="-"/>
            </a:pPr>
            <a:r>
              <a:rPr lang="en-US" dirty="0"/>
              <a:t>Arial </a:t>
            </a:r>
            <a:r>
              <a:rPr lang="cs-CZ" dirty="0"/>
              <a:t>16</a:t>
            </a:r>
            <a:r>
              <a:rPr lang="en-US" dirty="0"/>
              <a:t>pt bullet level 2</a:t>
            </a:r>
          </a:p>
          <a:p>
            <a:pPr marL="571500" lvl="2" indent="-171450">
              <a:lnSpc>
                <a:spcPct val="100000"/>
              </a:lnSpc>
              <a:spcBef>
                <a:spcPts val="800"/>
              </a:spcBef>
              <a:buChar char="›"/>
            </a:pPr>
            <a:r>
              <a:rPr lang="en-US" dirty="0"/>
              <a:t>Arial </a:t>
            </a:r>
            <a:r>
              <a:rPr lang="cs-CZ" dirty="0"/>
              <a:t>16</a:t>
            </a:r>
            <a:r>
              <a:rPr lang="en-US" dirty="0"/>
              <a:t>pt bullet level 3</a:t>
            </a:r>
          </a:p>
          <a:p>
            <a:pPr marL="742950" lvl="3" indent="-171450">
              <a:lnSpc>
                <a:spcPct val="100000"/>
              </a:lnSpc>
              <a:spcBef>
                <a:spcPts val="800"/>
              </a:spcBef>
              <a:buChar char="»"/>
            </a:pPr>
            <a:r>
              <a:rPr lang="en-US" dirty="0"/>
              <a:t>Arial </a:t>
            </a:r>
            <a:r>
              <a:rPr lang="cs-CZ" dirty="0"/>
              <a:t>16</a:t>
            </a:r>
            <a:r>
              <a:rPr lang="en-US" dirty="0"/>
              <a:t>pt bullet level 4</a:t>
            </a:r>
          </a:p>
          <a:p>
            <a:pPr marL="914400" lvl="4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US" dirty="0"/>
              <a:t>Arial </a:t>
            </a:r>
            <a:r>
              <a:rPr lang="cs-CZ" dirty="0"/>
              <a:t>16</a:t>
            </a:r>
            <a:r>
              <a:rPr lang="en-US" dirty="0"/>
              <a:t>pt bullet level 5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700774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47619" y="75203"/>
            <a:ext cx="1104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Click to edit title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647619" y="1000035"/>
            <a:ext cx="1104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47619" y="1088229"/>
            <a:ext cx="11040000" cy="36317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600" b="1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47619" y="6299471"/>
            <a:ext cx="11040000" cy="165799"/>
          </a:xfrm>
          <a:prstGeom prst="rect">
            <a:avLst/>
          </a:prstGeom>
        </p:spPr>
        <p:txBody>
          <a:bodyPr lIns="90000" rIns="90000" anchor="ctr" anchorCtr="0"/>
          <a:lstStyle>
            <a:lvl1pPr marL="0" indent="0">
              <a:buNone/>
              <a:defRPr sz="7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rce:</a:t>
            </a:r>
            <a:endParaRPr lang="el-GR" dirty="0"/>
          </a:p>
        </p:txBody>
      </p:sp>
      <p:sp>
        <p:nvSpPr>
          <p:cNvPr id="7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47619" y="5854910"/>
            <a:ext cx="11040000" cy="403200"/>
          </a:xfrm>
          <a:prstGeom prst="rect">
            <a:avLst/>
          </a:prstGeom>
        </p:spPr>
        <p:txBody>
          <a:bodyPr lIns="90000" rIns="90000" anchor="b" anchorCtr="0"/>
          <a:lstStyle>
            <a:lvl1pPr marL="0" indent="0">
              <a:buNone/>
              <a:defRPr sz="7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1. Footnote or Question:</a:t>
            </a:r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790629233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 White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3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29175BC-552B-D64A-8152-E96EE8CE39AF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D370C788-BCB9-AA4B-83CC-830DE2532168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86A666F2-61DC-1141-A28D-9C664CF9E0D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B36DAFEC-9E33-D342-8F38-9280EB50249D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14487FF1-1618-4249-B143-BEFFD4E4E8FD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E4418D72-B986-414A-97FC-FCCE7B7F1B53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B4C17C8-380D-41B2-8F4E-B2A6A80204A7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D82C82-AD27-49A1-AB10-24272A1884F7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A43F6D9-2B76-4F47-8BB1-588F5D046A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F77A25CF-5914-0B4E-8C5F-E8D980A4AE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51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losing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117F4479-AB2F-544F-914C-7C68ABE310F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36859" y="3208148"/>
            <a:ext cx="5588846" cy="2929323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82296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109728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1371600" indent="-27432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77FA37B5-B8A2-E447-B5FC-531DD50C18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4320" y="1795534"/>
            <a:ext cx="7631698" cy="1174627"/>
          </a:xfrm>
          <a:prstGeom prst="rect">
            <a:avLst/>
          </a:prstGeo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Bold sentence cas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364B443-1067-8D4E-8347-69E3D88570DB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E23B4D94-914D-6A47-AF73-BDD6ABF78CB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E941EA1A-7BCD-E547-9195-3AF3CBAB9DE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BF4E84-D8C8-3340-8821-E170F38BCB95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04358390-5EFC-484C-9E81-E6E1DFD520E7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11" name="Graphic 10">
            <a:extLst>
              <a:ext uri="{FF2B5EF4-FFF2-40B4-BE49-F238E27FC236}">
                <a16:creationId xmlns:a16="http://schemas.microsoft.com/office/drawing/2014/main" id="{29E62D4C-ACB0-644F-9042-ADF3C890FE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FECB2AB0-AE05-714C-B46B-551297B2D9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565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hought Slide 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CE54A23A-653F-044A-872E-96D84FA8FBB7}"/>
              </a:ext>
            </a:extLst>
          </p:cNvPr>
          <p:cNvGrpSpPr/>
          <p:nvPr/>
        </p:nvGrpSpPr>
        <p:grpSpPr>
          <a:xfrm>
            <a:off x="0" y="1460563"/>
            <a:ext cx="2550984" cy="4676908"/>
            <a:chOff x="0" y="1403413"/>
            <a:chExt cx="2550984" cy="4676908"/>
          </a:xfrm>
          <a:solidFill>
            <a:schemeClr val="accent1"/>
          </a:solidFill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44260B0-4CB4-D64E-9C92-5124265DA7A3}"/>
                </a:ext>
              </a:extLst>
            </p:cNvPr>
            <p:cNvGrpSpPr/>
            <p:nvPr/>
          </p:nvGrpSpPr>
          <p:grpSpPr>
            <a:xfrm>
              <a:off x="1" y="4502072"/>
              <a:ext cx="1013573" cy="545364"/>
              <a:chOff x="1" y="4502072"/>
              <a:chExt cx="1013573" cy="545364"/>
            </a:xfrm>
            <a:grpFill/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AFE54BDC-92F7-FF47-96F4-48A8CED3C760}"/>
                  </a:ext>
                </a:extLst>
              </p:cNvPr>
              <p:cNvSpPr/>
              <p:nvPr/>
            </p:nvSpPr>
            <p:spPr>
              <a:xfrm>
                <a:off x="1" y="4502072"/>
                <a:ext cx="73504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BBC52103-9224-6C4C-89DA-F8113C00854E}"/>
                  </a:ext>
                </a:extLst>
              </p:cNvPr>
              <p:cNvSpPr/>
              <p:nvPr/>
            </p:nvSpPr>
            <p:spPr>
              <a:xfrm>
                <a:off x="468210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0C066D0-213A-4E42-B2BA-FB39C744A96E}"/>
                </a:ext>
              </a:extLst>
            </p:cNvPr>
            <p:cNvGrpSpPr/>
            <p:nvPr/>
          </p:nvGrpSpPr>
          <p:grpSpPr>
            <a:xfrm>
              <a:off x="0" y="3469185"/>
              <a:ext cx="1162174" cy="545364"/>
              <a:chOff x="0" y="3469185"/>
              <a:chExt cx="1162174" cy="545364"/>
            </a:xfrm>
            <a:grpFill/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DA67A407-7D4D-3749-9A23-617DCB2CC42B}"/>
                  </a:ext>
                </a:extLst>
              </p:cNvPr>
              <p:cNvSpPr/>
              <p:nvPr/>
            </p:nvSpPr>
            <p:spPr>
              <a:xfrm>
                <a:off x="0" y="3469185"/>
                <a:ext cx="8836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35FFBBA7-854B-B748-B093-1CE3952BB1BD}"/>
                  </a:ext>
                </a:extLst>
              </p:cNvPr>
              <p:cNvSpPr/>
              <p:nvPr/>
            </p:nvSpPr>
            <p:spPr>
              <a:xfrm>
                <a:off x="616810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0143330-49E8-4D4D-A683-BA5AC4536F35}"/>
                </a:ext>
              </a:extLst>
            </p:cNvPr>
            <p:cNvGrpSpPr/>
            <p:nvPr/>
          </p:nvGrpSpPr>
          <p:grpSpPr>
            <a:xfrm>
              <a:off x="0" y="2436300"/>
              <a:ext cx="1023436" cy="545364"/>
              <a:chOff x="0" y="2440184"/>
              <a:chExt cx="1023436" cy="545364"/>
            </a:xfrm>
            <a:grpFill/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8036A379-1707-5D4E-AAD8-4CD10718D475}"/>
                  </a:ext>
                </a:extLst>
              </p:cNvPr>
              <p:cNvSpPr/>
              <p:nvPr/>
            </p:nvSpPr>
            <p:spPr>
              <a:xfrm>
                <a:off x="0" y="2440184"/>
                <a:ext cx="74406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EB1666CD-BEF0-4D4B-BA70-902CCBD452A2}"/>
                  </a:ext>
                </a:extLst>
              </p:cNvPr>
              <p:cNvSpPr/>
              <p:nvPr/>
            </p:nvSpPr>
            <p:spPr>
              <a:xfrm>
                <a:off x="478072" y="2440184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6437A27-019B-564D-B996-C91C1F5CC2C9}"/>
                </a:ext>
              </a:extLst>
            </p:cNvPr>
            <p:cNvGrpSpPr/>
            <p:nvPr/>
          </p:nvGrpSpPr>
          <p:grpSpPr>
            <a:xfrm>
              <a:off x="876713" y="5534957"/>
              <a:ext cx="1674271" cy="545364"/>
              <a:chOff x="876236" y="5534957"/>
              <a:chExt cx="1674271" cy="545364"/>
            </a:xfrm>
            <a:grpFill/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A63EA5C-5E6E-BC4A-9E7A-94DE3B6280E8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7A0BB5E6-BAD7-3F49-A359-BE26A2F6BE4C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1C16252C-42E7-844C-86B3-C65D63364C8F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DF5CA18-ACA9-2A42-A4F3-CA7027AC1183}"/>
                </a:ext>
              </a:extLst>
            </p:cNvPr>
            <p:cNvGrpSpPr/>
            <p:nvPr/>
          </p:nvGrpSpPr>
          <p:grpSpPr>
            <a:xfrm>
              <a:off x="1404844" y="4502072"/>
              <a:ext cx="1146140" cy="545364"/>
              <a:chOff x="1404367" y="4502072"/>
              <a:chExt cx="1146140" cy="545364"/>
            </a:xfrm>
            <a:grpFill/>
          </p:grpSpPr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EF9009F8-F40E-4142-9FD4-5F82D827183E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F656972E-4EE4-B440-BF3B-7C50C2F4AFD2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856FC643-92EC-5446-B635-5272B44ABBC4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7F13C1C-5A0B-E349-81D8-289CF597EFF6}"/>
                </a:ext>
              </a:extLst>
            </p:cNvPr>
            <p:cNvGrpSpPr/>
            <p:nvPr/>
          </p:nvGrpSpPr>
          <p:grpSpPr>
            <a:xfrm>
              <a:off x="1563753" y="3469185"/>
              <a:ext cx="987231" cy="545364"/>
              <a:chOff x="1560101" y="3469185"/>
              <a:chExt cx="987231" cy="545364"/>
            </a:xfrm>
            <a:grpFill/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B4037E36-7ECF-7242-B733-14F93EF6E7A7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13A075E0-B627-254E-A4FB-378B4E95EDE4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B2AE0DCE-94BE-7947-8768-92F78F9D7213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16D361C0-AC3B-D84D-9A88-5FC411D00470}"/>
                </a:ext>
              </a:extLst>
            </p:cNvPr>
            <p:cNvGrpSpPr/>
            <p:nvPr/>
          </p:nvGrpSpPr>
          <p:grpSpPr>
            <a:xfrm>
              <a:off x="1416321" y="2436300"/>
              <a:ext cx="1134663" cy="545364"/>
              <a:chOff x="1415887" y="2436300"/>
              <a:chExt cx="1134663" cy="545364"/>
            </a:xfrm>
            <a:grpFill/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1603488A-FE35-DC44-B59F-D73A4174124C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F562BC2A-8E8F-8F4A-AF64-D93514A83DE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45DA935B-E728-D449-B962-9C993F9194C3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37C5B5FC-28F8-6A43-9D03-F89AA5DADC09}"/>
                </a:ext>
              </a:extLst>
            </p:cNvPr>
            <p:cNvGrpSpPr/>
            <p:nvPr/>
          </p:nvGrpSpPr>
          <p:grpSpPr>
            <a:xfrm>
              <a:off x="898206" y="1403413"/>
              <a:ext cx="1652778" cy="545364"/>
              <a:chOff x="898206" y="1403413"/>
              <a:chExt cx="1652778" cy="545364"/>
            </a:xfrm>
            <a:grpFill/>
          </p:grpSpPr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B34D7784-E348-154F-80D9-BA83F6D4D68E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849EC6B-F9A7-F742-813C-BBB1639B37A5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81DB5796-D137-AF40-AB92-A11E96841BD6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2606B288-B2E5-CB4F-9CD4-6304B4259D84}"/>
                </a:ext>
              </a:extLst>
            </p:cNvPr>
            <p:cNvSpPr/>
            <p:nvPr/>
          </p:nvSpPr>
          <p:spPr>
            <a:xfrm>
              <a:off x="1945" y="5534957"/>
              <a:ext cx="476127" cy="545364"/>
            </a:xfrm>
            <a:custGeom>
              <a:avLst/>
              <a:gdLst>
                <a:gd name="connsiteX0" fmla="*/ 0 w 476127"/>
                <a:gd name="connsiteY0" fmla="*/ 0 h 545364"/>
                <a:gd name="connsiteX1" fmla="*/ 197590 w 476127"/>
                <a:gd name="connsiteY1" fmla="*/ 0 h 545364"/>
                <a:gd name="connsiteX2" fmla="*/ 197590 w 476127"/>
                <a:gd name="connsiteY2" fmla="*/ 590 h 545364"/>
                <a:gd name="connsiteX3" fmla="*/ 203445 w 476127"/>
                <a:gd name="connsiteY3" fmla="*/ 0 h 545364"/>
                <a:gd name="connsiteX4" fmla="*/ 476127 w 476127"/>
                <a:gd name="connsiteY4" fmla="*/ 272682 h 545364"/>
                <a:gd name="connsiteX5" fmla="*/ 203445 w 476127"/>
                <a:gd name="connsiteY5" fmla="*/ 545364 h 545364"/>
                <a:gd name="connsiteX6" fmla="*/ 197590 w 476127"/>
                <a:gd name="connsiteY6" fmla="*/ 544774 h 545364"/>
                <a:gd name="connsiteX7" fmla="*/ 197590 w 476127"/>
                <a:gd name="connsiteY7" fmla="*/ 545364 h 545364"/>
                <a:gd name="connsiteX8" fmla="*/ 0 w 476127"/>
                <a:gd name="connsiteY8" fmla="*/ 545364 h 545364"/>
                <a:gd name="connsiteX9" fmla="*/ 0 w 476127"/>
                <a:gd name="connsiteY9" fmla="*/ 452614 h 545364"/>
                <a:gd name="connsiteX10" fmla="*/ 0 w 476127"/>
                <a:gd name="connsiteY10" fmla="*/ 92750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6127" h="545364">
                  <a:moveTo>
                    <a:pt x="0" y="0"/>
                  </a:moveTo>
                  <a:lnTo>
                    <a:pt x="197590" y="0"/>
                  </a:lnTo>
                  <a:lnTo>
                    <a:pt x="197590" y="590"/>
                  </a:lnTo>
                  <a:lnTo>
                    <a:pt x="203445" y="0"/>
                  </a:lnTo>
                  <a:cubicBezTo>
                    <a:pt x="354043" y="0"/>
                    <a:pt x="476127" y="122084"/>
                    <a:pt x="476127" y="272682"/>
                  </a:cubicBezTo>
                  <a:cubicBezTo>
                    <a:pt x="476127" y="423280"/>
                    <a:pt x="354043" y="545364"/>
                    <a:pt x="203445" y="545364"/>
                  </a:cubicBezTo>
                  <a:lnTo>
                    <a:pt x="197590" y="544774"/>
                  </a:lnTo>
                  <a:lnTo>
                    <a:pt x="197590" y="545364"/>
                  </a:lnTo>
                  <a:lnTo>
                    <a:pt x="0" y="545364"/>
                  </a:lnTo>
                  <a:lnTo>
                    <a:pt x="0" y="452614"/>
                  </a:lnTo>
                  <a:lnTo>
                    <a:pt x="0" y="927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18324F76-739D-5A41-8026-F96B96947F97}"/>
                </a:ext>
              </a:extLst>
            </p:cNvPr>
            <p:cNvSpPr/>
            <p:nvPr/>
          </p:nvSpPr>
          <p:spPr>
            <a:xfrm>
              <a:off x="0" y="1403413"/>
              <a:ext cx="501699" cy="545364"/>
            </a:xfrm>
            <a:custGeom>
              <a:avLst/>
              <a:gdLst>
                <a:gd name="connsiteX0" fmla="*/ 1 w 501699"/>
                <a:gd name="connsiteY0" fmla="*/ 0 h 545364"/>
                <a:gd name="connsiteX1" fmla="*/ 223169 w 501699"/>
                <a:gd name="connsiteY1" fmla="*/ 0 h 545364"/>
                <a:gd name="connsiteX2" fmla="*/ 223169 w 501699"/>
                <a:gd name="connsiteY2" fmla="*/ 590 h 545364"/>
                <a:gd name="connsiteX3" fmla="*/ 229017 w 501699"/>
                <a:gd name="connsiteY3" fmla="*/ 0 h 545364"/>
                <a:gd name="connsiteX4" fmla="*/ 501699 w 501699"/>
                <a:gd name="connsiteY4" fmla="*/ 272682 h 545364"/>
                <a:gd name="connsiteX5" fmla="*/ 229017 w 501699"/>
                <a:gd name="connsiteY5" fmla="*/ 545364 h 545364"/>
                <a:gd name="connsiteX6" fmla="*/ 223169 w 501699"/>
                <a:gd name="connsiteY6" fmla="*/ 544775 h 545364"/>
                <a:gd name="connsiteX7" fmla="*/ 223169 w 501699"/>
                <a:gd name="connsiteY7" fmla="*/ 545364 h 545364"/>
                <a:gd name="connsiteX8" fmla="*/ 1 w 501699"/>
                <a:gd name="connsiteY8" fmla="*/ 545364 h 545364"/>
                <a:gd name="connsiteX9" fmla="*/ 1 w 501699"/>
                <a:gd name="connsiteY9" fmla="*/ 419791 h 545364"/>
                <a:gd name="connsiteX10" fmla="*/ 0 w 501699"/>
                <a:gd name="connsiteY10" fmla="*/ 419789 h 545364"/>
                <a:gd name="connsiteX11" fmla="*/ 0 w 501699"/>
                <a:gd name="connsiteY11" fmla="*/ 125575 h 545364"/>
                <a:gd name="connsiteX12" fmla="*/ 1 w 501699"/>
                <a:gd name="connsiteY12" fmla="*/ 125573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1699" h="545364">
                  <a:moveTo>
                    <a:pt x="1" y="0"/>
                  </a:moveTo>
                  <a:lnTo>
                    <a:pt x="223169" y="0"/>
                  </a:lnTo>
                  <a:lnTo>
                    <a:pt x="223169" y="590"/>
                  </a:lnTo>
                  <a:lnTo>
                    <a:pt x="229017" y="0"/>
                  </a:lnTo>
                  <a:cubicBezTo>
                    <a:pt x="379615" y="0"/>
                    <a:pt x="501699" y="122084"/>
                    <a:pt x="501699" y="272682"/>
                  </a:cubicBezTo>
                  <a:cubicBezTo>
                    <a:pt x="501699" y="423280"/>
                    <a:pt x="379615" y="545364"/>
                    <a:pt x="229017" y="545364"/>
                  </a:cubicBezTo>
                  <a:lnTo>
                    <a:pt x="223169" y="544775"/>
                  </a:lnTo>
                  <a:lnTo>
                    <a:pt x="223169" y="545364"/>
                  </a:lnTo>
                  <a:lnTo>
                    <a:pt x="1" y="545364"/>
                  </a:lnTo>
                  <a:lnTo>
                    <a:pt x="1" y="419791"/>
                  </a:lnTo>
                  <a:lnTo>
                    <a:pt x="0" y="419789"/>
                  </a:lnTo>
                  <a:lnTo>
                    <a:pt x="0" y="125575"/>
                  </a:lnTo>
                  <a:lnTo>
                    <a:pt x="1" y="1255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60" name="Title 1">
            <a:extLst>
              <a:ext uri="{FF2B5EF4-FFF2-40B4-BE49-F238E27FC236}">
                <a16:creationId xmlns:a16="http://schemas.microsoft.com/office/drawing/2014/main" id="{99B32E9C-8531-8F42-88AC-648425B4B1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393370" y="1460563"/>
            <a:ext cx="7988504" cy="4676908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</a:t>
            </a:r>
            <a:br>
              <a:rPr lang="en-US" dirty="0"/>
            </a:br>
            <a:r>
              <a:rPr lang="en-US" dirty="0"/>
              <a:t>Arial Bold sentence cas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DBE3E6C0-8C36-8B43-957E-48824B0A0BBC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14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2315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261101" cy="68453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429377" y="4127476"/>
            <a:ext cx="4605337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</a:t>
            </a:r>
            <a:br>
              <a:rPr lang="en-US" dirty="0"/>
            </a:br>
            <a:r>
              <a:rPr lang="en-US" dirty="0"/>
              <a:t>sentenc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29377" y="4908325"/>
            <a:ext cx="4605337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 16pt Arial</a:t>
            </a:r>
          </a:p>
        </p:txBody>
      </p:sp>
      <p:sp>
        <p:nvSpPr>
          <p:cNvPr id="19" name="TextBox 18"/>
          <p:cNvSpPr txBox="1"/>
          <p:nvPr/>
        </p:nvSpPr>
        <p:spPr bwMode="black">
          <a:xfrm>
            <a:off x="2248001" y="6520894"/>
            <a:ext cx="2204450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ea typeface="Arial" charset="0"/>
                <a:cs typeface="Arial" charset="0"/>
              </a:rPr>
              <a:t>Copyright © 2023 IQVIA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29377" y="3083845"/>
            <a:ext cx="4605337" cy="984885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32pt Arial Bold Titl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436735" y="5497452"/>
            <a:ext cx="2592472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90291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87147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477013" y="6564311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800" noProof="0" dirty="0" err="1">
                <a:solidFill>
                  <a:schemeClr val="tx1"/>
                </a:solidFill>
                <a:latin typeface="Arial Narrow" panose="020B0606020202030204" pitchFamily="34" charset="0"/>
              </a:rPr>
              <a:t>SfEE</a:t>
            </a:r>
            <a:r>
              <a:rPr lang="en-US" sz="800" noProof="0" dirty="0">
                <a:solidFill>
                  <a:schemeClr val="tx1"/>
                </a:solidFill>
                <a:latin typeface="Arial Narrow" panose="020B0606020202030204" pitchFamily="34" charset="0"/>
              </a:rPr>
              <a:t> • Market Analysis • May 2023</a:t>
            </a:r>
          </a:p>
        </p:txBody>
      </p:sp>
      <p:sp>
        <p:nvSpPr>
          <p:cNvPr id="32" name="Sticker  Placeholder 12">
            <a:extLst>
              <a:ext uri="{FF2B5EF4-FFF2-40B4-BE49-F238E27FC236}">
                <a16:creationId xmlns:a16="http://schemas.microsoft.com/office/drawing/2014/main" id="{259D1F1E-3CAC-49FF-990A-1EF0491CEB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009" y="43374"/>
            <a:ext cx="11246237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tabLst>
                <a:tab pos="269875" algn="l"/>
              </a:tabLst>
              <a:defRPr sz="1200" b="1" cap="all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7" name="Note Placeholder 11">
            <a:extLst>
              <a:ext uri="{FF2B5EF4-FFF2-40B4-BE49-F238E27FC236}">
                <a16:creationId xmlns:a16="http://schemas.microsoft.com/office/drawing/2014/main" id="{E825C46F-2744-47EF-8BD6-DDF7C33756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7012" y="6118280"/>
            <a:ext cx="11246241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dirty="0"/>
              <a:t>Note</a:t>
            </a:r>
          </a:p>
        </p:txBody>
      </p:sp>
      <p:sp>
        <p:nvSpPr>
          <p:cNvPr id="5" name="Source Placeholder 10">
            <a:extLst>
              <a:ext uri="{FF2B5EF4-FFF2-40B4-BE49-F238E27FC236}">
                <a16:creationId xmlns:a16="http://schemas.microsoft.com/office/drawing/2014/main" id="{C8A771B2-EB7B-43E6-9833-2DF81417A86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013" y="6397157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7012" y="237000"/>
            <a:ext cx="11246241" cy="773799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3" name="Rectangle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A04DAF1-5F7F-4BB9-B8A4-9034F62443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pic>
        <p:nvPicPr>
          <p:cNvPr id="12" name="Picture 2" descr="Αποτέλεσμα εικόνας για sfee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598" y="6297836"/>
            <a:ext cx="1116950" cy="422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44019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D9F4A6-D775-4860-AA6E-F070A746E0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43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D9F4A6-D775-4860-AA6E-F070A746E0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ticker Placeholder 12">
            <a:extLst>
              <a:ext uri="{FF2B5EF4-FFF2-40B4-BE49-F238E27FC236}">
                <a16:creationId xmlns:a16="http://schemas.microsoft.com/office/drawing/2014/main" id="{259D1F1E-3CAC-49FF-990A-1EF0491CEB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009" y="43374"/>
            <a:ext cx="11246237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tabLst>
                <a:tab pos="269875" algn="l"/>
              </a:tabLst>
              <a:defRPr sz="1200" b="1" cap="all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7" name="Note Placeholder 11">
            <a:extLst>
              <a:ext uri="{FF2B5EF4-FFF2-40B4-BE49-F238E27FC236}">
                <a16:creationId xmlns:a16="http://schemas.microsoft.com/office/drawing/2014/main" id="{E825C46F-2744-47EF-8BD6-DDF7C33756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7012" y="6118280"/>
            <a:ext cx="11246241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dirty="0"/>
              <a:t>Note</a:t>
            </a:r>
          </a:p>
        </p:txBody>
      </p:sp>
      <p:sp>
        <p:nvSpPr>
          <p:cNvPr id="5" name="Source Placeholder 10">
            <a:extLst>
              <a:ext uri="{FF2B5EF4-FFF2-40B4-BE49-F238E27FC236}">
                <a16:creationId xmlns:a16="http://schemas.microsoft.com/office/drawing/2014/main" id="{C8A771B2-EB7B-43E6-9833-2DF81417A8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7013" y="6397157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77012" y="1124076"/>
            <a:ext cx="1124624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7012" y="237000"/>
            <a:ext cx="11246241" cy="773799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34AB9AD-BF52-4106-8F74-3CAA352B836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pic>
        <p:nvPicPr>
          <p:cNvPr id="15" name="Picture 2" descr="Αποτέλεσμα εικόνας για sfee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598" y="6297836"/>
            <a:ext cx="1116950" cy="422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/>
          <p:cNvSpPr/>
          <p:nvPr userDrawn="1"/>
        </p:nvSpPr>
        <p:spPr>
          <a:xfrm>
            <a:off x="477013" y="6564311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800" noProof="0" dirty="0" err="1">
                <a:solidFill>
                  <a:schemeClr val="tx1"/>
                </a:solidFill>
                <a:latin typeface="Arial Narrow" panose="020B0606020202030204" pitchFamily="34" charset="0"/>
              </a:rPr>
              <a:t>SfEE</a:t>
            </a:r>
            <a:r>
              <a:rPr lang="en-US" sz="800" noProof="0" dirty="0">
                <a:solidFill>
                  <a:schemeClr val="tx1"/>
                </a:solidFill>
                <a:latin typeface="Arial Narrow" panose="020B0606020202030204" pitchFamily="34" charset="0"/>
              </a:rPr>
              <a:t> • Market Analysis • May 2023</a:t>
            </a:r>
          </a:p>
        </p:txBody>
      </p:sp>
    </p:spTree>
    <p:extLst>
      <p:ext uri="{BB962C8B-B14F-4D97-AF65-F5344CB8AC3E}">
        <p14:creationId xmlns:p14="http://schemas.microsoft.com/office/powerpoint/2010/main" val="21069495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0461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ticker Placeholder 12">
            <a:extLst>
              <a:ext uri="{FF2B5EF4-FFF2-40B4-BE49-F238E27FC236}">
                <a16:creationId xmlns:a16="http://schemas.microsoft.com/office/drawing/2014/main" id="{259D1F1E-3CAC-49FF-990A-1EF0491CEB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009" y="43374"/>
            <a:ext cx="11246237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tabLst>
                <a:tab pos="269875" algn="l"/>
              </a:tabLst>
              <a:defRPr sz="1200" b="1" cap="all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7" name="Note Placeholder 11">
            <a:extLst>
              <a:ext uri="{FF2B5EF4-FFF2-40B4-BE49-F238E27FC236}">
                <a16:creationId xmlns:a16="http://schemas.microsoft.com/office/drawing/2014/main" id="{E825C46F-2744-47EF-8BD6-DDF7C33756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7012" y="6118280"/>
            <a:ext cx="11246241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dirty="0"/>
              <a:t>Note</a:t>
            </a:r>
          </a:p>
        </p:txBody>
      </p:sp>
      <p:sp>
        <p:nvSpPr>
          <p:cNvPr id="5" name="Source Placeholder 10">
            <a:extLst>
              <a:ext uri="{FF2B5EF4-FFF2-40B4-BE49-F238E27FC236}">
                <a16:creationId xmlns:a16="http://schemas.microsoft.com/office/drawing/2014/main" id="{C8A771B2-EB7B-43E6-9833-2DF81417A8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7013" y="6397157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77012" y="1124076"/>
            <a:ext cx="1124624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7012" y="237000"/>
            <a:ext cx="11246241" cy="773799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7013" y="1649163"/>
            <a:ext cx="11246240" cy="434021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3754F1D-8A2B-4F81-89E8-AF534DF282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pic>
        <p:nvPicPr>
          <p:cNvPr id="16" name="Picture 2" descr="Αποτέλεσμα εικόνας για sfee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598" y="6297836"/>
            <a:ext cx="1116950" cy="422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1760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87147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477013" y="6564311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800" noProof="0" dirty="0" err="1">
                <a:solidFill>
                  <a:schemeClr val="tx1"/>
                </a:solidFill>
                <a:latin typeface="Arial Narrow" panose="020B0606020202030204" pitchFamily="34" charset="0"/>
              </a:rPr>
              <a:t>SfEE</a:t>
            </a:r>
            <a:r>
              <a:rPr lang="en-US" sz="800" noProof="0" dirty="0">
                <a:solidFill>
                  <a:schemeClr val="tx1"/>
                </a:solidFill>
                <a:latin typeface="Arial Narrow" panose="020B0606020202030204" pitchFamily="34" charset="0"/>
              </a:rPr>
              <a:t> • Market Analysis • May 2023</a:t>
            </a:r>
          </a:p>
        </p:txBody>
      </p:sp>
      <p:sp>
        <p:nvSpPr>
          <p:cNvPr id="32" name="Sticker  Placeholder 12">
            <a:extLst>
              <a:ext uri="{FF2B5EF4-FFF2-40B4-BE49-F238E27FC236}">
                <a16:creationId xmlns:a16="http://schemas.microsoft.com/office/drawing/2014/main" id="{259D1F1E-3CAC-49FF-990A-1EF0491CEB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009" y="43374"/>
            <a:ext cx="11246237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tabLst>
                <a:tab pos="269875" algn="l"/>
              </a:tabLst>
              <a:defRPr sz="1200" b="1" cap="all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7" name="Note Placeholder 11">
            <a:extLst>
              <a:ext uri="{FF2B5EF4-FFF2-40B4-BE49-F238E27FC236}">
                <a16:creationId xmlns:a16="http://schemas.microsoft.com/office/drawing/2014/main" id="{E825C46F-2744-47EF-8BD6-DDF7C33756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7012" y="6118280"/>
            <a:ext cx="11246241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dirty="0"/>
              <a:t>Note</a:t>
            </a:r>
          </a:p>
        </p:txBody>
      </p:sp>
      <p:sp>
        <p:nvSpPr>
          <p:cNvPr id="5" name="Source Placeholder 10">
            <a:extLst>
              <a:ext uri="{FF2B5EF4-FFF2-40B4-BE49-F238E27FC236}">
                <a16:creationId xmlns:a16="http://schemas.microsoft.com/office/drawing/2014/main" id="{C8A771B2-EB7B-43E6-9833-2DF81417A86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013" y="6397157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7012" y="237000"/>
            <a:ext cx="11246241" cy="773799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3" name="Rectangle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A04DAF1-5F7F-4BB9-B8A4-9034F62443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pic>
        <p:nvPicPr>
          <p:cNvPr id="12" name="Picture 2" descr="Αποτέλεσμα εικόνας για sfee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598" y="6297836"/>
            <a:ext cx="1116950" cy="422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title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ticker Placeholder 12">
            <a:extLst>
              <a:ext uri="{FF2B5EF4-FFF2-40B4-BE49-F238E27FC236}">
                <a16:creationId xmlns:a16="http://schemas.microsoft.com/office/drawing/2014/main" id="{259D1F1E-3CAC-49FF-990A-1EF0491CEB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009" y="43374"/>
            <a:ext cx="11246237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tabLst>
                <a:tab pos="269875" algn="l"/>
              </a:tabLst>
              <a:defRPr sz="1200" b="1" cap="all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7" name="Note Placeholder 11">
            <a:extLst>
              <a:ext uri="{FF2B5EF4-FFF2-40B4-BE49-F238E27FC236}">
                <a16:creationId xmlns:a16="http://schemas.microsoft.com/office/drawing/2014/main" id="{E825C46F-2744-47EF-8BD6-DDF7C33756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7012" y="6118280"/>
            <a:ext cx="11246241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dirty="0"/>
              <a:t>Note</a:t>
            </a:r>
          </a:p>
        </p:txBody>
      </p:sp>
      <p:sp>
        <p:nvSpPr>
          <p:cNvPr id="5" name="Source Placeholder 10">
            <a:extLst>
              <a:ext uri="{FF2B5EF4-FFF2-40B4-BE49-F238E27FC236}">
                <a16:creationId xmlns:a16="http://schemas.microsoft.com/office/drawing/2014/main" id="{C8A771B2-EB7B-43E6-9833-2DF81417A8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7013" y="6397157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77012" y="1124076"/>
            <a:ext cx="1124624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7012" y="237000"/>
            <a:ext cx="11246241" cy="773799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7013" y="1649163"/>
            <a:ext cx="5400000" cy="434021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3754F1D-8A2B-4F81-89E8-AF534DF282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CE79C26-3080-42D4-8366-5E16AAD77489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23246" y="1649163"/>
            <a:ext cx="5400000" cy="434021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pic>
        <p:nvPicPr>
          <p:cNvPr id="16" name="Picture 2" descr="Αποτέλεσμα εικόνας για sfe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598" y="6297836"/>
            <a:ext cx="1116950" cy="422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05496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title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ticker Placeholder 12">
            <a:extLst>
              <a:ext uri="{FF2B5EF4-FFF2-40B4-BE49-F238E27FC236}">
                <a16:creationId xmlns:a16="http://schemas.microsoft.com/office/drawing/2014/main" id="{259D1F1E-3CAC-49FF-990A-1EF0491CEB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009" y="43374"/>
            <a:ext cx="11246237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tabLst>
                <a:tab pos="269875" algn="l"/>
              </a:tabLst>
              <a:defRPr sz="1200" b="1" cap="all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7" name="Note Placeholder 11">
            <a:extLst>
              <a:ext uri="{FF2B5EF4-FFF2-40B4-BE49-F238E27FC236}">
                <a16:creationId xmlns:a16="http://schemas.microsoft.com/office/drawing/2014/main" id="{E825C46F-2744-47EF-8BD6-DDF7C33756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7012" y="6118280"/>
            <a:ext cx="11246241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dirty="0"/>
              <a:t>Note</a:t>
            </a:r>
          </a:p>
        </p:txBody>
      </p:sp>
      <p:sp>
        <p:nvSpPr>
          <p:cNvPr id="5" name="Source Placeholder 10">
            <a:extLst>
              <a:ext uri="{FF2B5EF4-FFF2-40B4-BE49-F238E27FC236}">
                <a16:creationId xmlns:a16="http://schemas.microsoft.com/office/drawing/2014/main" id="{C8A771B2-EB7B-43E6-9833-2DF81417A8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7013" y="6397157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77012" y="1124076"/>
            <a:ext cx="1124624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7012" y="237000"/>
            <a:ext cx="11246241" cy="773799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7013" y="1649163"/>
            <a:ext cx="3528000" cy="434021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3754F1D-8A2B-4F81-89E8-AF534DF282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4B81560-5D13-4F9B-83DA-DFBA8C31D89F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336130" y="1649163"/>
            <a:ext cx="3528000" cy="434021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1AF3994-2130-4160-9980-11AC627E07EE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195246" y="1649163"/>
            <a:ext cx="3528000" cy="434021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pic>
        <p:nvPicPr>
          <p:cNvPr id="17" name="Picture 2" descr="Αποτέλεσμα εικόνας για sfe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598" y="6297836"/>
            <a:ext cx="1116950" cy="422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31270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826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3E3ECE06-91BF-4E5C-842A-22A92265012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pic>
        <p:nvPicPr>
          <p:cNvPr id="7" name="Picture 2" descr="Αποτέλεσμα εικόνας για sfee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598" y="6297836"/>
            <a:ext cx="1116950" cy="422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58">
            <a:extLst>
              <a:ext uri="{FF2B5EF4-FFF2-40B4-BE49-F238E27FC236}">
                <a16:creationId xmlns:a16="http://schemas.microsoft.com/office/drawing/2014/main" id="{F78C1414-23F3-4BE8-B6A5-76A8B45F34B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E7DD7B3-37B5-4995-BEF7-DB630FEAFF13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5B62E79-8C47-4D0B-9213-FE0939B41C91}"/>
              </a:ext>
            </a:extLst>
          </p:cNvPr>
          <p:cNvSpPr/>
          <p:nvPr userDrawn="1"/>
        </p:nvSpPr>
        <p:spPr>
          <a:xfrm>
            <a:off x="477013" y="6564311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800" noProof="0" dirty="0" err="1">
                <a:solidFill>
                  <a:schemeClr val="tx1"/>
                </a:solidFill>
                <a:latin typeface="Arial Narrow" panose="020B0606020202030204" pitchFamily="34" charset="0"/>
              </a:rPr>
              <a:t>SfEE</a:t>
            </a:r>
            <a:r>
              <a:rPr lang="en-US" sz="800" noProof="0" dirty="0">
                <a:solidFill>
                  <a:schemeClr val="tx1"/>
                </a:solidFill>
                <a:latin typeface="Arial Narrow" panose="020B0606020202030204" pitchFamily="34" charset="0"/>
              </a:rPr>
              <a:t> • Market Analysis • May 2023</a:t>
            </a:r>
          </a:p>
        </p:txBody>
      </p:sp>
    </p:spTree>
    <p:extLst>
      <p:ext uri="{BB962C8B-B14F-4D97-AF65-F5344CB8AC3E}">
        <p14:creationId xmlns:p14="http://schemas.microsoft.com/office/powerpoint/2010/main" val="32152131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>
            <a:spLocks noChangeArrowheads="1"/>
          </p:cNvSpPr>
          <p:nvPr/>
        </p:nvSpPr>
        <p:spPr bwMode="gray">
          <a:xfrm>
            <a:off x="582283" y="-1"/>
            <a:ext cx="3078445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TextBox 160"/>
          <p:cNvSpPr txBox="1"/>
          <p:nvPr/>
        </p:nvSpPr>
        <p:spPr bwMode="white">
          <a:xfrm>
            <a:off x="1036321" y="835016"/>
            <a:ext cx="1637152" cy="4999475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Table</a:t>
            </a:r>
            <a:r>
              <a:rPr lang="en-US" sz="2800" b="1" baseline="0" dirty="0">
                <a:solidFill>
                  <a:schemeClr val="bg1"/>
                </a:solidFill>
              </a:rPr>
              <a:t> of Content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164" name="Text Placeholder 163"/>
          <p:cNvSpPr>
            <a:spLocks noGrp="1"/>
          </p:cNvSpPr>
          <p:nvPr>
            <p:ph type="body" sz="quarter" idx="11" hasCustomPrompt="1"/>
          </p:nvPr>
        </p:nvSpPr>
        <p:spPr>
          <a:xfrm>
            <a:off x="4328160" y="835016"/>
            <a:ext cx="6999461" cy="4999475"/>
          </a:xfrm>
          <a:prstGeom prst="rect">
            <a:avLst/>
          </a:prstGeom>
        </p:spPr>
        <p:txBody>
          <a:bodyPr lIns="0" tIns="0" rIns="0" bIns="0" anchor="ctr"/>
          <a:lstStyle>
            <a:lvl1pPr marL="228600" indent="-22860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+"/>
              <a:defRPr sz="1800" baseline="0"/>
            </a:lvl1pPr>
            <a:lvl2pPr marL="400050" indent="-171450">
              <a:buClr>
                <a:schemeClr val="bg2"/>
              </a:buCl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Arial 18pt TOC</a:t>
            </a: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gray">
          <a:xfrm>
            <a:off x="3660728" y="6420040"/>
            <a:ext cx="4500000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white">
          <a:xfrm>
            <a:off x="582284" y="6420040"/>
            <a:ext cx="3078444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8" name="Rectangle 58"/>
          <p:cNvSpPr>
            <a:spLocks noChangeArrowheads="1"/>
          </p:cNvSpPr>
          <p:nvPr/>
        </p:nvSpPr>
        <p:spPr bwMode="gray">
          <a:xfrm>
            <a:off x="6033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E8B5319-9D5A-4AB6-8B8F-AFF3D9284B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pic>
        <p:nvPicPr>
          <p:cNvPr id="12" name="Picture 2" descr="Αποτέλεσμα εικόνας για sfe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598" y="6297836"/>
            <a:ext cx="1116950" cy="422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57838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0" y="1786580"/>
            <a:ext cx="8515386" cy="42598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22" name="Rectangle 58"/>
          <p:cNvSpPr>
            <a:spLocks noChangeArrowheads="1"/>
          </p:cNvSpPr>
          <p:nvPr/>
        </p:nvSpPr>
        <p:spPr bwMode="gray">
          <a:xfrm rot="5400000">
            <a:off x="-2148815" y="3761537"/>
            <a:ext cx="6016625" cy="1763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812197" y="2107576"/>
            <a:ext cx="6312628" cy="3616037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28pt Arial Bold Title Case</a:t>
            </a:r>
          </a:p>
        </p:txBody>
      </p:sp>
      <p:sp>
        <p:nvSpPr>
          <p:cNvPr id="16" name="Rectangle 58"/>
          <p:cNvSpPr>
            <a:spLocks noChangeArrowheads="1"/>
          </p:cNvSpPr>
          <p:nvPr/>
        </p:nvSpPr>
        <p:spPr bwMode="white">
          <a:xfrm rot="5400000">
            <a:off x="-1272658" y="3828727"/>
            <a:ext cx="4261751" cy="173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9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23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05208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192000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641"/>
            <a:ext cx="1389888" cy="24271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143270" y="914400"/>
            <a:ext cx="9905730" cy="5029199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Arial sentence case</a:t>
            </a:r>
          </a:p>
        </p:txBody>
      </p:sp>
    </p:spTree>
    <p:extLst>
      <p:ext uri="{BB962C8B-B14F-4D97-AF65-F5344CB8AC3E}">
        <p14:creationId xmlns:p14="http://schemas.microsoft.com/office/powerpoint/2010/main" val="4101428652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2033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04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152525" y="1562101"/>
            <a:ext cx="9898336" cy="1156066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sentence cas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08148"/>
            <a:ext cx="3326745" cy="3637151"/>
          </a:xfrm>
          <a:prstGeom prst="rect">
            <a:avLst/>
          </a:prstGeom>
        </p:spPr>
      </p:pic>
      <p:sp>
        <p:nvSpPr>
          <p:cNvPr id="11" name="Rectangle 58"/>
          <p:cNvSpPr>
            <a:spLocks noChangeArrowheads="1"/>
          </p:cNvSpPr>
          <p:nvPr/>
        </p:nvSpPr>
        <p:spPr bwMode="white">
          <a:xfrm>
            <a:off x="11506198" y="771348"/>
            <a:ext cx="697189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4BB0B6-F5A7-41D0-A596-1D42455232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57625" y="2981325"/>
            <a:ext cx="7192963" cy="164147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en-US" sz="1600" dirty="0" smtClean="0">
                <a:solidFill>
                  <a:schemeClr val="bg1"/>
                </a:solidFill>
              </a:defRPr>
            </a:lvl1pPr>
            <a:lvl2pPr>
              <a:defRPr lang="en-US" sz="1600" dirty="0" smtClean="0">
                <a:solidFill>
                  <a:schemeClr val="bg1"/>
                </a:solidFill>
              </a:defRPr>
            </a:lvl2pPr>
            <a:lvl3pPr>
              <a:defRPr lang="en-US" sz="1600" dirty="0" smtClean="0">
                <a:solidFill>
                  <a:schemeClr val="bg1"/>
                </a:solidFill>
              </a:defRPr>
            </a:lvl3pPr>
            <a:lvl4pPr>
              <a:defRPr lang="en-US" sz="1600" dirty="0" smtClean="0">
                <a:solidFill>
                  <a:schemeClr val="bg1"/>
                </a:solidFill>
              </a:defRPr>
            </a:lvl4pPr>
            <a:lvl5pPr>
              <a:defRPr lang="en-US" sz="1600" dirty="0">
                <a:solidFill>
                  <a:schemeClr val="bg1"/>
                </a:solidFill>
              </a:defRPr>
            </a:lvl5pPr>
          </a:lstStyle>
          <a:p>
            <a:pPr marL="171450" lvl="0" indent="-171450">
              <a:lnSpc>
                <a:spcPct val="100000"/>
              </a:lnSpc>
            </a:pPr>
            <a:r>
              <a:rPr lang="en-US" dirty="0"/>
              <a:t>Arial </a:t>
            </a:r>
            <a:r>
              <a:rPr lang="cs-CZ" dirty="0"/>
              <a:t>16</a:t>
            </a:r>
            <a:r>
              <a:rPr lang="en-US" dirty="0"/>
              <a:t>pt bullet level 1</a:t>
            </a:r>
          </a:p>
          <a:p>
            <a:pPr marL="342900" lvl="1" indent="-171450">
              <a:lnSpc>
                <a:spcPct val="100000"/>
              </a:lnSpc>
              <a:spcBef>
                <a:spcPts val="800"/>
              </a:spcBef>
              <a:buChar char="-"/>
            </a:pPr>
            <a:r>
              <a:rPr lang="en-US" dirty="0"/>
              <a:t>Arial </a:t>
            </a:r>
            <a:r>
              <a:rPr lang="cs-CZ" dirty="0"/>
              <a:t>16</a:t>
            </a:r>
            <a:r>
              <a:rPr lang="en-US" dirty="0"/>
              <a:t>pt bullet level 2</a:t>
            </a:r>
          </a:p>
          <a:p>
            <a:pPr marL="571500" lvl="2" indent="-171450">
              <a:lnSpc>
                <a:spcPct val="100000"/>
              </a:lnSpc>
              <a:spcBef>
                <a:spcPts val="800"/>
              </a:spcBef>
              <a:buChar char="›"/>
            </a:pPr>
            <a:r>
              <a:rPr lang="en-US" dirty="0"/>
              <a:t>Arial </a:t>
            </a:r>
            <a:r>
              <a:rPr lang="cs-CZ" dirty="0"/>
              <a:t>16</a:t>
            </a:r>
            <a:r>
              <a:rPr lang="en-US" dirty="0"/>
              <a:t>pt bullet level 3</a:t>
            </a:r>
          </a:p>
          <a:p>
            <a:pPr marL="742950" lvl="3" indent="-171450">
              <a:lnSpc>
                <a:spcPct val="100000"/>
              </a:lnSpc>
              <a:spcBef>
                <a:spcPts val="800"/>
              </a:spcBef>
              <a:buChar char="»"/>
            </a:pPr>
            <a:r>
              <a:rPr lang="en-US" dirty="0"/>
              <a:t>Arial </a:t>
            </a:r>
            <a:r>
              <a:rPr lang="cs-CZ" dirty="0"/>
              <a:t>16</a:t>
            </a:r>
            <a:r>
              <a:rPr lang="en-US" dirty="0"/>
              <a:t>pt bullet level 4</a:t>
            </a:r>
          </a:p>
          <a:p>
            <a:pPr marL="914400" lvl="4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US" dirty="0"/>
              <a:t>Arial </a:t>
            </a:r>
            <a:r>
              <a:rPr lang="cs-CZ" dirty="0"/>
              <a:t>16</a:t>
            </a:r>
            <a:r>
              <a:rPr lang="en-US" dirty="0"/>
              <a:t>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1219685825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700774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47619" y="75203"/>
            <a:ext cx="11040000" cy="84922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Click to edit title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647619" y="1000035"/>
            <a:ext cx="11040000" cy="0"/>
          </a:xfrm>
          <a:prstGeom prst="line">
            <a:avLst/>
          </a:prstGeom>
          <a:ln w="15875">
            <a:solidFill>
              <a:schemeClr val="bg2"/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47619" y="1088229"/>
            <a:ext cx="11040000" cy="36317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 sz="1600" b="1">
                <a:solidFill>
                  <a:schemeClr val="accent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marL="0" marR="0" lvl="0" indent="0" algn="l" defTabSz="410291" rtl="0" eaLnBrk="1" fontAlgn="auto" latinLnBrk="0" hangingPunct="1">
              <a:lnSpc>
                <a:spcPct val="11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47619" y="6299471"/>
            <a:ext cx="11040000" cy="165799"/>
          </a:xfrm>
          <a:prstGeom prst="rect">
            <a:avLst/>
          </a:prstGeom>
        </p:spPr>
        <p:txBody>
          <a:bodyPr lIns="90000" rIns="90000" anchor="ctr" anchorCtr="0"/>
          <a:lstStyle>
            <a:lvl1pPr marL="0" indent="0">
              <a:buNone/>
              <a:defRPr sz="7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rce:</a:t>
            </a:r>
            <a:endParaRPr lang="el-GR" dirty="0"/>
          </a:p>
        </p:txBody>
      </p:sp>
      <p:sp>
        <p:nvSpPr>
          <p:cNvPr id="7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47619" y="5854910"/>
            <a:ext cx="11040000" cy="403200"/>
          </a:xfrm>
          <a:prstGeom prst="rect">
            <a:avLst/>
          </a:prstGeom>
        </p:spPr>
        <p:txBody>
          <a:bodyPr lIns="90000" rIns="90000" anchor="b" anchorCtr="0"/>
          <a:lstStyle>
            <a:lvl1pPr marL="0" indent="0">
              <a:buNone/>
              <a:defRPr sz="7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1. Footnote or Question:</a:t>
            </a:r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1371691541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 White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2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29175BC-552B-D64A-8152-E96EE8CE39AF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D370C788-BCB9-AA4B-83CC-830DE2532168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86A666F2-61DC-1141-A28D-9C664CF9E0D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B36DAFEC-9E33-D342-8F38-9280EB50249D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14487FF1-1618-4249-B143-BEFFD4E4E8FD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E4418D72-B986-414A-97FC-FCCE7B7F1B53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B4C17C8-380D-41B2-8F4E-B2A6A80204A7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D82C82-AD27-49A1-AB10-24272A1884F7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A43F6D9-2B76-4F47-8BB1-588F5D046A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F77A25CF-5914-0B4E-8C5F-E8D980A4AE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02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losing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117F4479-AB2F-544F-914C-7C68ABE310F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36859" y="3208148"/>
            <a:ext cx="5588846" cy="2929323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82296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109728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1371600" indent="-27432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77FA37B5-B8A2-E447-B5FC-531DD50C18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4320" y="1795534"/>
            <a:ext cx="7631698" cy="1174627"/>
          </a:xfrm>
          <a:prstGeom prst="rect">
            <a:avLst/>
          </a:prstGeo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Bold sentence cas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364B443-1067-8D4E-8347-69E3D88570DB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E23B4D94-914D-6A47-AF73-BDD6ABF78CB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E941EA1A-7BCD-E547-9195-3AF3CBAB9DE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BF4E84-D8C8-3340-8821-E170F38BCB95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04358390-5EFC-484C-9E81-E6E1DFD520E7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11" name="Graphic 10">
            <a:extLst>
              <a:ext uri="{FF2B5EF4-FFF2-40B4-BE49-F238E27FC236}">
                <a16:creationId xmlns:a16="http://schemas.microsoft.com/office/drawing/2014/main" id="{29E62D4C-ACB0-644F-9042-ADF3C890FE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FECB2AB0-AE05-714C-B46B-551297B2D9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30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D9F4A6-D775-4860-AA6E-F070A746E0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43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D9F4A6-D775-4860-AA6E-F070A746E0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ticker Placeholder 12">
            <a:extLst>
              <a:ext uri="{FF2B5EF4-FFF2-40B4-BE49-F238E27FC236}">
                <a16:creationId xmlns:a16="http://schemas.microsoft.com/office/drawing/2014/main" id="{259D1F1E-3CAC-49FF-990A-1EF0491CEB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009" y="43374"/>
            <a:ext cx="11246237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tabLst>
                <a:tab pos="269875" algn="l"/>
              </a:tabLst>
              <a:defRPr sz="1200" b="1" cap="all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7" name="Note Placeholder 11">
            <a:extLst>
              <a:ext uri="{FF2B5EF4-FFF2-40B4-BE49-F238E27FC236}">
                <a16:creationId xmlns:a16="http://schemas.microsoft.com/office/drawing/2014/main" id="{E825C46F-2744-47EF-8BD6-DDF7C33756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7012" y="6118280"/>
            <a:ext cx="11246241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dirty="0"/>
              <a:t>Note</a:t>
            </a:r>
          </a:p>
        </p:txBody>
      </p:sp>
      <p:sp>
        <p:nvSpPr>
          <p:cNvPr id="5" name="Source Placeholder 10">
            <a:extLst>
              <a:ext uri="{FF2B5EF4-FFF2-40B4-BE49-F238E27FC236}">
                <a16:creationId xmlns:a16="http://schemas.microsoft.com/office/drawing/2014/main" id="{C8A771B2-EB7B-43E6-9833-2DF81417A8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7013" y="6397157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77012" y="1124076"/>
            <a:ext cx="1124624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7012" y="237000"/>
            <a:ext cx="11246241" cy="773799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34AB9AD-BF52-4106-8F74-3CAA352B836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pic>
        <p:nvPicPr>
          <p:cNvPr id="15" name="Picture 2" descr="Αποτέλεσμα εικόνας για sfee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598" y="6297836"/>
            <a:ext cx="1116950" cy="422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4FCB5737-C77A-412D-87AA-1C954126AF8F}"/>
              </a:ext>
            </a:extLst>
          </p:cNvPr>
          <p:cNvSpPr/>
          <p:nvPr userDrawn="1"/>
        </p:nvSpPr>
        <p:spPr>
          <a:xfrm>
            <a:off x="477013" y="6564311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800" noProof="0" dirty="0" err="1">
                <a:solidFill>
                  <a:schemeClr val="tx1"/>
                </a:solidFill>
                <a:latin typeface="Arial Narrow" panose="020B0606020202030204" pitchFamily="34" charset="0"/>
              </a:rPr>
              <a:t>SfEE</a:t>
            </a:r>
            <a:r>
              <a:rPr lang="en-US" sz="800" noProof="0" dirty="0">
                <a:solidFill>
                  <a:schemeClr val="tx1"/>
                </a:solidFill>
                <a:latin typeface="Arial Narrow" panose="020B0606020202030204" pitchFamily="34" charset="0"/>
              </a:rPr>
              <a:t> • Market Analysis • May 2023</a:t>
            </a:r>
          </a:p>
        </p:txBody>
      </p:sp>
    </p:spTree>
    <p:extLst>
      <p:ext uri="{BB962C8B-B14F-4D97-AF65-F5344CB8AC3E}">
        <p14:creationId xmlns:p14="http://schemas.microsoft.com/office/powerpoint/2010/main" val="321852681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hought Slide 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CE54A23A-653F-044A-872E-96D84FA8FBB7}"/>
              </a:ext>
            </a:extLst>
          </p:cNvPr>
          <p:cNvGrpSpPr/>
          <p:nvPr/>
        </p:nvGrpSpPr>
        <p:grpSpPr>
          <a:xfrm>
            <a:off x="0" y="1460563"/>
            <a:ext cx="2550984" cy="4676908"/>
            <a:chOff x="0" y="1403413"/>
            <a:chExt cx="2550984" cy="4676908"/>
          </a:xfrm>
          <a:solidFill>
            <a:schemeClr val="accent1"/>
          </a:solidFill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44260B0-4CB4-D64E-9C92-5124265DA7A3}"/>
                </a:ext>
              </a:extLst>
            </p:cNvPr>
            <p:cNvGrpSpPr/>
            <p:nvPr/>
          </p:nvGrpSpPr>
          <p:grpSpPr>
            <a:xfrm>
              <a:off x="1" y="4502072"/>
              <a:ext cx="1013573" cy="545364"/>
              <a:chOff x="1" y="4502072"/>
              <a:chExt cx="1013573" cy="545364"/>
            </a:xfrm>
            <a:grpFill/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AFE54BDC-92F7-FF47-96F4-48A8CED3C760}"/>
                  </a:ext>
                </a:extLst>
              </p:cNvPr>
              <p:cNvSpPr/>
              <p:nvPr/>
            </p:nvSpPr>
            <p:spPr>
              <a:xfrm>
                <a:off x="1" y="4502072"/>
                <a:ext cx="73504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BBC52103-9224-6C4C-89DA-F8113C00854E}"/>
                  </a:ext>
                </a:extLst>
              </p:cNvPr>
              <p:cNvSpPr/>
              <p:nvPr/>
            </p:nvSpPr>
            <p:spPr>
              <a:xfrm>
                <a:off x="468210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0C066D0-213A-4E42-B2BA-FB39C744A96E}"/>
                </a:ext>
              </a:extLst>
            </p:cNvPr>
            <p:cNvGrpSpPr/>
            <p:nvPr/>
          </p:nvGrpSpPr>
          <p:grpSpPr>
            <a:xfrm>
              <a:off x="0" y="3469185"/>
              <a:ext cx="1162174" cy="545364"/>
              <a:chOff x="0" y="3469185"/>
              <a:chExt cx="1162174" cy="545364"/>
            </a:xfrm>
            <a:grpFill/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DA67A407-7D4D-3749-9A23-617DCB2CC42B}"/>
                  </a:ext>
                </a:extLst>
              </p:cNvPr>
              <p:cNvSpPr/>
              <p:nvPr/>
            </p:nvSpPr>
            <p:spPr>
              <a:xfrm>
                <a:off x="0" y="3469185"/>
                <a:ext cx="8836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35FFBBA7-854B-B748-B093-1CE3952BB1BD}"/>
                  </a:ext>
                </a:extLst>
              </p:cNvPr>
              <p:cNvSpPr/>
              <p:nvPr/>
            </p:nvSpPr>
            <p:spPr>
              <a:xfrm>
                <a:off x="616810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0143330-49E8-4D4D-A683-BA5AC4536F35}"/>
                </a:ext>
              </a:extLst>
            </p:cNvPr>
            <p:cNvGrpSpPr/>
            <p:nvPr/>
          </p:nvGrpSpPr>
          <p:grpSpPr>
            <a:xfrm>
              <a:off x="0" y="2436300"/>
              <a:ext cx="1023436" cy="545364"/>
              <a:chOff x="0" y="2440184"/>
              <a:chExt cx="1023436" cy="545364"/>
            </a:xfrm>
            <a:grpFill/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8036A379-1707-5D4E-AAD8-4CD10718D475}"/>
                  </a:ext>
                </a:extLst>
              </p:cNvPr>
              <p:cNvSpPr/>
              <p:nvPr/>
            </p:nvSpPr>
            <p:spPr>
              <a:xfrm>
                <a:off x="0" y="2440184"/>
                <a:ext cx="74406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EB1666CD-BEF0-4D4B-BA70-902CCBD452A2}"/>
                  </a:ext>
                </a:extLst>
              </p:cNvPr>
              <p:cNvSpPr/>
              <p:nvPr/>
            </p:nvSpPr>
            <p:spPr>
              <a:xfrm>
                <a:off x="478072" y="2440184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6437A27-019B-564D-B996-C91C1F5CC2C9}"/>
                </a:ext>
              </a:extLst>
            </p:cNvPr>
            <p:cNvGrpSpPr/>
            <p:nvPr/>
          </p:nvGrpSpPr>
          <p:grpSpPr>
            <a:xfrm>
              <a:off x="876713" y="5534957"/>
              <a:ext cx="1674271" cy="545364"/>
              <a:chOff x="876236" y="5534957"/>
              <a:chExt cx="1674271" cy="545364"/>
            </a:xfrm>
            <a:grpFill/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A63EA5C-5E6E-BC4A-9E7A-94DE3B6280E8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7A0BB5E6-BAD7-3F49-A359-BE26A2F6BE4C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1C16252C-42E7-844C-86B3-C65D63364C8F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DF5CA18-ACA9-2A42-A4F3-CA7027AC1183}"/>
                </a:ext>
              </a:extLst>
            </p:cNvPr>
            <p:cNvGrpSpPr/>
            <p:nvPr/>
          </p:nvGrpSpPr>
          <p:grpSpPr>
            <a:xfrm>
              <a:off x="1404844" y="4502072"/>
              <a:ext cx="1146140" cy="545364"/>
              <a:chOff x="1404367" y="4502072"/>
              <a:chExt cx="1146140" cy="545364"/>
            </a:xfrm>
            <a:grpFill/>
          </p:grpSpPr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EF9009F8-F40E-4142-9FD4-5F82D827183E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F656972E-4EE4-B440-BF3B-7C50C2F4AFD2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856FC643-92EC-5446-B635-5272B44ABBC4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7F13C1C-5A0B-E349-81D8-289CF597EFF6}"/>
                </a:ext>
              </a:extLst>
            </p:cNvPr>
            <p:cNvGrpSpPr/>
            <p:nvPr/>
          </p:nvGrpSpPr>
          <p:grpSpPr>
            <a:xfrm>
              <a:off x="1563753" y="3469185"/>
              <a:ext cx="987231" cy="545364"/>
              <a:chOff x="1560101" y="3469185"/>
              <a:chExt cx="987231" cy="545364"/>
            </a:xfrm>
            <a:grpFill/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B4037E36-7ECF-7242-B733-14F93EF6E7A7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13A075E0-B627-254E-A4FB-378B4E95EDE4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B2AE0DCE-94BE-7947-8768-92F78F9D7213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16D361C0-AC3B-D84D-9A88-5FC411D00470}"/>
                </a:ext>
              </a:extLst>
            </p:cNvPr>
            <p:cNvGrpSpPr/>
            <p:nvPr/>
          </p:nvGrpSpPr>
          <p:grpSpPr>
            <a:xfrm>
              <a:off x="1416321" y="2436300"/>
              <a:ext cx="1134663" cy="545364"/>
              <a:chOff x="1415887" y="2436300"/>
              <a:chExt cx="1134663" cy="545364"/>
            </a:xfrm>
            <a:grpFill/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1603488A-FE35-DC44-B59F-D73A4174124C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F562BC2A-8E8F-8F4A-AF64-D93514A83DE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45DA935B-E728-D449-B962-9C993F9194C3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37C5B5FC-28F8-6A43-9D03-F89AA5DADC09}"/>
                </a:ext>
              </a:extLst>
            </p:cNvPr>
            <p:cNvGrpSpPr/>
            <p:nvPr/>
          </p:nvGrpSpPr>
          <p:grpSpPr>
            <a:xfrm>
              <a:off x="898206" y="1403413"/>
              <a:ext cx="1652778" cy="545364"/>
              <a:chOff x="898206" y="1403413"/>
              <a:chExt cx="1652778" cy="545364"/>
            </a:xfrm>
            <a:grpFill/>
          </p:grpSpPr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B34D7784-E348-154F-80D9-BA83F6D4D68E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849EC6B-F9A7-F742-813C-BBB1639B37A5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81DB5796-D137-AF40-AB92-A11E96841BD6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2606B288-B2E5-CB4F-9CD4-6304B4259D84}"/>
                </a:ext>
              </a:extLst>
            </p:cNvPr>
            <p:cNvSpPr/>
            <p:nvPr/>
          </p:nvSpPr>
          <p:spPr>
            <a:xfrm>
              <a:off x="1945" y="5534957"/>
              <a:ext cx="476127" cy="545364"/>
            </a:xfrm>
            <a:custGeom>
              <a:avLst/>
              <a:gdLst>
                <a:gd name="connsiteX0" fmla="*/ 0 w 476127"/>
                <a:gd name="connsiteY0" fmla="*/ 0 h 545364"/>
                <a:gd name="connsiteX1" fmla="*/ 197590 w 476127"/>
                <a:gd name="connsiteY1" fmla="*/ 0 h 545364"/>
                <a:gd name="connsiteX2" fmla="*/ 197590 w 476127"/>
                <a:gd name="connsiteY2" fmla="*/ 590 h 545364"/>
                <a:gd name="connsiteX3" fmla="*/ 203445 w 476127"/>
                <a:gd name="connsiteY3" fmla="*/ 0 h 545364"/>
                <a:gd name="connsiteX4" fmla="*/ 476127 w 476127"/>
                <a:gd name="connsiteY4" fmla="*/ 272682 h 545364"/>
                <a:gd name="connsiteX5" fmla="*/ 203445 w 476127"/>
                <a:gd name="connsiteY5" fmla="*/ 545364 h 545364"/>
                <a:gd name="connsiteX6" fmla="*/ 197590 w 476127"/>
                <a:gd name="connsiteY6" fmla="*/ 544774 h 545364"/>
                <a:gd name="connsiteX7" fmla="*/ 197590 w 476127"/>
                <a:gd name="connsiteY7" fmla="*/ 545364 h 545364"/>
                <a:gd name="connsiteX8" fmla="*/ 0 w 476127"/>
                <a:gd name="connsiteY8" fmla="*/ 545364 h 545364"/>
                <a:gd name="connsiteX9" fmla="*/ 0 w 476127"/>
                <a:gd name="connsiteY9" fmla="*/ 452614 h 545364"/>
                <a:gd name="connsiteX10" fmla="*/ 0 w 476127"/>
                <a:gd name="connsiteY10" fmla="*/ 92750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6127" h="545364">
                  <a:moveTo>
                    <a:pt x="0" y="0"/>
                  </a:moveTo>
                  <a:lnTo>
                    <a:pt x="197590" y="0"/>
                  </a:lnTo>
                  <a:lnTo>
                    <a:pt x="197590" y="590"/>
                  </a:lnTo>
                  <a:lnTo>
                    <a:pt x="203445" y="0"/>
                  </a:lnTo>
                  <a:cubicBezTo>
                    <a:pt x="354043" y="0"/>
                    <a:pt x="476127" y="122084"/>
                    <a:pt x="476127" y="272682"/>
                  </a:cubicBezTo>
                  <a:cubicBezTo>
                    <a:pt x="476127" y="423280"/>
                    <a:pt x="354043" y="545364"/>
                    <a:pt x="203445" y="545364"/>
                  </a:cubicBezTo>
                  <a:lnTo>
                    <a:pt x="197590" y="544774"/>
                  </a:lnTo>
                  <a:lnTo>
                    <a:pt x="197590" y="545364"/>
                  </a:lnTo>
                  <a:lnTo>
                    <a:pt x="0" y="545364"/>
                  </a:lnTo>
                  <a:lnTo>
                    <a:pt x="0" y="452614"/>
                  </a:lnTo>
                  <a:lnTo>
                    <a:pt x="0" y="927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18324F76-739D-5A41-8026-F96B96947F97}"/>
                </a:ext>
              </a:extLst>
            </p:cNvPr>
            <p:cNvSpPr/>
            <p:nvPr/>
          </p:nvSpPr>
          <p:spPr>
            <a:xfrm>
              <a:off x="0" y="1403413"/>
              <a:ext cx="501699" cy="545364"/>
            </a:xfrm>
            <a:custGeom>
              <a:avLst/>
              <a:gdLst>
                <a:gd name="connsiteX0" fmla="*/ 1 w 501699"/>
                <a:gd name="connsiteY0" fmla="*/ 0 h 545364"/>
                <a:gd name="connsiteX1" fmla="*/ 223169 w 501699"/>
                <a:gd name="connsiteY1" fmla="*/ 0 h 545364"/>
                <a:gd name="connsiteX2" fmla="*/ 223169 w 501699"/>
                <a:gd name="connsiteY2" fmla="*/ 590 h 545364"/>
                <a:gd name="connsiteX3" fmla="*/ 229017 w 501699"/>
                <a:gd name="connsiteY3" fmla="*/ 0 h 545364"/>
                <a:gd name="connsiteX4" fmla="*/ 501699 w 501699"/>
                <a:gd name="connsiteY4" fmla="*/ 272682 h 545364"/>
                <a:gd name="connsiteX5" fmla="*/ 229017 w 501699"/>
                <a:gd name="connsiteY5" fmla="*/ 545364 h 545364"/>
                <a:gd name="connsiteX6" fmla="*/ 223169 w 501699"/>
                <a:gd name="connsiteY6" fmla="*/ 544775 h 545364"/>
                <a:gd name="connsiteX7" fmla="*/ 223169 w 501699"/>
                <a:gd name="connsiteY7" fmla="*/ 545364 h 545364"/>
                <a:gd name="connsiteX8" fmla="*/ 1 w 501699"/>
                <a:gd name="connsiteY8" fmla="*/ 545364 h 545364"/>
                <a:gd name="connsiteX9" fmla="*/ 1 w 501699"/>
                <a:gd name="connsiteY9" fmla="*/ 419791 h 545364"/>
                <a:gd name="connsiteX10" fmla="*/ 0 w 501699"/>
                <a:gd name="connsiteY10" fmla="*/ 419789 h 545364"/>
                <a:gd name="connsiteX11" fmla="*/ 0 w 501699"/>
                <a:gd name="connsiteY11" fmla="*/ 125575 h 545364"/>
                <a:gd name="connsiteX12" fmla="*/ 1 w 501699"/>
                <a:gd name="connsiteY12" fmla="*/ 125573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1699" h="545364">
                  <a:moveTo>
                    <a:pt x="1" y="0"/>
                  </a:moveTo>
                  <a:lnTo>
                    <a:pt x="223169" y="0"/>
                  </a:lnTo>
                  <a:lnTo>
                    <a:pt x="223169" y="590"/>
                  </a:lnTo>
                  <a:lnTo>
                    <a:pt x="229017" y="0"/>
                  </a:lnTo>
                  <a:cubicBezTo>
                    <a:pt x="379615" y="0"/>
                    <a:pt x="501699" y="122084"/>
                    <a:pt x="501699" y="272682"/>
                  </a:cubicBezTo>
                  <a:cubicBezTo>
                    <a:pt x="501699" y="423280"/>
                    <a:pt x="379615" y="545364"/>
                    <a:pt x="229017" y="545364"/>
                  </a:cubicBezTo>
                  <a:lnTo>
                    <a:pt x="223169" y="544775"/>
                  </a:lnTo>
                  <a:lnTo>
                    <a:pt x="223169" y="545364"/>
                  </a:lnTo>
                  <a:lnTo>
                    <a:pt x="1" y="545364"/>
                  </a:lnTo>
                  <a:lnTo>
                    <a:pt x="1" y="419791"/>
                  </a:lnTo>
                  <a:lnTo>
                    <a:pt x="0" y="419789"/>
                  </a:lnTo>
                  <a:lnTo>
                    <a:pt x="0" y="125575"/>
                  </a:lnTo>
                  <a:lnTo>
                    <a:pt x="1" y="1255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60" name="Title 1">
            <a:extLst>
              <a:ext uri="{FF2B5EF4-FFF2-40B4-BE49-F238E27FC236}">
                <a16:creationId xmlns:a16="http://schemas.microsoft.com/office/drawing/2014/main" id="{99B32E9C-8531-8F42-88AC-648425B4B1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393370" y="1460563"/>
            <a:ext cx="7988504" cy="4676908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</a:t>
            </a:r>
            <a:br>
              <a:rPr lang="en-US" dirty="0"/>
            </a:br>
            <a:r>
              <a:rPr lang="en-US" dirty="0"/>
              <a:t>Arial Bold sentence cas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DBE3E6C0-8C36-8B43-957E-48824B0A0BBC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708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0461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ticker Placeholder 12">
            <a:extLst>
              <a:ext uri="{FF2B5EF4-FFF2-40B4-BE49-F238E27FC236}">
                <a16:creationId xmlns:a16="http://schemas.microsoft.com/office/drawing/2014/main" id="{259D1F1E-3CAC-49FF-990A-1EF0491CEB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009" y="43374"/>
            <a:ext cx="11246237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tabLst>
                <a:tab pos="269875" algn="l"/>
              </a:tabLst>
              <a:defRPr sz="1200" b="1" cap="all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7" name="Note Placeholder 11">
            <a:extLst>
              <a:ext uri="{FF2B5EF4-FFF2-40B4-BE49-F238E27FC236}">
                <a16:creationId xmlns:a16="http://schemas.microsoft.com/office/drawing/2014/main" id="{E825C46F-2744-47EF-8BD6-DDF7C33756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7012" y="6118280"/>
            <a:ext cx="11246241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dirty="0"/>
              <a:t>Note</a:t>
            </a:r>
          </a:p>
        </p:txBody>
      </p:sp>
      <p:sp>
        <p:nvSpPr>
          <p:cNvPr id="5" name="Source Placeholder 10">
            <a:extLst>
              <a:ext uri="{FF2B5EF4-FFF2-40B4-BE49-F238E27FC236}">
                <a16:creationId xmlns:a16="http://schemas.microsoft.com/office/drawing/2014/main" id="{C8A771B2-EB7B-43E6-9833-2DF81417A8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7013" y="6397157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77012" y="1124076"/>
            <a:ext cx="1124624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7012" y="237000"/>
            <a:ext cx="11246241" cy="773799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7013" y="1649163"/>
            <a:ext cx="11246240" cy="434021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3754F1D-8A2B-4F81-89E8-AF534DF282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pic>
        <p:nvPicPr>
          <p:cNvPr id="16" name="Picture 2" descr="Αποτέλεσμα εικόνας για sfee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598" y="6297836"/>
            <a:ext cx="1116950" cy="422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031BE1F-7A7C-4A1A-9B3D-C594F65BDFB1}"/>
              </a:ext>
            </a:extLst>
          </p:cNvPr>
          <p:cNvSpPr/>
          <p:nvPr userDrawn="1"/>
        </p:nvSpPr>
        <p:spPr>
          <a:xfrm>
            <a:off x="477013" y="6564311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800" noProof="0" dirty="0" err="1">
                <a:solidFill>
                  <a:schemeClr val="tx1"/>
                </a:solidFill>
                <a:latin typeface="Arial Narrow" panose="020B0606020202030204" pitchFamily="34" charset="0"/>
              </a:rPr>
              <a:t>SfEE</a:t>
            </a:r>
            <a:r>
              <a:rPr lang="en-US" sz="800" noProof="0" dirty="0">
                <a:solidFill>
                  <a:schemeClr val="tx1"/>
                </a:solidFill>
                <a:latin typeface="Arial Narrow" panose="020B0606020202030204" pitchFamily="34" charset="0"/>
              </a:rPr>
              <a:t> • Market Analysis • May 2023</a:t>
            </a:r>
          </a:p>
        </p:txBody>
      </p:sp>
    </p:spTree>
    <p:extLst>
      <p:ext uri="{BB962C8B-B14F-4D97-AF65-F5344CB8AC3E}">
        <p14:creationId xmlns:p14="http://schemas.microsoft.com/office/powerpoint/2010/main" val="35972926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title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ticker Placeholder 12">
            <a:extLst>
              <a:ext uri="{FF2B5EF4-FFF2-40B4-BE49-F238E27FC236}">
                <a16:creationId xmlns:a16="http://schemas.microsoft.com/office/drawing/2014/main" id="{259D1F1E-3CAC-49FF-990A-1EF0491CEB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009" y="43374"/>
            <a:ext cx="11246237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tabLst>
                <a:tab pos="269875" algn="l"/>
              </a:tabLst>
              <a:defRPr sz="1200" b="1" cap="all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7" name="Note Placeholder 11">
            <a:extLst>
              <a:ext uri="{FF2B5EF4-FFF2-40B4-BE49-F238E27FC236}">
                <a16:creationId xmlns:a16="http://schemas.microsoft.com/office/drawing/2014/main" id="{E825C46F-2744-47EF-8BD6-DDF7C33756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7012" y="6118280"/>
            <a:ext cx="11246241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dirty="0"/>
              <a:t>Note</a:t>
            </a:r>
          </a:p>
        </p:txBody>
      </p:sp>
      <p:sp>
        <p:nvSpPr>
          <p:cNvPr id="5" name="Source Placeholder 10">
            <a:extLst>
              <a:ext uri="{FF2B5EF4-FFF2-40B4-BE49-F238E27FC236}">
                <a16:creationId xmlns:a16="http://schemas.microsoft.com/office/drawing/2014/main" id="{C8A771B2-EB7B-43E6-9833-2DF81417A8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7013" y="6397157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77012" y="1124076"/>
            <a:ext cx="1124624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7012" y="237000"/>
            <a:ext cx="11246241" cy="773799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7013" y="1649163"/>
            <a:ext cx="5400000" cy="434021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3754F1D-8A2B-4F81-89E8-AF534DF282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CE79C26-3080-42D4-8366-5E16AAD77489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23246" y="1649163"/>
            <a:ext cx="5400000" cy="434021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pic>
        <p:nvPicPr>
          <p:cNvPr id="16" name="Picture 2" descr="Αποτέλεσμα εικόνας για sfe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598" y="6297836"/>
            <a:ext cx="1116950" cy="422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ACB5E4D6-3A45-40F1-A3C1-6EEA70FEB335}"/>
              </a:ext>
            </a:extLst>
          </p:cNvPr>
          <p:cNvSpPr/>
          <p:nvPr userDrawn="1"/>
        </p:nvSpPr>
        <p:spPr>
          <a:xfrm>
            <a:off x="477013" y="6564311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800" noProof="0" dirty="0" err="1">
                <a:solidFill>
                  <a:schemeClr val="tx1"/>
                </a:solidFill>
                <a:latin typeface="Arial Narrow" panose="020B0606020202030204" pitchFamily="34" charset="0"/>
              </a:rPr>
              <a:t>SfEE</a:t>
            </a:r>
            <a:r>
              <a:rPr lang="en-US" sz="800" noProof="0" dirty="0">
                <a:solidFill>
                  <a:schemeClr val="tx1"/>
                </a:solidFill>
                <a:latin typeface="Arial Narrow" panose="020B0606020202030204" pitchFamily="34" charset="0"/>
              </a:rPr>
              <a:t> • Market Analysis • May 2023</a:t>
            </a:r>
          </a:p>
        </p:txBody>
      </p:sp>
    </p:spTree>
    <p:extLst>
      <p:ext uri="{BB962C8B-B14F-4D97-AF65-F5344CB8AC3E}">
        <p14:creationId xmlns:p14="http://schemas.microsoft.com/office/powerpoint/2010/main" val="16995719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title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ticker Placeholder 12">
            <a:extLst>
              <a:ext uri="{FF2B5EF4-FFF2-40B4-BE49-F238E27FC236}">
                <a16:creationId xmlns:a16="http://schemas.microsoft.com/office/drawing/2014/main" id="{259D1F1E-3CAC-49FF-990A-1EF0491CEB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009" y="43374"/>
            <a:ext cx="11246237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tabLst>
                <a:tab pos="269875" algn="l"/>
              </a:tabLst>
              <a:defRPr sz="1200" b="1" cap="all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7" name="Note Placeholder 11">
            <a:extLst>
              <a:ext uri="{FF2B5EF4-FFF2-40B4-BE49-F238E27FC236}">
                <a16:creationId xmlns:a16="http://schemas.microsoft.com/office/drawing/2014/main" id="{E825C46F-2744-47EF-8BD6-DDF7C33756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7012" y="6118280"/>
            <a:ext cx="11246241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dirty="0"/>
              <a:t>Note</a:t>
            </a:r>
          </a:p>
        </p:txBody>
      </p:sp>
      <p:sp>
        <p:nvSpPr>
          <p:cNvPr id="5" name="Source Placeholder 10">
            <a:extLst>
              <a:ext uri="{FF2B5EF4-FFF2-40B4-BE49-F238E27FC236}">
                <a16:creationId xmlns:a16="http://schemas.microsoft.com/office/drawing/2014/main" id="{C8A771B2-EB7B-43E6-9833-2DF81417A8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7013" y="6397157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77012" y="1124076"/>
            <a:ext cx="1124624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7012" y="237000"/>
            <a:ext cx="11246241" cy="773799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7013" y="1649163"/>
            <a:ext cx="3528000" cy="434021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3754F1D-8A2B-4F81-89E8-AF534DF282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4B81560-5D13-4F9B-83DA-DFBA8C31D89F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336130" y="1649163"/>
            <a:ext cx="3528000" cy="434021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1AF3994-2130-4160-9980-11AC627E07EE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195246" y="1649163"/>
            <a:ext cx="3528000" cy="434021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pic>
        <p:nvPicPr>
          <p:cNvPr id="17" name="Picture 2" descr="Αποτέλεσμα εικόνας για sfe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598" y="6297836"/>
            <a:ext cx="1116950" cy="422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F927CDD8-0F63-4ADF-98ED-61850E40BFFF}"/>
              </a:ext>
            </a:extLst>
          </p:cNvPr>
          <p:cNvSpPr/>
          <p:nvPr userDrawn="1"/>
        </p:nvSpPr>
        <p:spPr>
          <a:xfrm>
            <a:off x="477013" y="6564311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800" noProof="0" dirty="0" err="1">
                <a:solidFill>
                  <a:schemeClr val="tx1"/>
                </a:solidFill>
                <a:latin typeface="Arial Narrow" panose="020B0606020202030204" pitchFamily="34" charset="0"/>
              </a:rPr>
              <a:t>SfEE</a:t>
            </a:r>
            <a:r>
              <a:rPr lang="en-US" sz="800" noProof="0" dirty="0">
                <a:solidFill>
                  <a:schemeClr val="tx1"/>
                </a:solidFill>
                <a:latin typeface="Arial Narrow" panose="020B0606020202030204" pitchFamily="34" charset="0"/>
              </a:rPr>
              <a:t> • Market Analysis • May 2023</a:t>
            </a:r>
          </a:p>
        </p:txBody>
      </p:sp>
    </p:spTree>
    <p:extLst>
      <p:ext uri="{BB962C8B-B14F-4D97-AF65-F5344CB8AC3E}">
        <p14:creationId xmlns:p14="http://schemas.microsoft.com/office/powerpoint/2010/main" val="10908064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7826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3E3ECE06-91BF-4E5C-842A-22A92265012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pic>
        <p:nvPicPr>
          <p:cNvPr id="7" name="Picture 2" descr="Αποτέλεσμα εικόνας για sfee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598" y="6297836"/>
            <a:ext cx="1116950" cy="422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58">
            <a:extLst>
              <a:ext uri="{FF2B5EF4-FFF2-40B4-BE49-F238E27FC236}">
                <a16:creationId xmlns:a16="http://schemas.microsoft.com/office/drawing/2014/main" id="{F78C1414-23F3-4BE8-B6A5-76A8B45F34B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E7DD7B3-37B5-4995-BEF7-DB630FEAFF13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C14993-53BA-49EB-A9B5-5D407CDFD34B}"/>
              </a:ext>
            </a:extLst>
          </p:cNvPr>
          <p:cNvSpPr/>
          <p:nvPr userDrawn="1"/>
        </p:nvSpPr>
        <p:spPr>
          <a:xfrm>
            <a:off x="477013" y="6564311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800" noProof="0" dirty="0" err="1">
                <a:solidFill>
                  <a:schemeClr val="tx1"/>
                </a:solidFill>
                <a:latin typeface="Arial Narrow" panose="020B0606020202030204" pitchFamily="34" charset="0"/>
              </a:rPr>
              <a:t>SfEE</a:t>
            </a:r>
            <a:r>
              <a:rPr lang="en-US" sz="800" noProof="0" dirty="0">
                <a:solidFill>
                  <a:schemeClr val="tx1"/>
                </a:solidFill>
                <a:latin typeface="Arial Narrow" panose="020B0606020202030204" pitchFamily="34" charset="0"/>
              </a:rPr>
              <a:t> • Market Analysis • May 2023</a:t>
            </a:r>
          </a:p>
        </p:txBody>
      </p:sp>
    </p:spTree>
    <p:extLst>
      <p:ext uri="{BB962C8B-B14F-4D97-AF65-F5344CB8AC3E}">
        <p14:creationId xmlns:p14="http://schemas.microsoft.com/office/powerpoint/2010/main" val="17107070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>
            <a:spLocks noChangeArrowheads="1"/>
          </p:cNvSpPr>
          <p:nvPr/>
        </p:nvSpPr>
        <p:spPr bwMode="gray">
          <a:xfrm>
            <a:off x="582283" y="-1"/>
            <a:ext cx="3078445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TextBox 160"/>
          <p:cNvSpPr txBox="1"/>
          <p:nvPr/>
        </p:nvSpPr>
        <p:spPr bwMode="white">
          <a:xfrm>
            <a:off x="1036321" y="835016"/>
            <a:ext cx="1637152" cy="4999475"/>
          </a:xfrm>
          <a:prstGeom prst="rect">
            <a:avLst/>
          </a:prstGeom>
          <a:noFill/>
        </p:spPr>
        <p:txBody>
          <a:bodyPr wrap="square" lIns="0" rIns="0" rtlCol="0" anchor="ctr" anchorCtr="0">
            <a:no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Table</a:t>
            </a:r>
            <a:r>
              <a:rPr lang="en-US" sz="2800" b="1" baseline="0" dirty="0">
                <a:solidFill>
                  <a:schemeClr val="bg1"/>
                </a:solidFill>
              </a:rPr>
              <a:t> of Content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164" name="Text Placeholder 163"/>
          <p:cNvSpPr>
            <a:spLocks noGrp="1"/>
          </p:cNvSpPr>
          <p:nvPr>
            <p:ph type="body" sz="quarter" idx="11" hasCustomPrompt="1"/>
          </p:nvPr>
        </p:nvSpPr>
        <p:spPr>
          <a:xfrm>
            <a:off x="4328160" y="835016"/>
            <a:ext cx="6999461" cy="4999475"/>
          </a:xfrm>
          <a:prstGeom prst="rect">
            <a:avLst/>
          </a:prstGeom>
        </p:spPr>
        <p:txBody>
          <a:bodyPr lIns="0" tIns="0" rIns="0" bIns="0" anchor="ctr"/>
          <a:lstStyle>
            <a:lvl1pPr marL="228600" indent="-22860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+"/>
              <a:defRPr sz="1800" baseline="0"/>
            </a:lvl1pPr>
            <a:lvl2pPr marL="400050" indent="-171450">
              <a:buClr>
                <a:schemeClr val="bg2"/>
              </a:buCl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Arial 18pt TOC</a:t>
            </a: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gray">
          <a:xfrm>
            <a:off x="3660728" y="6420040"/>
            <a:ext cx="4500000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white">
          <a:xfrm>
            <a:off x="582284" y="6420040"/>
            <a:ext cx="3078444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8" name="Rectangle 58"/>
          <p:cNvSpPr>
            <a:spLocks noChangeArrowheads="1"/>
          </p:cNvSpPr>
          <p:nvPr/>
        </p:nvSpPr>
        <p:spPr bwMode="gray">
          <a:xfrm>
            <a:off x="6033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E8B5319-9D5A-4AB6-8B8F-AFF3D9284B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pic>
        <p:nvPicPr>
          <p:cNvPr id="12" name="Picture 2" descr="Αποτέλεσμα εικόνας για sfe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598" y="6297836"/>
            <a:ext cx="1116950" cy="422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0" y="1786580"/>
            <a:ext cx="8515386" cy="42598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22" name="Rectangle 58"/>
          <p:cNvSpPr>
            <a:spLocks noChangeArrowheads="1"/>
          </p:cNvSpPr>
          <p:nvPr/>
        </p:nvSpPr>
        <p:spPr bwMode="gray">
          <a:xfrm rot="5400000">
            <a:off x="-2148815" y="3761537"/>
            <a:ext cx="6016625" cy="1763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812197" y="2107576"/>
            <a:ext cx="6312628" cy="3616037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28pt Arial Bold Title Case</a:t>
            </a:r>
          </a:p>
        </p:txBody>
      </p:sp>
      <p:sp>
        <p:nvSpPr>
          <p:cNvPr id="16" name="Rectangle 58"/>
          <p:cNvSpPr>
            <a:spLocks noChangeArrowheads="1"/>
          </p:cNvSpPr>
          <p:nvPr/>
        </p:nvSpPr>
        <p:spPr bwMode="white">
          <a:xfrm rot="5400000">
            <a:off x="-1272658" y="3828727"/>
            <a:ext cx="4261751" cy="173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9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23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oleObject" Target="../embeddings/oleObject8.bin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EC991E-2207-47BC-B339-BE413C8646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617180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92" imgH="591" progId="TCLayout.ActiveDocument.1">
                  <p:embed/>
                </p:oleObj>
              </mc:Choice>
              <mc:Fallback>
                <p:oleObj name="think-cell Slide" r:id="rId1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EC991E-2207-47BC-B339-BE413C8646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85569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3" r:id="rId2"/>
    <p:sldLayoutId id="2147483817" r:id="rId3"/>
    <p:sldLayoutId id="2147483818" r:id="rId4"/>
    <p:sldLayoutId id="2147483820" r:id="rId5"/>
    <p:sldLayoutId id="2147483821" r:id="rId6"/>
    <p:sldLayoutId id="2147483819" r:id="rId7"/>
    <p:sldLayoutId id="2147483813" r:id="rId8"/>
    <p:sldLayoutId id="2147483814" r:id="rId9"/>
    <p:sldLayoutId id="2147483815" r:id="rId10"/>
    <p:sldLayoutId id="2147483816" r:id="rId11"/>
    <p:sldLayoutId id="2147483822" r:id="rId12"/>
    <p:sldLayoutId id="2147483823" r:id="rId13"/>
    <p:sldLayoutId id="2147483824" r:id="rId14"/>
    <p:sldLayoutId id="2147483825" r:id="rId1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EC991E-2207-47BC-B339-BE413C8646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617180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92" imgH="591" progId="TCLayout.ActiveDocument.1">
                  <p:embed/>
                </p:oleObj>
              </mc:Choice>
              <mc:Fallback>
                <p:oleObj name="think-cell Slide" r:id="rId1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EC991E-2207-47BC-B339-BE413C8646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71081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39" r:id="rId13"/>
    <p:sldLayoutId id="2147483840" r:id="rId14"/>
    <p:sldLayoutId id="2147483841" r:id="rId1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s/_rels/slide10.xml.rels><?xml version="1.0" encoding="UTF-8" standalone="yes"?>
<Relationships xmlns="http://schemas.openxmlformats.org/package/2006/relationships"><Relationship Id="rId117" Type="http://schemas.openxmlformats.org/officeDocument/2006/relationships/tags" Target="../tags/tag399.xml"/><Relationship Id="rId21" Type="http://schemas.openxmlformats.org/officeDocument/2006/relationships/tags" Target="../tags/tag303.xml"/><Relationship Id="rId42" Type="http://schemas.openxmlformats.org/officeDocument/2006/relationships/tags" Target="../tags/tag324.xml"/><Relationship Id="rId63" Type="http://schemas.openxmlformats.org/officeDocument/2006/relationships/tags" Target="../tags/tag345.xml"/><Relationship Id="rId84" Type="http://schemas.openxmlformats.org/officeDocument/2006/relationships/tags" Target="../tags/tag366.xml"/><Relationship Id="rId138" Type="http://schemas.openxmlformats.org/officeDocument/2006/relationships/tags" Target="../tags/tag420.xml"/><Relationship Id="rId159" Type="http://schemas.openxmlformats.org/officeDocument/2006/relationships/tags" Target="../tags/tag441.xml"/><Relationship Id="rId170" Type="http://schemas.openxmlformats.org/officeDocument/2006/relationships/tags" Target="../tags/tag452.xml"/><Relationship Id="rId191" Type="http://schemas.openxmlformats.org/officeDocument/2006/relationships/slideLayout" Target="../slideLayouts/slideLayout3.xml"/><Relationship Id="rId107" Type="http://schemas.openxmlformats.org/officeDocument/2006/relationships/tags" Target="../tags/tag389.xml"/><Relationship Id="rId11" Type="http://schemas.openxmlformats.org/officeDocument/2006/relationships/tags" Target="../tags/tag293.xml"/><Relationship Id="rId32" Type="http://schemas.openxmlformats.org/officeDocument/2006/relationships/tags" Target="../tags/tag314.xml"/><Relationship Id="rId53" Type="http://schemas.openxmlformats.org/officeDocument/2006/relationships/tags" Target="../tags/tag335.xml"/><Relationship Id="rId74" Type="http://schemas.openxmlformats.org/officeDocument/2006/relationships/tags" Target="../tags/tag356.xml"/><Relationship Id="rId128" Type="http://schemas.openxmlformats.org/officeDocument/2006/relationships/tags" Target="../tags/tag410.xml"/><Relationship Id="rId149" Type="http://schemas.openxmlformats.org/officeDocument/2006/relationships/tags" Target="../tags/tag431.xml"/><Relationship Id="rId5" Type="http://schemas.openxmlformats.org/officeDocument/2006/relationships/tags" Target="../tags/tag287.xml"/><Relationship Id="rId95" Type="http://schemas.openxmlformats.org/officeDocument/2006/relationships/tags" Target="../tags/tag377.xml"/><Relationship Id="rId160" Type="http://schemas.openxmlformats.org/officeDocument/2006/relationships/tags" Target="../tags/tag442.xml"/><Relationship Id="rId181" Type="http://schemas.openxmlformats.org/officeDocument/2006/relationships/tags" Target="../tags/tag463.xml"/><Relationship Id="rId22" Type="http://schemas.openxmlformats.org/officeDocument/2006/relationships/tags" Target="../tags/tag304.xml"/><Relationship Id="rId43" Type="http://schemas.openxmlformats.org/officeDocument/2006/relationships/tags" Target="../tags/tag325.xml"/><Relationship Id="rId64" Type="http://schemas.openxmlformats.org/officeDocument/2006/relationships/tags" Target="../tags/tag346.xml"/><Relationship Id="rId118" Type="http://schemas.openxmlformats.org/officeDocument/2006/relationships/tags" Target="../tags/tag400.xml"/><Relationship Id="rId139" Type="http://schemas.openxmlformats.org/officeDocument/2006/relationships/tags" Target="../tags/tag421.xml"/><Relationship Id="rId85" Type="http://schemas.openxmlformats.org/officeDocument/2006/relationships/tags" Target="../tags/tag367.xml"/><Relationship Id="rId150" Type="http://schemas.openxmlformats.org/officeDocument/2006/relationships/tags" Target="../tags/tag432.xml"/><Relationship Id="rId171" Type="http://schemas.openxmlformats.org/officeDocument/2006/relationships/tags" Target="../tags/tag453.xml"/><Relationship Id="rId192" Type="http://schemas.openxmlformats.org/officeDocument/2006/relationships/oleObject" Target="../embeddings/oleObject22.bin"/><Relationship Id="rId12" Type="http://schemas.openxmlformats.org/officeDocument/2006/relationships/tags" Target="../tags/tag294.xml"/><Relationship Id="rId33" Type="http://schemas.openxmlformats.org/officeDocument/2006/relationships/tags" Target="../tags/tag315.xml"/><Relationship Id="rId108" Type="http://schemas.openxmlformats.org/officeDocument/2006/relationships/tags" Target="../tags/tag390.xml"/><Relationship Id="rId129" Type="http://schemas.openxmlformats.org/officeDocument/2006/relationships/tags" Target="../tags/tag411.xml"/><Relationship Id="rId54" Type="http://schemas.openxmlformats.org/officeDocument/2006/relationships/tags" Target="../tags/tag336.xml"/><Relationship Id="rId75" Type="http://schemas.openxmlformats.org/officeDocument/2006/relationships/tags" Target="../tags/tag357.xml"/><Relationship Id="rId96" Type="http://schemas.openxmlformats.org/officeDocument/2006/relationships/tags" Target="../tags/tag378.xml"/><Relationship Id="rId140" Type="http://schemas.openxmlformats.org/officeDocument/2006/relationships/tags" Target="../tags/tag422.xml"/><Relationship Id="rId161" Type="http://schemas.openxmlformats.org/officeDocument/2006/relationships/tags" Target="../tags/tag443.xml"/><Relationship Id="rId182" Type="http://schemas.openxmlformats.org/officeDocument/2006/relationships/tags" Target="../tags/tag464.xml"/><Relationship Id="rId6" Type="http://schemas.openxmlformats.org/officeDocument/2006/relationships/tags" Target="../tags/tag288.xml"/><Relationship Id="rId23" Type="http://schemas.openxmlformats.org/officeDocument/2006/relationships/tags" Target="../tags/tag305.xml"/><Relationship Id="rId119" Type="http://schemas.openxmlformats.org/officeDocument/2006/relationships/tags" Target="../tags/tag401.xml"/><Relationship Id="rId44" Type="http://schemas.openxmlformats.org/officeDocument/2006/relationships/tags" Target="../tags/tag326.xml"/><Relationship Id="rId65" Type="http://schemas.openxmlformats.org/officeDocument/2006/relationships/tags" Target="../tags/tag347.xml"/><Relationship Id="rId86" Type="http://schemas.openxmlformats.org/officeDocument/2006/relationships/tags" Target="../tags/tag368.xml"/><Relationship Id="rId130" Type="http://schemas.openxmlformats.org/officeDocument/2006/relationships/tags" Target="../tags/tag412.xml"/><Relationship Id="rId151" Type="http://schemas.openxmlformats.org/officeDocument/2006/relationships/tags" Target="../tags/tag433.xml"/><Relationship Id="rId172" Type="http://schemas.openxmlformats.org/officeDocument/2006/relationships/tags" Target="../tags/tag454.xml"/><Relationship Id="rId193" Type="http://schemas.openxmlformats.org/officeDocument/2006/relationships/image" Target="../media/image1.emf"/><Relationship Id="rId13" Type="http://schemas.openxmlformats.org/officeDocument/2006/relationships/tags" Target="../tags/tag295.xml"/><Relationship Id="rId109" Type="http://schemas.openxmlformats.org/officeDocument/2006/relationships/tags" Target="../tags/tag391.xml"/><Relationship Id="rId34" Type="http://schemas.openxmlformats.org/officeDocument/2006/relationships/tags" Target="../tags/tag316.xml"/><Relationship Id="rId50" Type="http://schemas.openxmlformats.org/officeDocument/2006/relationships/tags" Target="../tags/tag332.xml"/><Relationship Id="rId55" Type="http://schemas.openxmlformats.org/officeDocument/2006/relationships/tags" Target="../tags/tag337.xml"/><Relationship Id="rId76" Type="http://schemas.openxmlformats.org/officeDocument/2006/relationships/tags" Target="../tags/tag358.xml"/><Relationship Id="rId97" Type="http://schemas.openxmlformats.org/officeDocument/2006/relationships/tags" Target="../tags/tag379.xml"/><Relationship Id="rId104" Type="http://schemas.openxmlformats.org/officeDocument/2006/relationships/tags" Target="../tags/tag386.xml"/><Relationship Id="rId120" Type="http://schemas.openxmlformats.org/officeDocument/2006/relationships/tags" Target="../tags/tag402.xml"/><Relationship Id="rId125" Type="http://schemas.openxmlformats.org/officeDocument/2006/relationships/tags" Target="../tags/tag407.xml"/><Relationship Id="rId141" Type="http://schemas.openxmlformats.org/officeDocument/2006/relationships/tags" Target="../tags/tag423.xml"/><Relationship Id="rId146" Type="http://schemas.openxmlformats.org/officeDocument/2006/relationships/tags" Target="../tags/tag428.xml"/><Relationship Id="rId167" Type="http://schemas.openxmlformats.org/officeDocument/2006/relationships/tags" Target="../tags/tag449.xml"/><Relationship Id="rId188" Type="http://schemas.openxmlformats.org/officeDocument/2006/relationships/tags" Target="../tags/tag470.xml"/><Relationship Id="rId7" Type="http://schemas.openxmlformats.org/officeDocument/2006/relationships/tags" Target="../tags/tag289.xml"/><Relationship Id="rId71" Type="http://schemas.openxmlformats.org/officeDocument/2006/relationships/tags" Target="../tags/tag353.xml"/><Relationship Id="rId92" Type="http://schemas.openxmlformats.org/officeDocument/2006/relationships/tags" Target="../tags/tag374.xml"/><Relationship Id="rId162" Type="http://schemas.openxmlformats.org/officeDocument/2006/relationships/tags" Target="../tags/tag444.xml"/><Relationship Id="rId183" Type="http://schemas.openxmlformats.org/officeDocument/2006/relationships/tags" Target="../tags/tag465.xml"/><Relationship Id="rId2" Type="http://schemas.openxmlformats.org/officeDocument/2006/relationships/tags" Target="../tags/tag284.xml"/><Relationship Id="rId29" Type="http://schemas.openxmlformats.org/officeDocument/2006/relationships/tags" Target="../tags/tag311.xml"/><Relationship Id="rId24" Type="http://schemas.openxmlformats.org/officeDocument/2006/relationships/tags" Target="../tags/tag306.xml"/><Relationship Id="rId40" Type="http://schemas.openxmlformats.org/officeDocument/2006/relationships/tags" Target="../tags/tag322.xml"/><Relationship Id="rId45" Type="http://schemas.openxmlformats.org/officeDocument/2006/relationships/tags" Target="../tags/tag327.xml"/><Relationship Id="rId66" Type="http://schemas.openxmlformats.org/officeDocument/2006/relationships/tags" Target="../tags/tag348.xml"/><Relationship Id="rId87" Type="http://schemas.openxmlformats.org/officeDocument/2006/relationships/tags" Target="../tags/tag369.xml"/><Relationship Id="rId110" Type="http://schemas.openxmlformats.org/officeDocument/2006/relationships/tags" Target="../tags/tag392.xml"/><Relationship Id="rId115" Type="http://schemas.openxmlformats.org/officeDocument/2006/relationships/tags" Target="../tags/tag397.xml"/><Relationship Id="rId131" Type="http://schemas.openxmlformats.org/officeDocument/2006/relationships/tags" Target="../tags/tag413.xml"/><Relationship Id="rId136" Type="http://schemas.openxmlformats.org/officeDocument/2006/relationships/tags" Target="../tags/tag418.xml"/><Relationship Id="rId157" Type="http://schemas.openxmlformats.org/officeDocument/2006/relationships/tags" Target="../tags/tag439.xml"/><Relationship Id="rId178" Type="http://schemas.openxmlformats.org/officeDocument/2006/relationships/tags" Target="../tags/tag460.xml"/><Relationship Id="rId61" Type="http://schemas.openxmlformats.org/officeDocument/2006/relationships/tags" Target="../tags/tag343.xml"/><Relationship Id="rId82" Type="http://schemas.openxmlformats.org/officeDocument/2006/relationships/tags" Target="../tags/tag364.xml"/><Relationship Id="rId152" Type="http://schemas.openxmlformats.org/officeDocument/2006/relationships/tags" Target="../tags/tag434.xml"/><Relationship Id="rId173" Type="http://schemas.openxmlformats.org/officeDocument/2006/relationships/tags" Target="../tags/tag455.xml"/><Relationship Id="rId194" Type="http://schemas.openxmlformats.org/officeDocument/2006/relationships/chart" Target="../charts/chart10.xml"/><Relationship Id="rId19" Type="http://schemas.openxmlformats.org/officeDocument/2006/relationships/tags" Target="../tags/tag301.xml"/><Relationship Id="rId14" Type="http://schemas.openxmlformats.org/officeDocument/2006/relationships/tags" Target="../tags/tag296.xml"/><Relationship Id="rId30" Type="http://schemas.openxmlformats.org/officeDocument/2006/relationships/tags" Target="../tags/tag312.xml"/><Relationship Id="rId35" Type="http://schemas.openxmlformats.org/officeDocument/2006/relationships/tags" Target="../tags/tag317.xml"/><Relationship Id="rId56" Type="http://schemas.openxmlformats.org/officeDocument/2006/relationships/tags" Target="../tags/tag338.xml"/><Relationship Id="rId77" Type="http://schemas.openxmlformats.org/officeDocument/2006/relationships/tags" Target="../tags/tag359.xml"/><Relationship Id="rId100" Type="http://schemas.openxmlformats.org/officeDocument/2006/relationships/tags" Target="../tags/tag382.xml"/><Relationship Id="rId105" Type="http://schemas.openxmlformats.org/officeDocument/2006/relationships/tags" Target="../tags/tag387.xml"/><Relationship Id="rId126" Type="http://schemas.openxmlformats.org/officeDocument/2006/relationships/tags" Target="../tags/tag408.xml"/><Relationship Id="rId147" Type="http://schemas.openxmlformats.org/officeDocument/2006/relationships/tags" Target="../tags/tag429.xml"/><Relationship Id="rId168" Type="http://schemas.openxmlformats.org/officeDocument/2006/relationships/tags" Target="../tags/tag450.xml"/><Relationship Id="rId8" Type="http://schemas.openxmlformats.org/officeDocument/2006/relationships/tags" Target="../tags/tag290.xml"/><Relationship Id="rId51" Type="http://schemas.openxmlformats.org/officeDocument/2006/relationships/tags" Target="../tags/tag333.xml"/><Relationship Id="rId72" Type="http://schemas.openxmlformats.org/officeDocument/2006/relationships/tags" Target="../tags/tag354.xml"/><Relationship Id="rId93" Type="http://schemas.openxmlformats.org/officeDocument/2006/relationships/tags" Target="../tags/tag375.xml"/><Relationship Id="rId98" Type="http://schemas.openxmlformats.org/officeDocument/2006/relationships/tags" Target="../tags/tag380.xml"/><Relationship Id="rId121" Type="http://schemas.openxmlformats.org/officeDocument/2006/relationships/tags" Target="../tags/tag403.xml"/><Relationship Id="rId142" Type="http://schemas.openxmlformats.org/officeDocument/2006/relationships/tags" Target="../tags/tag424.xml"/><Relationship Id="rId163" Type="http://schemas.openxmlformats.org/officeDocument/2006/relationships/tags" Target="../tags/tag445.xml"/><Relationship Id="rId184" Type="http://schemas.openxmlformats.org/officeDocument/2006/relationships/tags" Target="../tags/tag466.xml"/><Relationship Id="rId189" Type="http://schemas.openxmlformats.org/officeDocument/2006/relationships/tags" Target="../tags/tag471.xml"/><Relationship Id="rId3" Type="http://schemas.openxmlformats.org/officeDocument/2006/relationships/tags" Target="../tags/tag285.xml"/><Relationship Id="rId25" Type="http://schemas.openxmlformats.org/officeDocument/2006/relationships/tags" Target="../tags/tag307.xml"/><Relationship Id="rId46" Type="http://schemas.openxmlformats.org/officeDocument/2006/relationships/tags" Target="../tags/tag328.xml"/><Relationship Id="rId67" Type="http://schemas.openxmlformats.org/officeDocument/2006/relationships/tags" Target="../tags/tag349.xml"/><Relationship Id="rId116" Type="http://schemas.openxmlformats.org/officeDocument/2006/relationships/tags" Target="../tags/tag398.xml"/><Relationship Id="rId137" Type="http://schemas.openxmlformats.org/officeDocument/2006/relationships/tags" Target="../tags/tag419.xml"/><Relationship Id="rId158" Type="http://schemas.openxmlformats.org/officeDocument/2006/relationships/tags" Target="../tags/tag440.xml"/><Relationship Id="rId20" Type="http://schemas.openxmlformats.org/officeDocument/2006/relationships/tags" Target="../tags/tag302.xml"/><Relationship Id="rId41" Type="http://schemas.openxmlformats.org/officeDocument/2006/relationships/tags" Target="../tags/tag323.xml"/><Relationship Id="rId62" Type="http://schemas.openxmlformats.org/officeDocument/2006/relationships/tags" Target="../tags/tag344.xml"/><Relationship Id="rId83" Type="http://schemas.openxmlformats.org/officeDocument/2006/relationships/tags" Target="../tags/tag365.xml"/><Relationship Id="rId88" Type="http://schemas.openxmlformats.org/officeDocument/2006/relationships/tags" Target="../tags/tag370.xml"/><Relationship Id="rId111" Type="http://schemas.openxmlformats.org/officeDocument/2006/relationships/tags" Target="../tags/tag393.xml"/><Relationship Id="rId132" Type="http://schemas.openxmlformats.org/officeDocument/2006/relationships/tags" Target="../tags/tag414.xml"/><Relationship Id="rId153" Type="http://schemas.openxmlformats.org/officeDocument/2006/relationships/tags" Target="../tags/tag435.xml"/><Relationship Id="rId174" Type="http://schemas.openxmlformats.org/officeDocument/2006/relationships/tags" Target="../tags/tag456.xml"/><Relationship Id="rId179" Type="http://schemas.openxmlformats.org/officeDocument/2006/relationships/tags" Target="../tags/tag461.xml"/><Relationship Id="rId190" Type="http://schemas.openxmlformats.org/officeDocument/2006/relationships/tags" Target="../tags/tag472.xml"/><Relationship Id="rId15" Type="http://schemas.openxmlformats.org/officeDocument/2006/relationships/tags" Target="../tags/tag297.xml"/><Relationship Id="rId36" Type="http://schemas.openxmlformats.org/officeDocument/2006/relationships/tags" Target="../tags/tag318.xml"/><Relationship Id="rId57" Type="http://schemas.openxmlformats.org/officeDocument/2006/relationships/tags" Target="../tags/tag339.xml"/><Relationship Id="rId106" Type="http://schemas.openxmlformats.org/officeDocument/2006/relationships/tags" Target="../tags/tag388.xml"/><Relationship Id="rId127" Type="http://schemas.openxmlformats.org/officeDocument/2006/relationships/tags" Target="../tags/tag409.xml"/><Relationship Id="rId10" Type="http://schemas.openxmlformats.org/officeDocument/2006/relationships/tags" Target="../tags/tag292.xml"/><Relationship Id="rId31" Type="http://schemas.openxmlformats.org/officeDocument/2006/relationships/tags" Target="../tags/tag313.xml"/><Relationship Id="rId52" Type="http://schemas.openxmlformats.org/officeDocument/2006/relationships/tags" Target="../tags/tag334.xml"/><Relationship Id="rId73" Type="http://schemas.openxmlformats.org/officeDocument/2006/relationships/tags" Target="../tags/tag355.xml"/><Relationship Id="rId78" Type="http://schemas.openxmlformats.org/officeDocument/2006/relationships/tags" Target="../tags/tag360.xml"/><Relationship Id="rId94" Type="http://schemas.openxmlformats.org/officeDocument/2006/relationships/tags" Target="../tags/tag376.xml"/><Relationship Id="rId99" Type="http://schemas.openxmlformats.org/officeDocument/2006/relationships/tags" Target="../tags/tag381.xml"/><Relationship Id="rId101" Type="http://schemas.openxmlformats.org/officeDocument/2006/relationships/tags" Target="../tags/tag383.xml"/><Relationship Id="rId122" Type="http://schemas.openxmlformats.org/officeDocument/2006/relationships/tags" Target="../tags/tag404.xml"/><Relationship Id="rId143" Type="http://schemas.openxmlformats.org/officeDocument/2006/relationships/tags" Target="../tags/tag425.xml"/><Relationship Id="rId148" Type="http://schemas.openxmlformats.org/officeDocument/2006/relationships/tags" Target="../tags/tag430.xml"/><Relationship Id="rId164" Type="http://schemas.openxmlformats.org/officeDocument/2006/relationships/tags" Target="../tags/tag446.xml"/><Relationship Id="rId169" Type="http://schemas.openxmlformats.org/officeDocument/2006/relationships/tags" Target="../tags/tag451.xml"/><Relationship Id="rId185" Type="http://schemas.openxmlformats.org/officeDocument/2006/relationships/tags" Target="../tags/tag467.xml"/><Relationship Id="rId4" Type="http://schemas.openxmlformats.org/officeDocument/2006/relationships/tags" Target="../tags/tag286.xml"/><Relationship Id="rId9" Type="http://schemas.openxmlformats.org/officeDocument/2006/relationships/tags" Target="../tags/tag291.xml"/><Relationship Id="rId180" Type="http://schemas.openxmlformats.org/officeDocument/2006/relationships/tags" Target="../tags/tag462.xml"/><Relationship Id="rId26" Type="http://schemas.openxmlformats.org/officeDocument/2006/relationships/tags" Target="../tags/tag308.xml"/><Relationship Id="rId47" Type="http://schemas.openxmlformats.org/officeDocument/2006/relationships/tags" Target="../tags/tag329.xml"/><Relationship Id="rId68" Type="http://schemas.openxmlformats.org/officeDocument/2006/relationships/tags" Target="../tags/tag350.xml"/><Relationship Id="rId89" Type="http://schemas.openxmlformats.org/officeDocument/2006/relationships/tags" Target="../tags/tag371.xml"/><Relationship Id="rId112" Type="http://schemas.openxmlformats.org/officeDocument/2006/relationships/tags" Target="../tags/tag394.xml"/><Relationship Id="rId133" Type="http://schemas.openxmlformats.org/officeDocument/2006/relationships/tags" Target="../tags/tag415.xml"/><Relationship Id="rId154" Type="http://schemas.openxmlformats.org/officeDocument/2006/relationships/tags" Target="../tags/tag436.xml"/><Relationship Id="rId175" Type="http://schemas.openxmlformats.org/officeDocument/2006/relationships/tags" Target="../tags/tag457.xml"/><Relationship Id="rId16" Type="http://schemas.openxmlformats.org/officeDocument/2006/relationships/tags" Target="../tags/tag298.xml"/><Relationship Id="rId37" Type="http://schemas.openxmlformats.org/officeDocument/2006/relationships/tags" Target="../tags/tag319.xml"/><Relationship Id="rId58" Type="http://schemas.openxmlformats.org/officeDocument/2006/relationships/tags" Target="../tags/tag340.xml"/><Relationship Id="rId79" Type="http://schemas.openxmlformats.org/officeDocument/2006/relationships/tags" Target="../tags/tag361.xml"/><Relationship Id="rId102" Type="http://schemas.openxmlformats.org/officeDocument/2006/relationships/tags" Target="../tags/tag384.xml"/><Relationship Id="rId123" Type="http://schemas.openxmlformats.org/officeDocument/2006/relationships/tags" Target="../tags/tag405.xml"/><Relationship Id="rId144" Type="http://schemas.openxmlformats.org/officeDocument/2006/relationships/tags" Target="../tags/tag426.xml"/><Relationship Id="rId90" Type="http://schemas.openxmlformats.org/officeDocument/2006/relationships/tags" Target="../tags/tag372.xml"/><Relationship Id="rId165" Type="http://schemas.openxmlformats.org/officeDocument/2006/relationships/tags" Target="../tags/tag447.xml"/><Relationship Id="rId186" Type="http://schemas.openxmlformats.org/officeDocument/2006/relationships/tags" Target="../tags/tag468.xml"/><Relationship Id="rId27" Type="http://schemas.openxmlformats.org/officeDocument/2006/relationships/tags" Target="../tags/tag309.xml"/><Relationship Id="rId48" Type="http://schemas.openxmlformats.org/officeDocument/2006/relationships/tags" Target="../tags/tag330.xml"/><Relationship Id="rId69" Type="http://schemas.openxmlformats.org/officeDocument/2006/relationships/tags" Target="../tags/tag351.xml"/><Relationship Id="rId113" Type="http://schemas.openxmlformats.org/officeDocument/2006/relationships/tags" Target="../tags/tag395.xml"/><Relationship Id="rId134" Type="http://schemas.openxmlformats.org/officeDocument/2006/relationships/tags" Target="../tags/tag416.xml"/><Relationship Id="rId80" Type="http://schemas.openxmlformats.org/officeDocument/2006/relationships/tags" Target="../tags/tag362.xml"/><Relationship Id="rId155" Type="http://schemas.openxmlformats.org/officeDocument/2006/relationships/tags" Target="../tags/tag437.xml"/><Relationship Id="rId176" Type="http://schemas.openxmlformats.org/officeDocument/2006/relationships/tags" Target="../tags/tag458.xml"/><Relationship Id="rId17" Type="http://schemas.openxmlformats.org/officeDocument/2006/relationships/tags" Target="../tags/tag299.xml"/><Relationship Id="rId38" Type="http://schemas.openxmlformats.org/officeDocument/2006/relationships/tags" Target="../tags/tag320.xml"/><Relationship Id="rId59" Type="http://schemas.openxmlformats.org/officeDocument/2006/relationships/tags" Target="../tags/tag341.xml"/><Relationship Id="rId103" Type="http://schemas.openxmlformats.org/officeDocument/2006/relationships/tags" Target="../tags/tag385.xml"/><Relationship Id="rId124" Type="http://schemas.openxmlformats.org/officeDocument/2006/relationships/tags" Target="../tags/tag406.xml"/><Relationship Id="rId70" Type="http://schemas.openxmlformats.org/officeDocument/2006/relationships/tags" Target="../tags/tag352.xml"/><Relationship Id="rId91" Type="http://schemas.openxmlformats.org/officeDocument/2006/relationships/tags" Target="../tags/tag373.xml"/><Relationship Id="rId145" Type="http://schemas.openxmlformats.org/officeDocument/2006/relationships/tags" Target="../tags/tag427.xml"/><Relationship Id="rId166" Type="http://schemas.openxmlformats.org/officeDocument/2006/relationships/tags" Target="../tags/tag448.xml"/><Relationship Id="rId187" Type="http://schemas.openxmlformats.org/officeDocument/2006/relationships/tags" Target="../tags/tag469.xml"/><Relationship Id="rId1" Type="http://schemas.openxmlformats.org/officeDocument/2006/relationships/tags" Target="../tags/tag283.xml"/><Relationship Id="rId28" Type="http://schemas.openxmlformats.org/officeDocument/2006/relationships/tags" Target="../tags/tag310.xml"/><Relationship Id="rId49" Type="http://schemas.openxmlformats.org/officeDocument/2006/relationships/tags" Target="../tags/tag331.xml"/><Relationship Id="rId114" Type="http://schemas.openxmlformats.org/officeDocument/2006/relationships/tags" Target="../tags/tag396.xml"/><Relationship Id="rId60" Type="http://schemas.openxmlformats.org/officeDocument/2006/relationships/tags" Target="../tags/tag342.xml"/><Relationship Id="rId81" Type="http://schemas.openxmlformats.org/officeDocument/2006/relationships/tags" Target="../tags/tag363.xml"/><Relationship Id="rId135" Type="http://schemas.openxmlformats.org/officeDocument/2006/relationships/tags" Target="../tags/tag417.xml"/><Relationship Id="rId156" Type="http://schemas.openxmlformats.org/officeDocument/2006/relationships/tags" Target="../tags/tag438.xml"/><Relationship Id="rId177" Type="http://schemas.openxmlformats.org/officeDocument/2006/relationships/tags" Target="../tags/tag459.xml"/><Relationship Id="rId18" Type="http://schemas.openxmlformats.org/officeDocument/2006/relationships/tags" Target="../tags/tag300.xml"/><Relationship Id="rId39" Type="http://schemas.openxmlformats.org/officeDocument/2006/relationships/tags" Target="../tags/tag32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480.xml"/><Relationship Id="rId13" Type="http://schemas.openxmlformats.org/officeDocument/2006/relationships/tags" Target="../tags/tag485.xml"/><Relationship Id="rId18" Type="http://schemas.openxmlformats.org/officeDocument/2006/relationships/tags" Target="../tags/tag490.xml"/><Relationship Id="rId26" Type="http://schemas.openxmlformats.org/officeDocument/2006/relationships/slideLayout" Target="../slideLayouts/slideLayout18.xml"/><Relationship Id="rId3" Type="http://schemas.openxmlformats.org/officeDocument/2006/relationships/tags" Target="../tags/tag475.xml"/><Relationship Id="rId21" Type="http://schemas.openxmlformats.org/officeDocument/2006/relationships/tags" Target="../tags/tag493.xml"/><Relationship Id="rId7" Type="http://schemas.openxmlformats.org/officeDocument/2006/relationships/tags" Target="../tags/tag479.xml"/><Relationship Id="rId12" Type="http://schemas.openxmlformats.org/officeDocument/2006/relationships/tags" Target="../tags/tag484.xml"/><Relationship Id="rId17" Type="http://schemas.openxmlformats.org/officeDocument/2006/relationships/tags" Target="../tags/tag489.xml"/><Relationship Id="rId25" Type="http://schemas.openxmlformats.org/officeDocument/2006/relationships/tags" Target="../tags/tag497.xml"/><Relationship Id="rId2" Type="http://schemas.openxmlformats.org/officeDocument/2006/relationships/tags" Target="../tags/tag474.xml"/><Relationship Id="rId16" Type="http://schemas.openxmlformats.org/officeDocument/2006/relationships/tags" Target="../tags/tag488.xml"/><Relationship Id="rId20" Type="http://schemas.openxmlformats.org/officeDocument/2006/relationships/tags" Target="../tags/tag492.xml"/><Relationship Id="rId29" Type="http://schemas.openxmlformats.org/officeDocument/2006/relationships/chart" Target="../charts/chart11.xml"/><Relationship Id="rId1" Type="http://schemas.openxmlformats.org/officeDocument/2006/relationships/tags" Target="../tags/tag473.xml"/><Relationship Id="rId6" Type="http://schemas.openxmlformats.org/officeDocument/2006/relationships/tags" Target="../tags/tag478.xml"/><Relationship Id="rId11" Type="http://schemas.openxmlformats.org/officeDocument/2006/relationships/tags" Target="../tags/tag483.xml"/><Relationship Id="rId24" Type="http://schemas.openxmlformats.org/officeDocument/2006/relationships/tags" Target="../tags/tag496.xml"/><Relationship Id="rId5" Type="http://schemas.openxmlformats.org/officeDocument/2006/relationships/tags" Target="../tags/tag477.xml"/><Relationship Id="rId15" Type="http://schemas.openxmlformats.org/officeDocument/2006/relationships/tags" Target="../tags/tag487.xml"/><Relationship Id="rId23" Type="http://schemas.openxmlformats.org/officeDocument/2006/relationships/tags" Target="../tags/tag495.xml"/><Relationship Id="rId28" Type="http://schemas.openxmlformats.org/officeDocument/2006/relationships/image" Target="../media/image1.emf"/><Relationship Id="rId10" Type="http://schemas.openxmlformats.org/officeDocument/2006/relationships/tags" Target="../tags/tag482.xml"/><Relationship Id="rId19" Type="http://schemas.openxmlformats.org/officeDocument/2006/relationships/tags" Target="../tags/tag491.xml"/><Relationship Id="rId4" Type="http://schemas.openxmlformats.org/officeDocument/2006/relationships/tags" Target="../tags/tag476.xml"/><Relationship Id="rId9" Type="http://schemas.openxmlformats.org/officeDocument/2006/relationships/tags" Target="../tags/tag481.xml"/><Relationship Id="rId14" Type="http://schemas.openxmlformats.org/officeDocument/2006/relationships/tags" Target="../tags/tag486.xml"/><Relationship Id="rId22" Type="http://schemas.openxmlformats.org/officeDocument/2006/relationships/tags" Target="../tags/tag494.xml"/><Relationship Id="rId27" Type="http://schemas.openxmlformats.org/officeDocument/2006/relationships/oleObject" Target="../embeddings/oleObject23.bin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510.xml"/><Relationship Id="rId18" Type="http://schemas.openxmlformats.org/officeDocument/2006/relationships/tags" Target="../tags/tag515.xml"/><Relationship Id="rId26" Type="http://schemas.openxmlformats.org/officeDocument/2006/relationships/tags" Target="../tags/tag523.xml"/><Relationship Id="rId3" Type="http://schemas.openxmlformats.org/officeDocument/2006/relationships/tags" Target="../tags/tag500.xml"/><Relationship Id="rId21" Type="http://schemas.openxmlformats.org/officeDocument/2006/relationships/tags" Target="../tags/tag518.xml"/><Relationship Id="rId34" Type="http://schemas.openxmlformats.org/officeDocument/2006/relationships/oleObject" Target="../embeddings/oleObject24.bin"/><Relationship Id="rId7" Type="http://schemas.openxmlformats.org/officeDocument/2006/relationships/tags" Target="../tags/tag504.xml"/><Relationship Id="rId12" Type="http://schemas.openxmlformats.org/officeDocument/2006/relationships/tags" Target="../tags/tag509.xml"/><Relationship Id="rId17" Type="http://schemas.openxmlformats.org/officeDocument/2006/relationships/tags" Target="../tags/tag514.xml"/><Relationship Id="rId25" Type="http://schemas.openxmlformats.org/officeDocument/2006/relationships/tags" Target="../tags/tag522.xml"/><Relationship Id="rId33" Type="http://schemas.openxmlformats.org/officeDocument/2006/relationships/slideLayout" Target="../slideLayouts/slideLayout18.xml"/><Relationship Id="rId2" Type="http://schemas.openxmlformats.org/officeDocument/2006/relationships/tags" Target="../tags/tag499.xml"/><Relationship Id="rId16" Type="http://schemas.openxmlformats.org/officeDocument/2006/relationships/tags" Target="../tags/tag513.xml"/><Relationship Id="rId20" Type="http://schemas.openxmlformats.org/officeDocument/2006/relationships/tags" Target="../tags/tag517.xml"/><Relationship Id="rId29" Type="http://schemas.openxmlformats.org/officeDocument/2006/relationships/tags" Target="../tags/tag526.xml"/><Relationship Id="rId1" Type="http://schemas.openxmlformats.org/officeDocument/2006/relationships/tags" Target="../tags/tag498.xml"/><Relationship Id="rId6" Type="http://schemas.openxmlformats.org/officeDocument/2006/relationships/tags" Target="../tags/tag503.xml"/><Relationship Id="rId11" Type="http://schemas.openxmlformats.org/officeDocument/2006/relationships/tags" Target="../tags/tag508.xml"/><Relationship Id="rId24" Type="http://schemas.openxmlformats.org/officeDocument/2006/relationships/tags" Target="../tags/tag521.xml"/><Relationship Id="rId32" Type="http://schemas.openxmlformats.org/officeDocument/2006/relationships/tags" Target="../tags/tag529.xml"/><Relationship Id="rId5" Type="http://schemas.openxmlformats.org/officeDocument/2006/relationships/tags" Target="../tags/tag502.xml"/><Relationship Id="rId15" Type="http://schemas.openxmlformats.org/officeDocument/2006/relationships/tags" Target="../tags/tag512.xml"/><Relationship Id="rId23" Type="http://schemas.openxmlformats.org/officeDocument/2006/relationships/tags" Target="../tags/tag520.xml"/><Relationship Id="rId28" Type="http://schemas.openxmlformats.org/officeDocument/2006/relationships/tags" Target="../tags/tag525.xml"/><Relationship Id="rId36" Type="http://schemas.openxmlformats.org/officeDocument/2006/relationships/chart" Target="../charts/chart12.xml"/><Relationship Id="rId10" Type="http://schemas.openxmlformats.org/officeDocument/2006/relationships/tags" Target="../tags/tag507.xml"/><Relationship Id="rId19" Type="http://schemas.openxmlformats.org/officeDocument/2006/relationships/tags" Target="../tags/tag516.xml"/><Relationship Id="rId31" Type="http://schemas.openxmlformats.org/officeDocument/2006/relationships/tags" Target="../tags/tag528.xml"/><Relationship Id="rId4" Type="http://schemas.openxmlformats.org/officeDocument/2006/relationships/tags" Target="../tags/tag501.xml"/><Relationship Id="rId9" Type="http://schemas.openxmlformats.org/officeDocument/2006/relationships/tags" Target="../tags/tag506.xml"/><Relationship Id="rId14" Type="http://schemas.openxmlformats.org/officeDocument/2006/relationships/tags" Target="../tags/tag511.xml"/><Relationship Id="rId22" Type="http://schemas.openxmlformats.org/officeDocument/2006/relationships/tags" Target="../tags/tag519.xml"/><Relationship Id="rId27" Type="http://schemas.openxmlformats.org/officeDocument/2006/relationships/tags" Target="../tags/tag524.xml"/><Relationship Id="rId30" Type="http://schemas.openxmlformats.org/officeDocument/2006/relationships/tags" Target="../tags/tag527.xml"/><Relationship Id="rId35" Type="http://schemas.openxmlformats.org/officeDocument/2006/relationships/image" Target="../media/image1.emf"/><Relationship Id="rId8" Type="http://schemas.openxmlformats.org/officeDocument/2006/relationships/tags" Target="../tags/tag505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542.xml"/><Relationship Id="rId18" Type="http://schemas.openxmlformats.org/officeDocument/2006/relationships/tags" Target="../tags/tag547.xml"/><Relationship Id="rId26" Type="http://schemas.openxmlformats.org/officeDocument/2006/relationships/tags" Target="../tags/tag555.xml"/><Relationship Id="rId3" Type="http://schemas.openxmlformats.org/officeDocument/2006/relationships/tags" Target="../tags/tag532.xml"/><Relationship Id="rId21" Type="http://schemas.openxmlformats.org/officeDocument/2006/relationships/tags" Target="../tags/tag550.xml"/><Relationship Id="rId34" Type="http://schemas.openxmlformats.org/officeDocument/2006/relationships/oleObject" Target="../embeddings/oleObject25.bin"/><Relationship Id="rId7" Type="http://schemas.openxmlformats.org/officeDocument/2006/relationships/tags" Target="../tags/tag536.xml"/><Relationship Id="rId12" Type="http://schemas.openxmlformats.org/officeDocument/2006/relationships/tags" Target="../tags/tag541.xml"/><Relationship Id="rId17" Type="http://schemas.openxmlformats.org/officeDocument/2006/relationships/tags" Target="../tags/tag546.xml"/><Relationship Id="rId25" Type="http://schemas.openxmlformats.org/officeDocument/2006/relationships/tags" Target="../tags/tag554.xml"/><Relationship Id="rId33" Type="http://schemas.openxmlformats.org/officeDocument/2006/relationships/slideLayout" Target="../slideLayouts/slideLayout18.xml"/><Relationship Id="rId2" Type="http://schemas.openxmlformats.org/officeDocument/2006/relationships/tags" Target="../tags/tag531.xml"/><Relationship Id="rId16" Type="http://schemas.openxmlformats.org/officeDocument/2006/relationships/tags" Target="../tags/tag545.xml"/><Relationship Id="rId20" Type="http://schemas.openxmlformats.org/officeDocument/2006/relationships/tags" Target="../tags/tag549.xml"/><Relationship Id="rId29" Type="http://schemas.openxmlformats.org/officeDocument/2006/relationships/tags" Target="../tags/tag558.xml"/><Relationship Id="rId1" Type="http://schemas.openxmlformats.org/officeDocument/2006/relationships/tags" Target="../tags/tag530.xml"/><Relationship Id="rId6" Type="http://schemas.openxmlformats.org/officeDocument/2006/relationships/tags" Target="../tags/tag535.xml"/><Relationship Id="rId11" Type="http://schemas.openxmlformats.org/officeDocument/2006/relationships/tags" Target="../tags/tag540.xml"/><Relationship Id="rId24" Type="http://schemas.openxmlformats.org/officeDocument/2006/relationships/tags" Target="../tags/tag553.xml"/><Relationship Id="rId32" Type="http://schemas.openxmlformats.org/officeDocument/2006/relationships/tags" Target="../tags/tag561.xml"/><Relationship Id="rId5" Type="http://schemas.openxmlformats.org/officeDocument/2006/relationships/tags" Target="../tags/tag534.xml"/><Relationship Id="rId15" Type="http://schemas.openxmlformats.org/officeDocument/2006/relationships/tags" Target="../tags/tag544.xml"/><Relationship Id="rId23" Type="http://schemas.openxmlformats.org/officeDocument/2006/relationships/tags" Target="../tags/tag552.xml"/><Relationship Id="rId28" Type="http://schemas.openxmlformats.org/officeDocument/2006/relationships/tags" Target="../tags/tag557.xml"/><Relationship Id="rId36" Type="http://schemas.openxmlformats.org/officeDocument/2006/relationships/chart" Target="../charts/chart13.xml"/><Relationship Id="rId10" Type="http://schemas.openxmlformats.org/officeDocument/2006/relationships/tags" Target="../tags/tag539.xml"/><Relationship Id="rId19" Type="http://schemas.openxmlformats.org/officeDocument/2006/relationships/tags" Target="../tags/tag548.xml"/><Relationship Id="rId31" Type="http://schemas.openxmlformats.org/officeDocument/2006/relationships/tags" Target="../tags/tag560.xml"/><Relationship Id="rId4" Type="http://schemas.openxmlformats.org/officeDocument/2006/relationships/tags" Target="../tags/tag533.xml"/><Relationship Id="rId9" Type="http://schemas.openxmlformats.org/officeDocument/2006/relationships/tags" Target="../tags/tag538.xml"/><Relationship Id="rId14" Type="http://schemas.openxmlformats.org/officeDocument/2006/relationships/tags" Target="../tags/tag543.xml"/><Relationship Id="rId22" Type="http://schemas.openxmlformats.org/officeDocument/2006/relationships/tags" Target="../tags/tag551.xml"/><Relationship Id="rId27" Type="http://schemas.openxmlformats.org/officeDocument/2006/relationships/tags" Target="../tags/tag556.xml"/><Relationship Id="rId30" Type="http://schemas.openxmlformats.org/officeDocument/2006/relationships/tags" Target="../tags/tag559.xml"/><Relationship Id="rId35" Type="http://schemas.openxmlformats.org/officeDocument/2006/relationships/image" Target="../media/image1.emf"/><Relationship Id="rId8" Type="http://schemas.openxmlformats.org/officeDocument/2006/relationships/tags" Target="../tags/tag537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574.xml"/><Relationship Id="rId18" Type="http://schemas.openxmlformats.org/officeDocument/2006/relationships/tags" Target="../tags/tag579.xml"/><Relationship Id="rId26" Type="http://schemas.openxmlformats.org/officeDocument/2006/relationships/tags" Target="../tags/tag587.xml"/><Relationship Id="rId39" Type="http://schemas.openxmlformats.org/officeDocument/2006/relationships/tags" Target="../tags/tag600.xml"/><Relationship Id="rId21" Type="http://schemas.openxmlformats.org/officeDocument/2006/relationships/tags" Target="../tags/tag582.xml"/><Relationship Id="rId34" Type="http://schemas.openxmlformats.org/officeDocument/2006/relationships/tags" Target="../tags/tag595.xml"/><Relationship Id="rId42" Type="http://schemas.openxmlformats.org/officeDocument/2006/relationships/tags" Target="../tags/tag603.xml"/><Relationship Id="rId47" Type="http://schemas.openxmlformats.org/officeDocument/2006/relationships/chart" Target="../charts/chart14.xml"/><Relationship Id="rId7" Type="http://schemas.openxmlformats.org/officeDocument/2006/relationships/tags" Target="../tags/tag568.xml"/><Relationship Id="rId2" Type="http://schemas.openxmlformats.org/officeDocument/2006/relationships/tags" Target="../tags/tag563.xml"/><Relationship Id="rId16" Type="http://schemas.openxmlformats.org/officeDocument/2006/relationships/tags" Target="../tags/tag577.xml"/><Relationship Id="rId29" Type="http://schemas.openxmlformats.org/officeDocument/2006/relationships/tags" Target="../tags/tag590.xml"/><Relationship Id="rId1" Type="http://schemas.openxmlformats.org/officeDocument/2006/relationships/tags" Target="../tags/tag562.xml"/><Relationship Id="rId6" Type="http://schemas.openxmlformats.org/officeDocument/2006/relationships/tags" Target="../tags/tag567.xml"/><Relationship Id="rId11" Type="http://schemas.openxmlformats.org/officeDocument/2006/relationships/tags" Target="../tags/tag572.xml"/><Relationship Id="rId24" Type="http://schemas.openxmlformats.org/officeDocument/2006/relationships/tags" Target="../tags/tag585.xml"/><Relationship Id="rId32" Type="http://schemas.openxmlformats.org/officeDocument/2006/relationships/tags" Target="../tags/tag593.xml"/><Relationship Id="rId37" Type="http://schemas.openxmlformats.org/officeDocument/2006/relationships/tags" Target="../tags/tag598.xml"/><Relationship Id="rId40" Type="http://schemas.openxmlformats.org/officeDocument/2006/relationships/tags" Target="../tags/tag601.xml"/><Relationship Id="rId45" Type="http://schemas.openxmlformats.org/officeDocument/2006/relationships/oleObject" Target="../embeddings/oleObject26.bin"/><Relationship Id="rId5" Type="http://schemas.openxmlformats.org/officeDocument/2006/relationships/tags" Target="../tags/tag566.xml"/><Relationship Id="rId15" Type="http://schemas.openxmlformats.org/officeDocument/2006/relationships/tags" Target="../tags/tag576.xml"/><Relationship Id="rId23" Type="http://schemas.openxmlformats.org/officeDocument/2006/relationships/tags" Target="../tags/tag584.xml"/><Relationship Id="rId28" Type="http://schemas.openxmlformats.org/officeDocument/2006/relationships/tags" Target="../tags/tag589.xml"/><Relationship Id="rId36" Type="http://schemas.openxmlformats.org/officeDocument/2006/relationships/tags" Target="../tags/tag597.xml"/><Relationship Id="rId10" Type="http://schemas.openxmlformats.org/officeDocument/2006/relationships/tags" Target="../tags/tag571.xml"/><Relationship Id="rId19" Type="http://schemas.openxmlformats.org/officeDocument/2006/relationships/tags" Target="../tags/tag580.xml"/><Relationship Id="rId31" Type="http://schemas.openxmlformats.org/officeDocument/2006/relationships/tags" Target="../tags/tag592.xml"/><Relationship Id="rId44" Type="http://schemas.openxmlformats.org/officeDocument/2006/relationships/slideLayout" Target="../slideLayouts/slideLayout3.xml"/><Relationship Id="rId4" Type="http://schemas.openxmlformats.org/officeDocument/2006/relationships/tags" Target="../tags/tag565.xml"/><Relationship Id="rId9" Type="http://schemas.openxmlformats.org/officeDocument/2006/relationships/tags" Target="../tags/tag570.xml"/><Relationship Id="rId14" Type="http://schemas.openxmlformats.org/officeDocument/2006/relationships/tags" Target="../tags/tag575.xml"/><Relationship Id="rId22" Type="http://schemas.openxmlformats.org/officeDocument/2006/relationships/tags" Target="../tags/tag583.xml"/><Relationship Id="rId27" Type="http://schemas.openxmlformats.org/officeDocument/2006/relationships/tags" Target="../tags/tag588.xml"/><Relationship Id="rId30" Type="http://schemas.openxmlformats.org/officeDocument/2006/relationships/tags" Target="../tags/tag591.xml"/><Relationship Id="rId35" Type="http://schemas.openxmlformats.org/officeDocument/2006/relationships/tags" Target="../tags/tag596.xml"/><Relationship Id="rId43" Type="http://schemas.openxmlformats.org/officeDocument/2006/relationships/tags" Target="../tags/tag604.xml"/><Relationship Id="rId8" Type="http://schemas.openxmlformats.org/officeDocument/2006/relationships/tags" Target="../tags/tag569.xml"/><Relationship Id="rId3" Type="http://schemas.openxmlformats.org/officeDocument/2006/relationships/tags" Target="../tags/tag564.xml"/><Relationship Id="rId12" Type="http://schemas.openxmlformats.org/officeDocument/2006/relationships/tags" Target="../tags/tag573.xml"/><Relationship Id="rId17" Type="http://schemas.openxmlformats.org/officeDocument/2006/relationships/tags" Target="../tags/tag578.xml"/><Relationship Id="rId25" Type="http://schemas.openxmlformats.org/officeDocument/2006/relationships/tags" Target="../tags/tag586.xml"/><Relationship Id="rId33" Type="http://schemas.openxmlformats.org/officeDocument/2006/relationships/tags" Target="../tags/tag594.xml"/><Relationship Id="rId38" Type="http://schemas.openxmlformats.org/officeDocument/2006/relationships/tags" Target="../tags/tag599.xml"/><Relationship Id="rId46" Type="http://schemas.openxmlformats.org/officeDocument/2006/relationships/image" Target="../media/image1.emf"/><Relationship Id="rId20" Type="http://schemas.openxmlformats.org/officeDocument/2006/relationships/tags" Target="../tags/tag581.xml"/><Relationship Id="rId41" Type="http://schemas.openxmlformats.org/officeDocument/2006/relationships/tags" Target="../tags/tag602.xml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617.xml"/><Relationship Id="rId18" Type="http://schemas.openxmlformats.org/officeDocument/2006/relationships/tags" Target="../tags/tag622.xml"/><Relationship Id="rId26" Type="http://schemas.openxmlformats.org/officeDocument/2006/relationships/tags" Target="../tags/tag630.xml"/><Relationship Id="rId39" Type="http://schemas.openxmlformats.org/officeDocument/2006/relationships/tags" Target="../tags/tag643.xml"/><Relationship Id="rId21" Type="http://schemas.openxmlformats.org/officeDocument/2006/relationships/tags" Target="../tags/tag625.xml"/><Relationship Id="rId34" Type="http://schemas.openxmlformats.org/officeDocument/2006/relationships/tags" Target="../tags/tag638.xml"/><Relationship Id="rId42" Type="http://schemas.openxmlformats.org/officeDocument/2006/relationships/tags" Target="../tags/tag646.xml"/><Relationship Id="rId47" Type="http://schemas.openxmlformats.org/officeDocument/2006/relationships/tags" Target="../tags/tag651.xml"/><Relationship Id="rId50" Type="http://schemas.openxmlformats.org/officeDocument/2006/relationships/slideLayout" Target="../slideLayouts/slideLayout3.xml"/><Relationship Id="rId7" Type="http://schemas.openxmlformats.org/officeDocument/2006/relationships/tags" Target="../tags/tag611.xml"/><Relationship Id="rId2" Type="http://schemas.openxmlformats.org/officeDocument/2006/relationships/tags" Target="../tags/tag606.xml"/><Relationship Id="rId16" Type="http://schemas.openxmlformats.org/officeDocument/2006/relationships/tags" Target="../tags/tag620.xml"/><Relationship Id="rId29" Type="http://schemas.openxmlformats.org/officeDocument/2006/relationships/tags" Target="../tags/tag633.xml"/><Relationship Id="rId11" Type="http://schemas.openxmlformats.org/officeDocument/2006/relationships/tags" Target="../tags/tag615.xml"/><Relationship Id="rId24" Type="http://schemas.openxmlformats.org/officeDocument/2006/relationships/tags" Target="../tags/tag628.xml"/><Relationship Id="rId32" Type="http://schemas.openxmlformats.org/officeDocument/2006/relationships/tags" Target="../tags/tag636.xml"/><Relationship Id="rId37" Type="http://schemas.openxmlformats.org/officeDocument/2006/relationships/tags" Target="../tags/tag641.xml"/><Relationship Id="rId40" Type="http://schemas.openxmlformats.org/officeDocument/2006/relationships/tags" Target="../tags/tag644.xml"/><Relationship Id="rId45" Type="http://schemas.openxmlformats.org/officeDocument/2006/relationships/tags" Target="../tags/tag649.xml"/><Relationship Id="rId53" Type="http://schemas.openxmlformats.org/officeDocument/2006/relationships/chart" Target="../charts/chart15.xml"/><Relationship Id="rId5" Type="http://schemas.openxmlformats.org/officeDocument/2006/relationships/tags" Target="../tags/tag609.xml"/><Relationship Id="rId10" Type="http://schemas.openxmlformats.org/officeDocument/2006/relationships/tags" Target="../tags/tag614.xml"/><Relationship Id="rId19" Type="http://schemas.openxmlformats.org/officeDocument/2006/relationships/tags" Target="../tags/tag623.xml"/><Relationship Id="rId31" Type="http://schemas.openxmlformats.org/officeDocument/2006/relationships/tags" Target="../tags/tag635.xml"/><Relationship Id="rId44" Type="http://schemas.openxmlformats.org/officeDocument/2006/relationships/tags" Target="../tags/tag648.xml"/><Relationship Id="rId52" Type="http://schemas.openxmlformats.org/officeDocument/2006/relationships/image" Target="../media/image1.emf"/><Relationship Id="rId4" Type="http://schemas.openxmlformats.org/officeDocument/2006/relationships/tags" Target="../tags/tag608.xml"/><Relationship Id="rId9" Type="http://schemas.openxmlformats.org/officeDocument/2006/relationships/tags" Target="../tags/tag613.xml"/><Relationship Id="rId14" Type="http://schemas.openxmlformats.org/officeDocument/2006/relationships/tags" Target="../tags/tag618.xml"/><Relationship Id="rId22" Type="http://schemas.openxmlformats.org/officeDocument/2006/relationships/tags" Target="../tags/tag626.xml"/><Relationship Id="rId27" Type="http://schemas.openxmlformats.org/officeDocument/2006/relationships/tags" Target="../tags/tag631.xml"/><Relationship Id="rId30" Type="http://schemas.openxmlformats.org/officeDocument/2006/relationships/tags" Target="../tags/tag634.xml"/><Relationship Id="rId35" Type="http://schemas.openxmlformats.org/officeDocument/2006/relationships/tags" Target="../tags/tag639.xml"/><Relationship Id="rId43" Type="http://schemas.openxmlformats.org/officeDocument/2006/relationships/tags" Target="../tags/tag647.xml"/><Relationship Id="rId48" Type="http://schemas.openxmlformats.org/officeDocument/2006/relationships/tags" Target="../tags/tag652.xml"/><Relationship Id="rId8" Type="http://schemas.openxmlformats.org/officeDocument/2006/relationships/tags" Target="../tags/tag612.xml"/><Relationship Id="rId51" Type="http://schemas.openxmlformats.org/officeDocument/2006/relationships/oleObject" Target="../embeddings/oleObject27.bin"/><Relationship Id="rId3" Type="http://schemas.openxmlformats.org/officeDocument/2006/relationships/tags" Target="../tags/tag607.xml"/><Relationship Id="rId12" Type="http://schemas.openxmlformats.org/officeDocument/2006/relationships/tags" Target="../tags/tag616.xml"/><Relationship Id="rId17" Type="http://schemas.openxmlformats.org/officeDocument/2006/relationships/tags" Target="../tags/tag621.xml"/><Relationship Id="rId25" Type="http://schemas.openxmlformats.org/officeDocument/2006/relationships/tags" Target="../tags/tag629.xml"/><Relationship Id="rId33" Type="http://schemas.openxmlformats.org/officeDocument/2006/relationships/tags" Target="../tags/tag637.xml"/><Relationship Id="rId38" Type="http://schemas.openxmlformats.org/officeDocument/2006/relationships/tags" Target="../tags/tag642.xml"/><Relationship Id="rId46" Type="http://schemas.openxmlformats.org/officeDocument/2006/relationships/tags" Target="../tags/tag650.xml"/><Relationship Id="rId20" Type="http://schemas.openxmlformats.org/officeDocument/2006/relationships/tags" Target="../tags/tag624.xml"/><Relationship Id="rId41" Type="http://schemas.openxmlformats.org/officeDocument/2006/relationships/tags" Target="../tags/tag645.xml"/><Relationship Id="rId1" Type="http://schemas.openxmlformats.org/officeDocument/2006/relationships/tags" Target="../tags/tag605.xml"/><Relationship Id="rId6" Type="http://schemas.openxmlformats.org/officeDocument/2006/relationships/tags" Target="../tags/tag610.xml"/><Relationship Id="rId15" Type="http://schemas.openxmlformats.org/officeDocument/2006/relationships/tags" Target="../tags/tag619.xml"/><Relationship Id="rId23" Type="http://schemas.openxmlformats.org/officeDocument/2006/relationships/tags" Target="../tags/tag627.xml"/><Relationship Id="rId28" Type="http://schemas.openxmlformats.org/officeDocument/2006/relationships/tags" Target="../tags/tag632.xml"/><Relationship Id="rId36" Type="http://schemas.openxmlformats.org/officeDocument/2006/relationships/tags" Target="../tags/tag640.xml"/><Relationship Id="rId49" Type="http://schemas.openxmlformats.org/officeDocument/2006/relationships/tags" Target="../tags/tag653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666.xml"/><Relationship Id="rId18" Type="http://schemas.openxmlformats.org/officeDocument/2006/relationships/tags" Target="../tags/tag671.xml"/><Relationship Id="rId26" Type="http://schemas.openxmlformats.org/officeDocument/2006/relationships/tags" Target="../tags/tag679.xml"/><Relationship Id="rId39" Type="http://schemas.openxmlformats.org/officeDocument/2006/relationships/tags" Target="../tags/tag692.xml"/><Relationship Id="rId21" Type="http://schemas.openxmlformats.org/officeDocument/2006/relationships/tags" Target="../tags/tag674.xml"/><Relationship Id="rId34" Type="http://schemas.openxmlformats.org/officeDocument/2006/relationships/tags" Target="../tags/tag687.xml"/><Relationship Id="rId42" Type="http://schemas.openxmlformats.org/officeDocument/2006/relationships/tags" Target="../tags/tag695.xml"/><Relationship Id="rId47" Type="http://schemas.openxmlformats.org/officeDocument/2006/relationships/tags" Target="../tags/tag700.xml"/><Relationship Id="rId50" Type="http://schemas.openxmlformats.org/officeDocument/2006/relationships/tags" Target="../tags/tag703.xml"/><Relationship Id="rId55" Type="http://schemas.openxmlformats.org/officeDocument/2006/relationships/tags" Target="../tags/tag708.xml"/><Relationship Id="rId63" Type="http://schemas.openxmlformats.org/officeDocument/2006/relationships/oleObject" Target="../embeddings/oleObject28.bin"/><Relationship Id="rId7" Type="http://schemas.openxmlformats.org/officeDocument/2006/relationships/tags" Target="../tags/tag660.xml"/><Relationship Id="rId2" Type="http://schemas.openxmlformats.org/officeDocument/2006/relationships/tags" Target="../tags/tag655.xml"/><Relationship Id="rId16" Type="http://schemas.openxmlformats.org/officeDocument/2006/relationships/tags" Target="../tags/tag669.xml"/><Relationship Id="rId29" Type="http://schemas.openxmlformats.org/officeDocument/2006/relationships/tags" Target="../tags/tag682.xml"/><Relationship Id="rId11" Type="http://schemas.openxmlformats.org/officeDocument/2006/relationships/tags" Target="../tags/tag664.xml"/><Relationship Id="rId24" Type="http://schemas.openxmlformats.org/officeDocument/2006/relationships/tags" Target="../tags/tag677.xml"/><Relationship Id="rId32" Type="http://schemas.openxmlformats.org/officeDocument/2006/relationships/tags" Target="../tags/tag685.xml"/><Relationship Id="rId37" Type="http://schemas.openxmlformats.org/officeDocument/2006/relationships/tags" Target="../tags/tag690.xml"/><Relationship Id="rId40" Type="http://schemas.openxmlformats.org/officeDocument/2006/relationships/tags" Target="../tags/tag693.xml"/><Relationship Id="rId45" Type="http://schemas.openxmlformats.org/officeDocument/2006/relationships/tags" Target="../tags/tag698.xml"/><Relationship Id="rId53" Type="http://schemas.openxmlformats.org/officeDocument/2006/relationships/tags" Target="../tags/tag706.xml"/><Relationship Id="rId58" Type="http://schemas.openxmlformats.org/officeDocument/2006/relationships/tags" Target="../tags/tag711.xml"/><Relationship Id="rId5" Type="http://schemas.openxmlformats.org/officeDocument/2006/relationships/tags" Target="../tags/tag658.xml"/><Relationship Id="rId61" Type="http://schemas.openxmlformats.org/officeDocument/2006/relationships/slideLayout" Target="../slideLayouts/slideLayout3.xml"/><Relationship Id="rId19" Type="http://schemas.openxmlformats.org/officeDocument/2006/relationships/tags" Target="../tags/tag672.xml"/><Relationship Id="rId14" Type="http://schemas.openxmlformats.org/officeDocument/2006/relationships/tags" Target="../tags/tag667.xml"/><Relationship Id="rId22" Type="http://schemas.openxmlformats.org/officeDocument/2006/relationships/tags" Target="../tags/tag675.xml"/><Relationship Id="rId27" Type="http://schemas.openxmlformats.org/officeDocument/2006/relationships/tags" Target="../tags/tag680.xml"/><Relationship Id="rId30" Type="http://schemas.openxmlformats.org/officeDocument/2006/relationships/tags" Target="../tags/tag683.xml"/><Relationship Id="rId35" Type="http://schemas.openxmlformats.org/officeDocument/2006/relationships/tags" Target="../tags/tag688.xml"/><Relationship Id="rId43" Type="http://schemas.openxmlformats.org/officeDocument/2006/relationships/tags" Target="../tags/tag696.xml"/><Relationship Id="rId48" Type="http://schemas.openxmlformats.org/officeDocument/2006/relationships/tags" Target="../tags/tag701.xml"/><Relationship Id="rId56" Type="http://schemas.openxmlformats.org/officeDocument/2006/relationships/tags" Target="../tags/tag709.xml"/><Relationship Id="rId64" Type="http://schemas.openxmlformats.org/officeDocument/2006/relationships/chart" Target="../charts/chart16.xml"/><Relationship Id="rId8" Type="http://schemas.openxmlformats.org/officeDocument/2006/relationships/tags" Target="../tags/tag661.xml"/><Relationship Id="rId51" Type="http://schemas.openxmlformats.org/officeDocument/2006/relationships/tags" Target="../tags/tag704.xml"/><Relationship Id="rId3" Type="http://schemas.openxmlformats.org/officeDocument/2006/relationships/tags" Target="../tags/tag656.xml"/><Relationship Id="rId12" Type="http://schemas.openxmlformats.org/officeDocument/2006/relationships/tags" Target="../tags/tag665.xml"/><Relationship Id="rId17" Type="http://schemas.openxmlformats.org/officeDocument/2006/relationships/tags" Target="../tags/tag670.xml"/><Relationship Id="rId25" Type="http://schemas.openxmlformats.org/officeDocument/2006/relationships/tags" Target="../tags/tag678.xml"/><Relationship Id="rId33" Type="http://schemas.openxmlformats.org/officeDocument/2006/relationships/tags" Target="../tags/tag686.xml"/><Relationship Id="rId38" Type="http://schemas.openxmlformats.org/officeDocument/2006/relationships/tags" Target="../tags/tag691.xml"/><Relationship Id="rId46" Type="http://schemas.openxmlformats.org/officeDocument/2006/relationships/tags" Target="../tags/tag699.xml"/><Relationship Id="rId59" Type="http://schemas.openxmlformats.org/officeDocument/2006/relationships/tags" Target="../tags/tag712.xml"/><Relationship Id="rId20" Type="http://schemas.openxmlformats.org/officeDocument/2006/relationships/tags" Target="../tags/tag673.xml"/><Relationship Id="rId41" Type="http://schemas.openxmlformats.org/officeDocument/2006/relationships/tags" Target="../tags/tag694.xml"/><Relationship Id="rId54" Type="http://schemas.openxmlformats.org/officeDocument/2006/relationships/tags" Target="../tags/tag707.xml"/><Relationship Id="rId62" Type="http://schemas.openxmlformats.org/officeDocument/2006/relationships/notesSlide" Target="../notesSlides/notesSlide3.xml"/><Relationship Id="rId1" Type="http://schemas.openxmlformats.org/officeDocument/2006/relationships/tags" Target="../tags/tag654.xml"/><Relationship Id="rId6" Type="http://schemas.openxmlformats.org/officeDocument/2006/relationships/tags" Target="../tags/tag659.xml"/><Relationship Id="rId15" Type="http://schemas.openxmlformats.org/officeDocument/2006/relationships/tags" Target="../tags/tag668.xml"/><Relationship Id="rId23" Type="http://schemas.openxmlformats.org/officeDocument/2006/relationships/tags" Target="../tags/tag676.xml"/><Relationship Id="rId28" Type="http://schemas.openxmlformats.org/officeDocument/2006/relationships/tags" Target="../tags/tag681.xml"/><Relationship Id="rId36" Type="http://schemas.openxmlformats.org/officeDocument/2006/relationships/tags" Target="../tags/tag689.xml"/><Relationship Id="rId49" Type="http://schemas.openxmlformats.org/officeDocument/2006/relationships/tags" Target="../tags/tag702.xml"/><Relationship Id="rId57" Type="http://schemas.openxmlformats.org/officeDocument/2006/relationships/tags" Target="../tags/tag710.xml"/><Relationship Id="rId10" Type="http://schemas.openxmlformats.org/officeDocument/2006/relationships/tags" Target="../tags/tag663.xml"/><Relationship Id="rId31" Type="http://schemas.openxmlformats.org/officeDocument/2006/relationships/tags" Target="../tags/tag684.xml"/><Relationship Id="rId44" Type="http://schemas.openxmlformats.org/officeDocument/2006/relationships/tags" Target="../tags/tag697.xml"/><Relationship Id="rId52" Type="http://schemas.openxmlformats.org/officeDocument/2006/relationships/tags" Target="../tags/tag705.xml"/><Relationship Id="rId60" Type="http://schemas.openxmlformats.org/officeDocument/2006/relationships/tags" Target="../tags/tag713.xml"/><Relationship Id="rId4" Type="http://schemas.openxmlformats.org/officeDocument/2006/relationships/tags" Target="../tags/tag657.xml"/><Relationship Id="rId9" Type="http://schemas.openxmlformats.org/officeDocument/2006/relationships/tags" Target="../tags/tag662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726.xml"/><Relationship Id="rId18" Type="http://schemas.openxmlformats.org/officeDocument/2006/relationships/tags" Target="../tags/tag731.xml"/><Relationship Id="rId26" Type="http://schemas.openxmlformats.org/officeDocument/2006/relationships/tags" Target="../tags/tag739.xml"/><Relationship Id="rId39" Type="http://schemas.openxmlformats.org/officeDocument/2006/relationships/tags" Target="../tags/tag752.xml"/><Relationship Id="rId21" Type="http://schemas.openxmlformats.org/officeDocument/2006/relationships/tags" Target="../tags/tag734.xml"/><Relationship Id="rId34" Type="http://schemas.openxmlformats.org/officeDocument/2006/relationships/tags" Target="../tags/tag747.xml"/><Relationship Id="rId42" Type="http://schemas.openxmlformats.org/officeDocument/2006/relationships/tags" Target="../tags/tag755.xml"/><Relationship Id="rId47" Type="http://schemas.openxmlformats.org/officeDocument/2006/relationships/tags" Target="../tags/tag760.xml"/><Relationship Id="rId50" Type="http://schemas.openxmlformats.org/officeDocument/2006/relationships/slideLayout" Target="../slideLayouts/slideLayout3.xml"/><Relationship Id="rId7" Type="http://schemas.openxmlformats.org/officeDocument/2006/relationships/tags" Target="../tags/tag720.xml"/><Relationship Id="rId2" Type="http://schemas.openxmlformats.org/officeDocument/2006/relationships/tags" Target="../tags/tag715.xml"/><Relationship Id="rId16" Type="http://schemas.openxmlformats.org/officeDocument/2006/relationships/tags" Target="../tags/tag729.xml"/><Relationship Id="rId29" Type="http://schemas.openxmlformats.org/officeDocument/2006/relationships/tags" Target="../tags/tag742.xml"/><Relationship Id="rId11" Type="http://schemas.openxmlformats.org/officeDocument/2006/relationships/tags" Target="../tags/tag724.xml"/><Relationship Id="rId24" Type="http://schemas.openxmlformats.org/officeDocument/2006/relationships/tags" Target="../tags/tag737.xml"/><Relationship Id="rId32" Type="http://schemas.openxmlformats.org/officeDocument/2006/relationships/tags" Target="../tags/tag745.xml"/><Relationship Id="rId37" Type="http://schemas.openxmlformats.org/officeDocument/2006/relationships/tags" Target="../tags/tag750.xml"/><Relationship Id="rId40" Type="http://schemas.openxmlformats.org/officeDocument/2006/relationships/tags" Target="../tags/tag753.xml"/><Relationship Id="rId45" Type="http://schemas.openxmlformats.org/officeDocument/2006/relationships/tags" Target="../tags/tag758.xml"/><Relationship Id="rId53" Type="http://schemas.openxmlformats.org/officeDocument/2006/relationships/chart" Target="../charts/chart17.xml"/><Relationship Id="rId5" Type="http://schemas.openxmlformats.org/officeDocument/2006/relationships/tags" Target="../tags/tag718.xml"/><Relationship Id="rId10" Type="http://schemas.openxmlformats.org/officeDocument/2006/relationships/tags" Target="../tags/tag723.xml"/><Relationship Id="rId19" Type="http://schemas.openxmlformats.org/officeDocument/2006/relationships/tags" Target="../tags/tag732.xml"/><Relationship Id="rId31" Type="http://schemas.openxmlformats.org/officeDocument/2006/relationships/tags" Target="../tags/tag744.xml"/><Relationship Id="rId44" Type="http://schemas.openxmlformats.org/officeDocument/2006/relationships/tags" Target="../tags/tag757.xml"/><Relationship Id="rId52" Type="http://schemas.openxmlformats.org/officeDocument/2006/relationships/image" Target="../media/image1.emf"/><Relationship Id="rId4" Type="http://schemas.openxmlformats.org/officeDocument/2006/relationships/tags" Target="../tags/tag717.xml"/><Relationship Id="rId9" Type="http://schemas.openxmlformats.org/officeDocument/2006/relationships/tags" Target="../tags/tag722.xml"/><Relationship Id="rId14" Type="http://schemas.openxmlformats.org/officeDocument/2006/relationships/tags" Target="../tags/tag727.xml"/><Relationship Id="rId22" Type="http://schemas.openxmlformats.org/officeDocument/2006/relationships/tags" Target="../tags/tag735.xml"/><Relationship Id="rId27" Type="http://schemas.openxmlformats.org/officeDocument/2006/relationships/tags" Target="../tags/tag740.xml"/><Relationship Id="rId30" Type="http://schemas.openxmlformats.org/officeDocument/2006/relationships/tags" Target="../tags/tag743.xml"/><Relationship Id="rId35" Type="http://schemas.openxmlformats.org/officeDocument/2006/relationships/tags" Target="../tags/tag748.xml"/><Relationship Id="rId43" Type="http://schemas.openxmlformats.org/officeDocument/2006/relationships/tags" Target="../tags/tag756.xml"/><Relationship Id="rId48" Type="http://schemas.openxmlformats.org/officeDocument/2006/relationships/tags" Target="../tags/tag761.xml"/><Relationship Id="rId8" Type="http://schemas.openxmlformats.org/officeDocument/2006/relationships/tags" Target="../tags/tag721.xml"/><Relationship Id="rId51" Type="http://schemas.openxmlformats.org/officeDocument/2006/relationships/oleObject" Target="../embeddings/oleObject29.bin"/><Relationship Id="rId3" Type="http://schemas.openxmlformats.org/officeDocument/2006/relationships/tags" Target="../tags/tag716.xml"/><Relationship Id="rId12" Type="http://schemas.openxmlformats.org/officeDocument/2006/relationships/tags" Target="../tags/tag725.xml"/><Relationship Id="rId17" Type="http://schemas.openxmlformats.org/officeDocument/2006/relationships/tags" Target="../tags/tag730.xml"/><Relationship Id="rId25" Type="http://schemas.openxmlformats.org/officeDocument/2006/relationships/tags" Target="../tags/tag738.xml"/><Relationship Id="rId33" Type="http://schemas.openxmlformats.org/officeDocument/2006/relationships/tags" Target="../tags/tag746.xml"/><Relationship Id="rId38" Type="http://schemas.openxmlformats.org/officeDocument/2006/relationships/tags" Target="../tags/tag751.xml"/><Relationship Id="rId46" Type="http://schemas.openxmlformats.org/officeDocument/2006/relationships/tags" Target="../tags/tag759.xml"/><Relationship Id="rId20" Type="http://schemas.openxmlformats.org/officeDocument/2006/relationships/tags" Target="../tags/tag733.xml"/><Relationship Id="rId41" Type="http://schemas.openxmlformats.org/officeDocument/2006/relationships/tags" Target="../tags/tag754.xml"/><Relationship Id="rId1" Type="http://schemas.openxmlformats.org/officeDocument/2006/relationships/tags" Target="../tags/tag714.xml"/><Relationship Id="rId6" Type="http://schemas.openxmlformats.org/officeDocument/2006/relationships/tags" Target="../tags/tag719.xml"/><Relationship Id="rId15" Type="http://schemas.openxmlformats.org/officeDocument/2006/relationships/tags" Target="../tags/tag728.xml"/><Relationship Id="rId23" Type="http://schemas.openxmlformats.org/officeDocument/2006/relationships/tags" Target="../tags/tag736.xml"/><Relationship Id="rId28" Type="http://schemas.openxmlformats.org/officeDocument/2006/relationships/tags" Target="../tags/tag741.xml"/><Relationship Id="rId36" Type="http://schemas.openxmlformats.org/officeDocument/2006/relationships/tags" Target="../tags/tag749.xml"/><Relationship Id="rId49" Type="http://schemas.openxmlformats.org/officeDocument/2006/relationships/tags" Target="../tags/tag762.xml"/></Relationships>
</file>

<file path=ppt/slides/_rels/slide18.xml.rels><?xml version="1.0" encoding="UTF-8" standalone="yes"?>
<Relationships xmlns="http://schemas.openxmlformats.org/package/2006/relationships"><Relationship Id="rId26" Type="http://schemas.openxmlformats.org/officeDocument/2006/relationships/tags" Target="../tags/tag788.xml"/><Relationship Id="rId21" Type="http://schemas.openxmlformats.org/officeDocument/2006/relationships/tags" Target="../tags/tag783.xml"/><Relationship Id="rId42" Type="http://schemas.openxmlformats.org/officeDocument/2006/relationships/tags" Target="../tags/tag804.xml"/><Relationship Id="rId47" Type="http://schemas.openxmlformats.org/officeDocument/2006/relationships/tags" Target="../tags/tag809.xml"/><Relationship Id="rId63" Type="http://schemas.openxmlformats.org/officeDocument/2006/relationships/tags" Target="../tags/tag825.xml"/><Relationship Id="rId68" Type="http://schemas.openxmlformats.org/officeDocument/2006/relationships/tags" Target="../tags/tag830.xml"/><Relationship Id="rId16" Type="http://schemas.openxmlformats.org/officeDocument/2006/relationships/tags" Target="../tags/tag778.xml"/><Relationship Id="rId11" Type="http://schemas.openxmlformats.org/officeDocument/2006/relationships/tags" Target="../tags/tag773.xml"/><Relationship Id="rId24" Type="http://schemas.openxmlformats.org/officeDocument/2006/relationships/tags" Target="../tags/tag786.xml"/><Relationship Id="rId32" Type="http://schemas.openxmlformats.org/officeDocument/2006/relationships/tags" Target="../tags/tag794.xml"/><Relationship Id="rId37" Type="http://schemas.openxmlformats.org/officeDocument/2006/relationships/tags" Target="../tags/tag799.xml"/><Relationship Id="rId40" Type="http://schemas.openxmlformats.org/officeDocument/2006/relationships/tags" Target="../tags/tag802.xml"/><Relationship Id="rId45" Type="http://schemas.openxmlformats.org/officeDocument/2006/relationships/tags" Target="../tags/tag807.xml"/><Relationship Id="rId53" Type="http://schemas.openxmlformats.org/officeDocument/2006/relationships/tags" Target="../tags/tag815.xml"/><Relationship Id="rId58" Type="http://schemas.openxmlformats.org/officeDocument/2006/relationships/tags" Target="../tags/tag820.xml"/><Relationship Id="rId66" Type="http://schemas.openxmlformats.org/officeDocument/2006/relationships/tags" Target="../tags/tag828.xml"/><Relationship Id="rId74" Type="http://schemas.openxmlformats.org/officeDocument/2006/relationships/tags" Target="../tags/tag836.xml"/><Relationship Id="rId5" Type="http://schemas.openxmlformats.org/officeDocument/2006/relationships/tags" Target="../tags/tag767.xml"/><Relationship Id="rId61" Type="http://schemas.openxmlformats.org/officeDocument/2006/relationships/tags" Target="../tags/tag823.xml"/><Relationship Id="rId19" Type="http://schemas.openxmlformats.org/officeDocument/2006/relationships/tags" Target="../tags/tag781.xml"/><Relationship Id="rId14" Type="http://schemas.openxmlformats.org/officeDocument/2006/relationships/tags" Target="../tags/tag776.xml"/><Relationship Id="rId22" Type="http://schemas.openxmlformats.org/officeDocument/2006/relationships/tags" Target="../tags/tag784.xml"/><Relationship Id="rId27" Type="http://schemas.openxmlformats.org/officeDocument/2006/relationships/tags" Target="../tags/tag789.xml"/><Relationship Id="rId30" Type="http://schemas.openxmlformats.org/officeDocument/2006/relationships/tags" Target="../tags/tag792.xml"/><Relationship Id="rId35" Type="http://schemas.openxmlformats.org/officeDocument/2006/relationships/tags" Target="../tags/tag797.xml"/><Relationship Id="rId43" Type="http://schemas.openxmlformats.org/officeDocument/2006/relationships/tags" Target="../tags/tag805.xml"/><Relationship Id="rId48" Type="http://schemas.openxmlformats.org/officeDocument/2006/relationships/tags" Target="../tags/tag810.xml"/><Relationship Id="rId56" Type="http://schemas.openxmlformats.org/officeDocument/2006/relationships/tags" Target="../tags/tag818.xml"/><Relationship Id="rId64" Type="http://schemas.openxmlformats.org/officeDocument/2006/relationships/tags" Target="../tags/tag826.xml"/><Relationship Id="rId69" Type="http://schemas.openxmlformats.org/officeDocument/2006/relationships/tags" Target="../tags/tag831.xml"/><Relationship Id="rId77" Type="http://schemas.openxmlformats.org/officeDocument/2006/relationships/image" Target="../media/image1.emf"/><Relationship Id="rId8" Type="http://schemas.openxmlformats.org/officeDocument/2006/relationships/tags" Target="../tags/tag770.xml"/><Relationship Id="rId51" Type="http://schemas.openxmlformats.org/officeDocument/2006/relationships/tags" Target="../tags/tag813.xml"/><Relationship Id="rId72" Type="http://schemas.openxmlformats.org/officeDocument/2006/relationships/tags" Target="../tags/tag834.xml"/><Relationship Id="rId3" Type="http://schemas.openxmlformats.org/officeDocument/2006/relationships/tags" Target="../tags/tag765.xml"/><Relationship Id="rId12" Type="http://schemas.openxmlformats.org/officeDocument/2006/relationships/tags" Target="../tags/tag774.xml"/><Relationship Id="rId17" Type="http://schemas.openxmlformats.org/officeDocument/2006/relationships/tags" Target="../tags/tag779.xml"/><Relationship Id="rId25" Type="http://schemas.openxmlformats.org/officeDocument/2006/relationships/tags" Target="../tags/tag787.xml"/><Relationship Id="rId33" Type="http://schemas.openxmlformats.org/officeDocument/2006/relationships/tags" Target="../tags/tag795.xml"/><Relationship Id="rId38" Type="http://schemas.openxmlformats.org/officeDocument/2006/relationships/tags" Target="../tags/tag800.xml"/><Relationship Id="rId46" Type="http://schemas.openxmlformats.org/officeDocument/2006/relationships/tags" Target="../tags/tag808.xml"/><Relationship Id="rId59" Type="http://schemas.openxmlformats.org/officeDocument/2006/relationships/tags" Target="../tags/tag821.xml"/><Relationship Id="rId67" Type="http://schemas.openxmlformats.org/officeDocument/2006/relationships/tags" Target="../tags/tag829.xml"/><Relationship Id="rId20" Type="http://schemas.openxmlformats.org/officeDocument/2006/relationships/tags" Target="../tags/tag782.xml"/><Relationship Id="rId41" Type="http://schemas.openxmlformats.org/officeDocument/2006/relationships/tags" Target="../tags/tag803.xml"/><Relationship Id="rId54" Type="http://schemas.openxmlformats.org/officeDocument/2006/relationships/tags" Target="../tags/tag816.xml"/><Relationship Id="rId62" Type="http://schemas.openxmlformats.org/officeDocument/2006/relationships/tags" Target="../tags/tag824.xml"/><Relationship Id="rId70" Type="http://schemas.openxmlformats.org/officeDocument/2006/relationships/tags" Target="../tags/tag832.xml"/><Relationship Id="rId75" Type="http://schemas.openxmlformats.org/officeDocument/2006/relationships/slideLayout" Target="../slideLayouts/slideLayout3.xml"/><Relationship Id="rId1" Type="http://schemas.openxmlformats.org/officeDocument/2006/relationships/tags" Target="../tags/tag763.xml"/><Relationship Id="rId6" Type="http://schemas.openxmlformats.org/officeDocument/2006/relationships/tags" Target="../tags/tag768.xml"/><Relationship Id="rId15" Type="http://schemas.openxmlformats.org/officeDocument/2006/relationships/tags" Target="../tags/tag777.xml"/><Relationship Id="rId23" Type="http://schemas.openxmlformats.org/officeDocument/2006/relationships/tags" Target="../tags/tag785.xml"/><Relationship Id="rId28" Type="http://schemas.openxmlformats.org/officeDocument/2006/relationships/tags" Target="../tags/tag790.xml"/><Relationship Id="rId36" Type="http://schemas.openxmlformats.org/officeDocument/2006/relationships/tags" Target="../tags/tag798.xml"/><Relationship Id="rId49" Type="http://schemas.openxmlformats.org/officeDocument/2006/relationships/tags" Target="../tags/tag811.xml"/><Relationship Id="rId57" Type="http://schemas.openxmlformats.org/officeDocument/2006/relationships/tags" Target="../tags/tag819.xml"/><Relationship Id="rId10" Type="http://schemas.openxmlformats.org/officeDocument/2006/relationships/tags" Target="../tags/tag772.xml"/><Relationship Id="rId31" Type="http://schemas.openxmlformats.org/officeDocument/2006/relationships/tags" Target="../tags/tag793.xml"/><Relationship Id="rId44" Type="http://schemas.openxmlformats.org/officeDocument/2006/relationships/tags" Target="../tags/tag806.xml"/><Relationship Id="rId52" Type="http://schemas.openxmlformats.org/officeDocument/2006/relationships/tags" Target="../tags/tag814.xml"/><Relationship Id="rId60" Type="http://schemas.openxmlformats.org/officeDocument/2006/relationships/tags" Target="../tags/tag822.xml"/><Relationship Id="rId65" Type="http://schemas.openxmlformats.org/officeDocument/2006/relationships/tags" Target="../tags/tag827.xml"/><Relationship Id="rId73" Type="http://schemas.openxmlformats.org/officeDocument/2006/relationships/tags" Target="../tags/tag835.xml"/><Relationship Id="rId78" Type="http://schemas.openxmlformats.org/officeDocument/2006/relationships/chart" Target="../charts/chart18.xml"/><Relationship Id="rId4" Type="http://schemas.openxmlformats.org/officeDocument/2006/relationships/tags" Target="../tags/tag766.xml"/><Relationship Id="rId9" Type="http://schemas.openxmlformats.org/officeDocument/2006/relationships/tags" Target="../tags/tag771.xml"/><Relationship Id="rId13" Type="http://schemas.openxmlformats.org/officeDocument/2006/relationships/tags" Target="../tags/tag775.xml"/><Relationship Id="rId18" Type="http://schemas.openxmlformats.org/officeDocument/2006/relationships/tags" Target="../tags/tag780.xml"/><Relationship Id="rId39" Type="http://schemas.openxmlformats.org/officeDocument/2006/relationships/tags" Target="../tags/tag801.xml"/><Relationship Id="rId34" Type="http://schemas.openxmlformats.org/officeDocument/2006/relationships/tags" Target="../tags/tag796.xml"/><Relationship Id="rId50" Type="http://schemas.openxmlformats.org/officeDocument/2006/relationships/tags" Target="../tags/tag812.xml"/><Relationship Id="rId55" Type="http://schemas.openxmlformats.org/officeDocument/2006/relationships/tags" Target="../tags/tag817.xml"/><Relationship Id="rId76" Type="http://schemas.openxmlformats.org/officeDocument/2006/relationships/oleObject" Target="../embeddings/oleObject30.bin"/><Relationship Id="rId7" Type="http://schemas.openxmlformats.org/officeDocument/2006/relationships/tags" Target="../tags/tag769.xml"/><Relationship Id="rId71" Type="http://schemas.openxmlformats.org/officeDocument/2006/relationships/tags" Target="../tags/tag833.xml"/><Relationship Id="rId2" Type="http://schemas.openxmlformats.org/officeDocument/2006/relationships/tags" Target="../tags/tag764.xml"/><Relationship Id="rId29" Type="http://schemas.openxmlformats.org/officeDocument/2006/relationships/tags" Target="../tags/tag791.xml"/></Relationships>
</file>

<file path=ppt/slides/_rels/slide19.xml.rels><?xml version="1.0" encoding="UTF-8" standalone="yes"?>
<Relationships xmlns="http://schemas.openxmlformats.org/package/2006/relationships"><Relationship Id="rId26" Type="http://schemas.openxmlformats.org/officeDocument/2006/relationships/tags" Target="../tags/tag862.xml"/><Relationship Id="rId21" Type="http://schemas.openxmlformats.org/officeDocument/2006/relationships/tags" Target="../tags/tag857.xml"/><Relationship Id="rId42" Type="http://schemas.openxmlformats.org/officeDocument/2006/relationships/tags" Target="../tags/tag878.xml"/><Relationship Id="rId47" Type="http://schemas.openxmlformats.org/officeDocument/2006/relationships/tags" Target="../tags/tag883.xml"/><Relationship Id="rId63" Type="http://schemas.openxmlformats.org/officeDocument/2006/relationships/tags" Target="../tags/tag899.xml"/><Relationship Id="rId68" Type="http://schemas.openxmlformats.org/officeDocument/2006/relationships/tags" Target="../tags/tag904.xml"/><Relationship Id="rId84" Type="http://schemas.openxmlformats.org/officeDocument/2006/relationships/tags" Target="../tags/tag920.xml"/><Relationship Id="rId89" Type="http://schemas.openxmlformats.org/officeDocument/2006/relationships/tags" Target="../tags/tag925.xml"/><Relationship Id="rId16" Type="http://schemas.openxmlformats.org/officeDocument/2006/relationships/tags" Target="../tags/tag852.xml"/><Relationship Id="rId11" Type="http://schemas.openxmlformats.org/officeDocument/2006/relationships/tags" Target="../tags/tag847.xml"/><Relationship Id="rId32" Type="http://schemas.openxmlformats.org/officeDocument/2006/relationships/tags" Target="../tags/tag868.xml"/><Relationship Id="rId37" Type="http://schemas.openxmlformats.org/officeDocument/2006/relationships/tags" Target="../tags/tag873.xml"/><Relationship Id="rId53" Type="http://schemas.openxmlformats.org/officeDocument/2006/relationships/tags" Target="../tags/tag889.xml"/><Relationship Id="rId58" Type="http://schemas.openxmlformats.org/officeDocument/2006/relationships/tags" Target="../tags/tag894.xml"/><Relationship Id="rId74" Type="http://schemas.openxmlformats.org/officeDocument/2006/relationships/tags" Target="../tags/tag910.xml"/><Relationship Id="rId79" Type="http://schemas.openxmlformats.org/officeDocument/2006/relationships/tags" Target="../tags/tag915.xml"/><Relationship Id="rId5" Type="http://schemas.openxmlformats.org/officeDocument/2006/relationships/tags" Target="../tags/tag841.xml"/><Relationship Id="rId90" Type="http://schemas.openxmlformats.org/officeDocument/2006/relationships/slideLayout" Target="../slideLayouts/slideLayout3.xml"/><Relationship Id="rId22" Type="http://schemas.openxmlformats.org/officeDocument/2006/relationships/tags" Target="../tags/tag858.xml"/><Relationship Id="rId27" Type="http://schemas.openxmlformats.org/officeDocument/2006/relationships/tags" Target="../tags/tag863.xml"/><Relationship Id="rId43" Type="http://schemas.openxmlformats.org/officeDocument/2006/relationships/tags" Target="../tags/tag879.xml"/><Relationship Id="rId48" Type="http://schemas.openxmlformats.org/officeDocument/2006/relationships/tags" Target="../tags/tag884.xml"/><Relationship Id="rId64" Type="http://schemas.openxmlformats.org/officeDocument/2006/relationships/tags" Target="../tags/tag900.xml"/><Relationship Id="rId69" Type="http://schemas.openxmlformats.org/officeDocument/2006/relationships/tags" Target="../tags/tag905.xml"/><Relationship Id="rId8" Type="http://schemas.openxmlformats.org/officeDocument/2006/relationships/tags" Target="../tags/tag844.xml"/><Relationship Id="rId51" Type="http://schemas.openxmlformats.org/officeDocument/2006/relationships/tags" Target="../tags/tag887.xml"/><Relationship Id="rId72" Type="http://schemas.openxmlformats.org/officeDocument/2006/relationships/tags" Target="../tags/tag908.xml"/><Relationship Id="rId80" Type="http://schemas.openxmlformats.org/officeDocument/2006/relationships/tags" Target="../tags/tag916.xml"/><Relationship Id="rId85" Type="http://schemas.openxmlformats.org/officeDocument/2006/relationships/tags" Target="../tags/tag921.xml"/><Relationship Id="rId93" Type="http://schemas.openxmlformats.org/officeDocument/2006/relationships/chart" Target="../charts/chart19.xml"/><Relationship Id="rId3" Type="http://schemas.openxmlformats.org/officeDocument/2006/relationships/tags" Target="../tags/tag839.xml"/><Relationship Id="rId12" Type="http://schemas.openxmlformats.org/officeDocument/2006/relationships/tags" Target="../tags/tag848.xml"/><Relationship Id="rId17" Type="http://schemas.openxmlformats.org/officeDocument/2006/relationships/tags" Target="../tags/tag853.xml"/><Relationship Id="rId25" Type="http://schemas.openxmlformats.org/officeDocument/2006/relationships/tags" Target="../tags/tag861.xml"/><Relationship Id="rId33" Type="http://schemas.openxmlformats.org/officeDocument/2006/relationships/tags" Target="../tags/tag869.xml"/><Relationship Id="rId38" Type="http://schemas.openxmlformats.org/officeDocument/2006/relationships/tags" Target="../tags/tag874.xml"/><Relationship Id="rId46" Type="http://schemas.openxmlformats.org/officeDocument/2006/relationships/tags" Target="../tags/tag882.xml"/><Relationship Id="rId59" Type="http://schemas.openxmlformats.org/officeDocument/2006/relationships/tags" Target="../tags/tag895.xml"/><Relationship Id="rId67" Type="http://schemas.openxmlformats.org/officeDocument/2006/relationships/tags" Target="../tags/tag903.xml"/><Relationship Id="rId20" Type="http://schemas.openxmlformats.org/officeDocument/2006/relationships/tags" Target="../tags/tag856.xml"/><Relationship Id="rId41" Type="http://schemas.openxmlformats.org/officeDocument/2006/relationships/tags" Target="../tags/tag877.xml"/><Relationship Id="rId54" Type="http://schemas.openxmlformats.org/officeDocument/2006/relationships/tags" Target="../tags/tag890.xml"/><Relationship Id="rId62" Type="http://schemas.openxmlformats.org/officeDocument/2006/relationships/tags" Target="../tags/tag898.xml"/><Relationship Id="rId70" Type="http://schemas.openxmlformats.org/officeDocument/2006/relationships/tags" Target="../tags/tag906.xml"/><Relationship Id="rId75" Type="http://schemas.openxmlformats.org/officeDocument/2006/relationships/tags" Target="../tags/tag911.xml"/><Relationship Id="rId83" Type="http://schemas.openxmlformats.org/officeDocument/2006/relationships/tags" Target="../tags/tag919.xml"/><Relationship Id="rId88" Type="http://schemas.openxmlformats.org/officeDocument/2006/relationships/tags" Target="../tags/tag924.xml"/><Relationship Id="rId91" Type="http://schemas.openxmlformats.org/officeDocument/2006/relationships/oleObject" Target="../embeddings/oleObject31.bin"/><Relationship Id="rId1" Type="http://schemas.openxmlformats.org/officeDocument/2006/relationships/tags" Target="../tags/tag837.xml"/><Relationship Id="rId6" Type="http://schemas.openxmlformats.org/officeDocument/2006/relationships/tags" Target="../tags/tag842.xml"/><Relationship Id="rId15" Type="http://schemas.openxmlformats.org/officeDocument/2006/relationships/tags" Target="../tags/tag851.xml"/><Relationship Id="rId23" Type="http://schemas.openxmlformats.org/officeDocument/2006/relationships/tags" Target="../tags/tag859.xml"/><Relationship Id="rId28" Type="http://schemas.openxmlformats.org/officeDocument/2006/relationships/tags" Target="../tags/tag864.xml"/><Relationship Id="rId36" Type="http://schemas.openxmlformats.org/officeDocument/2006/relationships/tags" Target="../tags/tag872.xml"/><Relationship Id="rId49" Type="http://schemas.openxmlformats.org/officeDocument/2006/relationships/tags" Target="../tags/tag885.xml"/><Relationship Id="rId57" Type="http://schemas.openxmlformats.org/officeDocument/2006/relationships/tags" Target="../tags/tag893.xml"/><Relationship Id="rId10" Type="http://schemas.openxmlformats.org/officeDocument/2006/relationships/tags" Target="../tags/tag846.xml"/><Relationship Id="rId31" Type="http://schemas.openxmlformats.org/officeDocument/2006/relationships/tags" Target="../tags/tag867.xml"/><Relationship Id="rId44" Type="http://schemas.openxmlformats.org/officeDocument/2006/relationships/tags" Target="../tags/tag880.xml"/><Relationship Id="rId52" Type="http://schemas.openxmlformats.org/officeDocument/2006/relationships/tags" Target="../tags/tag888.xml"/><Relationship Id="rId60" Type="http://schemas.openxmlformats.org/officeDocument/2006/relationships/tags" Target="../tags/tag896.xml"/><Relationship Id="rId65" Type="http://schemas.openxmlformats.org/officeDocument/2006/relationships/tags" Target="../tags/tag901.xml"/><Relationship Id="rId73" Type="http://schemas.openxmlformats.org/officeDocument/2006/relationships/tags" Target="../tags/tag909.xml"/><Relationship Id="rId78" Type="http://schemas.openxmlformats.org/officeDocument/2006/relationships/tags" Target="../tags/tag914.xml"/><Relationship Id="rId81" Type="http://schemas.openxmlformats.org/officeDocument/2006/relationships/tags" Target="../tags/tag917.xml"/><Relationship Id="rId86" Type="http://schemas.openxmlformats.org/officeDocument/2006/relationships/tags" Target="../tags/tag922.xml"/><Relationship Id="rId4" Type="http://schemas.openxmlformats.org/officeDocument/2006/relationships/tags" Target="../tags/tag840.xml"/><Relationship Id="rId9" Type="http://schemas.openxmlformats.org/officeDocument/2006/relationships/tags" Target="../tags/tag845.xml"/><Relationship Id="rId13" Type="http://schemas.openxmlformats.org/officeDocument/2006/relationships/tags" Target="../tags/tag849.xml"/><Relationship Id="rId18" Type="http://schemas.openxmlformats.org/officeDocument/2006/relationships/tags" Target="../tags/tag854.xml"/><Relationship Id="rId39" Type="http://schemas.openxmlformats.org/officeDocument/2006/relationships/tags" Target="../tags/tag875.xml"/><Relationship Id="rId34" Type="http://schemas.openxmlformats.org/officeDocument/2006/relationships/tags" Target="../tags/tag870.xml"/><Relationship Id="rId50" Type="http://schemas.openxmlformats.org/officeDocument/2006/relationships/tags" Target="../tags/tag886.xml"/><Relationship Id="rId55" Type="http://schemas.openxmlformats.org/officeDocument/2006/relationships/tags" Target="../tags/tag891.xml"/><Relationship Id="rId76" Type="http://schemas.openxmlformats.org/officeDocument/2006/relationships/tags" Target="../tags/tag912.xml"/><Relationship Id="rId7" Type="http://schemas.openxmlformats.org/officeDocument/2006/relationships/tags" Target="../tags/tag843.xml"/><Relationship Id="rId71" Type="http://schemas.openxmlformats.org/officeDocument/2006/relationships/tags" Target="../tags/tag907.xml"/><Relationship Id="rId92" Type="http://schemas.openxmlformats.org/officeDocument/2006/relationships/image" Target="../media/image1.emf"/><Relationship Id="rId2" Type="http://schemas.openxmlformats.org/officeDocument/2006/relationships/tags" Target="../tags/tag838.xml"/><Relationship Id="rId29" Type="http://schemas.openxmlformats.org/officeDocument/2006/relationships/tags" Target="../tags/tag865.xml"/><Relationship Id="rId24" Type="http://schemas.openxmlformats.org/officeDocument/2006/relationships/tags" Target="../tags/tag860.xml"/><Relationship Id="rId40" Type="http://schemas.openxmlformats.org/officeDocument/2006/relationships/tags" Target="../tags/tag876.xml"/><Relationship Id="rId45" Type="http://schemas.openxmlformats.org/officeDocument/2006/relationships/tags" Target="../tags/tag881.xml"/><Relationship Id="rId66" Type="http://schemas.openxmlformats.org/officeDocument/2006/relationships/tags" Target="../tags/tag902.xml"/><Relationship Id="rId87" Type="http://schemas.openxmlformats.org/officeDocument/2006/relationships/tags" Target="../tags/tag923.xml"/><Relationship Id="rId61" Type="http://schemas.openxmlformats.org/officeDocument/2006/relationships/tags" Target="../tags/tag897.xml"/><Relationship Id="rId82" Type="http://schemas.openxmlformats.org/officeDocument/2006/relationships/tags" Target="../tags/tag918.xml"/><Relationship Id="rId19" Type="http://schemas.openxmlformats.org/officeDocument/2006/relationships/tags" Target="../tags/tag855.xml"/><Relationship Id="rId14" Type="http://schemas.openxmlformats.org/officeDocument/2006/relationships/tags" Target="../tags/tag850.xml"/><Relationship Id="rId30" Type="http://schemas.openxmlformats.org/officeDocument/2006/relationships/tags" Target="../tags/tag866.xml"/><Relationship Id="rId35" Type="http://schemas.openxmlformats.org/officeDocument/2006/relationships/tags" Target="../tags/tag871.xml"/><Relationship Id="rId56" Type="http://schemas.openxmlformats.org/officeDocument/2006/relationships/tags" Target="../tags/tag892.xml"/><Relationship Id="rId77" Type="http://schemas.openxmlformats.org/officeDocument/2006/relationships/tags" Target="../tags/tag913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26" Type="http://schemas.openxmlformats.org/officeDocument/2006/relationships/tags" Target="../tags/tag43.xml"/><Relationship Id="rId39" Type="http://schemas.openxmlformats.org/officeDocument/2006/relationships/tags" Target="../tags/tag56.xml"/><Relationship Id="rId21" Type="http://schemas.openxmlformats.org/officeDocument/2006/relationships/tags" Target="../tags/tag38.xml"/><Relationship Id="rId34" Type="http://schemas.openxmlformats.org/officeDocument/2006/relationships/tags" Target="../tags/tag51.xml"/><Relationship Id="rId42" Type="http://schemas.openxmlformats.org/officeDocument/2006/relationships/tags" Target="../tags/tag59.xml"/><Relationship Id="rId47" Type="http://schemas.openxmlformats.org/officeDocument/2006/relationships/tags" Target="../tags/tag64.xml"/><Relationship Id="rId50" Type="http://schemas.openxmlformats.org/officeDocument/2006/relationships/slideLayout" Target="../slideLayouts/slideLayout7.xml"/><Relationship Id="rId55" Type="http://schemas.openxmlformats.org/officeDocument/2006/relationships/chart" Target="../charts/chart2.xml"/><Relationship Id="rId7" Type="http://schemas.openxmlformats.org/officeDocument/2006/relationships/tags" Target="../tags/tag24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9" Type="http://schemas.openxmlformats.org/officeDocument/2006/relationships/tags" Target="../tags/tag46.xml"/><Relationship Id="rId11" Type="http://schemas.openxmlformats.org/officeDocument/2006/relationships/tags" Target="../tags/tag28.xml"/><Relationship Id="rId24" Type="http://schemas.openxmlformats.org/officeDocument/2006/relationships/tags" Target="../tags/tag41.xml"/><Relationship Id="rId32" Type="http://schemas.openxmlformats.org/officeDocument/2006/relationships/tags" Target="../tags/tag49.xml"/><Relationship Id="rId37" Type="http://schemas.openxmlformats.org/officeDocument/2006/relationships/tags" Target="../tags/tag54.xml"/><Relationship Id="rId40" Type="http://schemas.openxmlformats.org/officeDocument/2006/relationships/tags" Target="../tags/tag57.xml"/><Relationship Id="rId45" Type="http://schemas.openxmlformats.org/officeDocument/2006/relationships/tags" Target="../tags/tag62.xml"/><Relationship Id="rId53" Type="http://schemas.openxmlformats.org/officeDocument/2006/relationships/image" Target="../media/image14.png"/><Relationship Id="rId58" Type="http://schemas.openxmlformats.org/officeDocument/2006/relationships/image" Target="../media/image16.png"/><Relationship Id="rId5" Type="http://schemas.openxmlformats.org/officeDocument/2006/relationships/tags" Target="../tags/tag22.xml"/><Relationship Id="rId19" Type="http://schemas.openxmlformats.org/officeDocument/2006/relationships/tags" Target="../tags/tag36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Relationship Id="rId27" Type="http://schemas.openxmlformats.org/officeDocument/2006/relationships/tags" Target="../tags/tag44.xml"/><Relationship Id="rId30" Type="http://schemas.openxmlformats.org/officeDocument/2006/relationships/tags" Target="../tags/tag47.xml"/><Relationship Id="rId35" Type="http://schemas.openxmlformats.org/officeDocument/2006/relationships/tags" Target="../tags/tag52.xml"/><Relationship Id="rId43" Type="http://schemas.openxmlformats.org/officeDocument/2006/relationships/tags" Target="../tags/tag60.xml"/><Relationship Id="rId48" Type="http://schemas.openxmlformats.org/officeDocument/2006/relationships/tags" Target="../tags/tag65.xml"/><Relationship Id="rId56" Type="http://schemas.openxmlformats.org/officeDocument/2006/relationships/chart" Target="../charts/chart3.xml"/><Relationship Id="rId8" Type="http://schemas.openxmlformats.org/officeDocument/2006/relationships/tags" Target="../tags/tag25.xml"/><Relationship Id="rId51" Type="http://schemas.openxmlformats.org/officeDocument/2006/relationships/oleObject" Target="../embeddings/oleObject16.bin"/><Relationship Id="rId3" Type="http://schemas.openxmlformats.org/officeDocument/2006/relationships/tags" Target="../tags/tag20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tags" Target="../tags/tag42.xml"/><Relationship Id="rId33" Type="http://schemas.openxmlformats.org/officeDocument/2006/relationships/tags" Target="../tags/tag50.xml"/><Relationship Id="rId38" Type="http://schemas.openxmlformats.org/officeDocument/2006/relationships/tags" Target="../tags/tag55.xml"/><Relationship Id="rId46" Type="http://schemas.openxmlformats.org/officeDocument/2006/relationships/tags" Target="../tags/tag63.xml"/><Relationship Id="rId59" Type="http://schemas.openxmlformats.org/officeDocument/2006/relationships/chart" Target="../charts/chart4.xml"/><Relationship Id="rId20" Type="http://schemas.openxmlformats.org/officeDocument/2006/relationships/tags" Target="../tags/tag37.xml"/><Relationship Id="rId41" Type="http://schemas.openxmlformats.org/officeDocument/2006/relationships/tags" Target="../tags/tag58.xml"/><Relationship Id="rId54" Type="http://schemas.openxmlformats.org/officeDocument/2006/relationships/chart" Target="../charts/chart1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5" Type="http://schemas.openxmlformats.org/officeDocument/2006/relationships/tags" Target="../tags/tag32.xml"/><Relationship Id="rId23" Type="http://schemas.openxmlformats.org/officeDocument/2006/relationships/tags" Target="../tags/tag40.xml"/><Relationship Id="rId28" Type="http://schemas.openxmlformats.org/officeDocument/2006/relationships/tags" Target="../tags/tag45.xml"/><Relationship Id="rId36" Type="http://schemas.openxmlformats.org/officeDocument/2006/relationships/tags" Target="../tags/tag53.xml"/><Relationship Id="rId49" Type="http://schemas.openxmlformats.org/officeDocument/2006/relationships/tags" Target="../tags/tag66.xml"/><Relationship Id="rId57" Type="http://schemas.openxmlformats.org/officeDocument/2006/relationships/image" Target="../media/image15.png"/><Relationship Id="rId10" Type="http://schemas.openxmlformats.org/officeDocument/2006/relationships/tags" Target="../tags/tag27.xml"/><Relationship Id="rId31" Type="http://schemas.openxmlformats.org/officeDocument/2006/relationships/tags" Target="../tags/tag48.xml"/><Relationship Id="rId44" Type="http://schemas.openxmlformats.org/officeDocument/2006/relationships/tags" Target="../tags/tag61.xml"/><Relationship Id="rId52" Type="http://schemas.openxmlformats.org/officeDocument/2006/relationships/image" Target="../media/image2.emf"/><Relationship Id="rId60" Type="http://schemas.openxmlformats.org/officeDocument/2006/relationships/chart" Target="../charts/char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933.xml"/><Relationship Id="rId13" Type="http://schemas.openxmlformats.org/officeDocument/2006/relationships/tags" Target="../tags/tag938.xml"/><Relationship Id="rId18" Type="http://schemas.openxmlformats.org/officeDocument/2006/relationships/tags" Target="../tags/tag943.xml"/><Relationship Id="rId26" Type="http://schemas.openxmlformats.org/officeDocument/2006/relationships/oleObject" Target="../embeddings/oleObject32.bin"/><Relationship Id="rId3" Type="http://schemas.openxmlformats.org/officeDocument/2006/relationships/tags" Target="../tags/tag928.xml"/><Relationship Id="rId21" Type="http://schemas.openxmlformats.org/officeDocument/2006/relationships/tags" Target="../tags/tag946.xml"/><Relationship Id="rId7" Type="http://schemas.openxmlformats.org/officeDocument/2006/relationships/tags" Target="../tags/tag932.xml"/><Relationship Id="rId12" Type="http://schemas.openxmlformats.org/officeDocument/2006/relationships/tags" Target="../tags/tag937.xml"/><Relationship Id="rId17" Type="http://schemas.openxmlformats.org/officeDocument/2006/relationships/tags" Target="../tags/tag942.xml"/><Relationship Id="rId25" Type="http://schemas.openxmlformats.org/officeDocument/2006/relationships/slideLayout" Target="../slideLayouts/slideLayout3.xml"/><Relationship Id="rId2" Type="http://schemas.openxmlformats.org/officeDocument/2006/relationships/tags" Target="../tags/tag927.xml"/><Relationship Id="rId16" Type="http://schemas.openxmlformats.org/officeDocument/2006/relationships/tags" Target="../tags/tag941.xml"/><Relationship Id="rId20" Type="http://schemas.openxmlformats.org/officeDocument/2006/relationships/tags" Target="../tags/tag945.xml"/><Relationship Id="rId29" Type="http://schemas.openxmlformats.org/officeDocument/2006/relationships/chart" Target="../charts/chart21.xml"/><Relationship Id="rId1" Type="http://schemas.openxmlformats.org/officeDocument/2006/relationships/tags" Target="../tags/tag926.xml"/><Relationship Id="rId6" Type="http://schemas.openxmlformats.org/officeDocument/2006/relationships/tags" Target="../tags/tag931.xml"/><Relationship Id="rId11" Type="http://schemas.openxmlformats.org/officeDocument/2006/relationships/tags" Target="../tags/tag936.xml"/><Relationship Id="rId24" Type="http://schemas.openxmlformats.org/officeDocument/2006/relationships/tags" Target="../tags/tag949.xml"/><Relationship Id="rId5" Type="http://schemas.openxmlformats.org/officeDocument/2006/relationships/tags" Target="../tags/tag930.xml"/><Relationship Id="rId15" Type="http://schemas.openxmlformats.org/officeDocument/2006/relationships/tags" Target="../tags/tag940.xml"/><Relationship Id="rId23" Type="http://schemas.openxmlformats.org/officeDocument/2006/relationships/tags" Target="../tags/tag948.xml"/><Relationship Id="rId28" Type="http://schemas.openxmlformats.org/officeDocument/2006/relationships/chart" Target="../charts/chart20.xml"/><Relationship Id="rId10" Type="http://schemas.openxmlformats.org/officeDocument/2006/relationships/tags" Target="../tags/tag935.xml"/><Relationship Id="rId19" Type="http://schemas.openxmlformats.org/officeDocument/2006/relationships/tags" Target="../tags/tag944.xml"/><Relationship Id="rId4" Type="http://schemas.openxmlformats.org/officeDocument/2006/relationships/tags" Target="../tags/tag929.xml"/><Relationship Id="rId9" Type="http://schemas.openxmlformats.org/officeDocument/2006/relationships/tags" Target="../tags/tag934.xml"/><Relationship Id="rId14" Type="http://schemas.openxmlformats.org/officeDocument/2006/relationships/tags" Target="../tags/tag939.xml"/><Relationship Id="rId22" Type="http://schemas.openxmlformats.org/officeDocument/2006/relationships/tags" Target="../tags/tag947.xml"/><Relationship Id="rId27" Type="http://schemas.openxmlformats.org/officeDocument/2006/relationships/image" Target="../media/image2.emf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tags" Target="../tags/tag962.xml"/><Relationship Id="rId18" Type="http://schemas.openxmlformats.org/officeDocument/2006/relationships/tags" Target="../tags/tag967.xml"/><Relationship Id="rId26" Type="http://schemas.openxmlformats.org/officeDocument/2006/relationships/tags" Target="../tags/tag975.xml"/><Relationship Id="rId39" Type="http://schemas.openxmlformats.org/officeDocument/2006/relationships/tags" Target="../tags/tag988.xml"/><Relationship Id="rId21" Type="http://schemas.openxmlformats.org/officeDocument/2006/relationships/tags" Target="../tags/tag970.xml"/><Relationship Id="rId34" Type="http://schemas.openxmlformats.org/officeDocument/2006/relationships/tags" Target="../tags/tag983.xml"/><Relationship Id="rId42" Type="http://schemas.openxmlformats.org/officeDocument/2006/relationships/tags" Target="../tags/tag991.xml"/><Relationship Id="rId47" Type="http://schemas.openxmlformats.org/officeDocument/2006/relationships/tags" Target="../tags/tag996.xml"/><Relationship Id="rId50" Type="http://schemas.openxmlformats.org/officeDocument/2006/relationships/tags" Target="../tags/tag999.xml"/><Relationship Id="rId55" Type="http://schemas.openxmlformats.org/officeDocument/2006/relationships/oleObject" Target="../embeddings/oleObject33.bin"/><Relationship Id="rId7" Type="http://schemas.openxmlformats.org/officeDocument/2006/relationships/tags" Target="../tags/tag956.xml"/><Relationship Id="rId2" Type="http://schemas.openxmlformats.org/officeDocument/2006/relationships/tags" Target="../tags/tag951.xml"/><Relationship Id="rId16" Type="http://schemas.openxmlformats.org/officeDocument/2006/relationships/tags" Target="../tags/tag965.xml"/><Relationship Id="rId29" Type="http://schemas.openxmlformats.org/officeDocument/2006/relationships/tags" Target="../tags/tag978.xml"/><Relationship Id="rId11" Type="http://schemas.openxmlformats.org/officeDocument/2006/relationships/tags" Target="../tags/tag960.xml"/><Relationship Id="rId24" Type="http://schemas.openxmlformats.org/officeDocument/2006/relationships/tags" Target="../tags/tag973.xml"/><Relationship Id="rId32" Type="http://schemas.openxmlformats.org/officeDocument/2006/relationships/tags" Target="../tags/tag981.xml"/><Relationship Id="rId37" Type="http://schemas.openxmlformats.org/officeDocument/2006/relationships/tags" Target="../tags/tag986.xml"/><Relationship Id="rId40" Type="http://schemas.openxmlformats.org/officeDocument/2006/relationships/tags" Target="../tags/tag989.xml"/><Relationship Id="rId45" Type="http://schemas.openxmlformats.org/officeDocument/2006/relationships/tags" Target="../tags/tag994.xml"/><Relationship Id="rId53" Type="http://schemas.openxmlformats.org/officeDocument/2006/relationships/tags" Target="../tags/tag1002.xml"/><Relationship Id="rId5" Type="http://schemas.openxmlformats.org/officeDocument/2006/relationships/tags" Target="../tags/tag954.xml"/><Relationship Id="rId19" Type="http://schemas.openxmlformats.org/officeDocument/2006/relationships/tags" Target="../tags/tag968.xml"/><Relationship Id="rId4" Type="http://schemas.openxmlformats.org/officeDocument/2006/relationships/tags" Target="../tags/tag953.xml"/><Relationship Id="rId9" Type="http://schemas.openxmlformats.org/officeDocument/2006/relationships/tags" Target="../tags/tag958.xml"/><Relationship Id="rId14" Type="http://schemas.openxmlformats.org/officeDocument/2006/relationships/tags" Target="../tags/tag963.xml"/><Relationship Id="rId22" Type="http://schemas.openxmlformats.org/officeDocument/2006/relationships/tags" Target="../tags/tag971.xml"/><Relationship Id="rId27" Type="http://schemas.openxmlformats.org/officeDocument/2006/relationships/tags" Target="../tags/tag976.xml"/><Relationship Id="rId30" Type="http://schemas.openxmlformats.org/officeDocument/2006/relationships/tags" Target="../tags/tag979.xml"/><Relationship Id="rId35" Type="http://schemas.openxmlformats.org/officeDocument/2006/relationships/tags" Target="../tags/tag984.xml"/><Relationship Id="rId43" Type="http://schemas.openxmlformats.org/officeDocument/2006/relationships/tags" Target="../tags/tag992.xml"/><Relationship Id="rId48" Type="http://schemas.openxmlformats.org/officeDocument/2006/relationships/tags" Target="../tags/tag997.xml"/><Relationship Id="rId56" Type="http://schemas.openxmlformats.org/officeDocument/2006/relationships/image" Target="../media/image1.emf"/><Relationship Id="rId8" Type="http://schemas.openxmlformats.org/officeDocument/2006/relationships/tags" Target="../tags/tag957.xml"/><Relationship Id="rId51" Type="http://schemas.openxmlformats.org/officeDocument/2006/relationships/tags" Target="../tags/tag1000.xml"/><Relationship Id="rId3" Type="http://schemas.openxmlformats.org/officeDocument/2006/relationships/tags" Target="../tags/tag952.xml"/><Relationship Id="rId12" Type="http://schemas.openxmlformats.org/officeDocument/2006/relationships/tags" Target="../tags/tag961.xml"/><Relationship Id="rId17" Type="http://schemas.openxmlformats.org/officeDocument/2006/relationships/tags" Target="../tags/tag966.xml"/><Relationship Id="rId25" Type="http://schemas.openxmlformats.org/officeDocument/2006/relationships/tags" Target="../tags/tag974.xml"/><Relationship Id="rId33" Type="http://schemas.openxmlformats.org/officeDocument/2006/relationships/tags" Target="../tags/tag982.xml"/><Relationship Id="rId38" Type="http://schemas.openxmlformats.org/officeDocument/2006/relationships/tags" Target="../tags/tag987.xml"/><Relationship Id="rId46" Type="http://schemas.openxmlformats.org/officeDocument/2006/relationships/tags" Target="../tags/tag995.xml"/><Relationship Id="rId20" Type="http://schemas.openxmlformats.org/officeDocument/2006/relationships/tags" Target="../tags/tag969.xml"/><Relationship Id="rId41" Type="http://schemas.openxmlformats.org/officeDocument/2006/relationships/tags" Target="../tags/tag990.xml"/><Relationship Id="rId54" Type="http://schemas.openxmlformats.org/officeDocument/2006/relationships/slideLayout" Target="../slideLayouts/slideLayout3.xml"/><Relationship Id="rId1" Type="http://schemas.openxmlformats.org/officeDocument/2006/relationships/tags" Target="../tags/tag950.xml"/><Relationship Id="rId6" Type="http://schemas.openxmlformats.org/officeDocument/2006/relationships/tags" Target="../tags/tag955.xml"/><Relationship Id="rId15" Type="http://schemas.openxmlformats.org/officeDocument/2006/relationships/tags" Target="../tags/tag964.xml"/><Relationship Id="rId23" Type="http://schemas.openxmlformats.org/officeDocument/2006/relationships/tags" Target="../tags/tag972.xml"/><Relationship Id="rId28" Type="http://schemas.openxmlformats.org/officeDocument/2006/relationships/tags" Target="../tags/tag977.xml"/><Relationship Id="rId36" Type="http://schemas.openxmlformats.org/officeDocument/2006/relationships/tags" Target="../tags/tag985.xml"/><Relationship Id="rId49" Type="http://schemas.openxmlformats.org/officeDocument/2006/relationships/tags" Target="../tags/tag998.xml"/><Relationship Id="rId57" Type="http://schemas.openxmlformats.org/officeDocument/2006/relationships/chart" Target="../charts/chart22.xml"/><Relationship Id="rId10" Type="http://schemas.openxmlformats.org/officeDocument/2006/relationships/tags" Target="../tags/tag959.xml"/><Relationship Id="rId31" Type="http://schemas.openxmlformats.org/officeDocument/2006/relationships/tags" Target="../tags/tag980.xml"/><Relationship Id="rId44" Type="http://schemas.openxmlformats.org/officeDocument/2006/relationships/tags" Target="../tags/tag993.xml"/><Relationship Id="rId52" Type="http://schemas.openxmlformats.org/officeDocument/2006/relationships/tags" Target="../tags/tag1001.xml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1015.xml"/><Relationship Id="rId18" Type="http://schemas.openxmlformats.org/officeDocument/2006/relationships/tags" Target="../tags/tag1020.xml"/><Relationship Id="rId26" Type="http://schemas.openxmlformats.org/officeDocument/2006/relationships/tags" Target="../tags/tag1028.xml"/><Relationship Id="rId39" Type="http://schemas.openxmlformats.org/officeDocument/2006/relationships/tags" Target="../tags/tag1041.xml"/><Relationship Id="rId21" Type="http://schemas.openxmlformats.org/officeDocument/2006/relationships/tags" Target="../tags/tag1023.xml"/><Relationship Id="rId34" Type="http://schemas.openxmlformats.org/officeDocument/2006/relationships/tags" Target="../tags/tag1036.xml"/><Relationship Id="rId42" Type="http://schemas.openxmlformats.org/officeDocument/2006/relationships/tags" Target="../tags/tag1044.xml"/><Relationship Id="rId47" Type="http://schemas.openxmlformats.org/officeDocument/2006/relationships/tags" Target="../tags/tag1049.xml"/><Relationship Id="rId50" Type="http://schemas.openxmlformats.org/officeDocument/2006/relationships/oleObject" Target="../embeddings/oleObject34.bin"/><Relationship Id="rId7" Type="http://schemas.openxmlformats.org/officeDocument/2006/relationships/tags" Target="../tags/tag1009.xml"/><Relationship Id="rId2" Type="http://schemas.openxmlformats.org/officeDocument/2006/relationships/tags" Target="../tags/tag1004.xml"/><Relationship Id="rId16" Type="http://schemas.openxmlformats.org/officeDocument/2006/relationships/tags" Target="../tags/tag1018.xml"/><Relationship Id="rId29" Type="http://schemas.openxmlformats.org/officeDocument/2006/relationships/tags" Target="../tags/tag1031.xml"/><Relationship Id="rId11" Type="http://schemas.openxmlformats.org/officeDocument/2006/relationships/tags" Target="../tags/tag1013.xml"/><Relationship Id="rId24" Type="http://schemas.openxmlformats.org/officeDocument/2006/relationships/tags" Target="../tags/tag1026.xml"/><Relationship Id="rId32" Type="http://schemas.openxmlformats.org/officeDocument/2006/relationships/tags" Target="../tags/tag1034.xml"/><Relationship Id="rId37" Type="http://schemas.openxmlformats.org/officeDocument/2006/relationships/tags" Target="../tags/tag1039.xml"/><Relationship Id="rId40" Type="http://schemas.openxmlformats.org/officeDocument/2006/relationships/tags" Target="../tags/tag1042.xml"/><Relationship Id="rId45" Type="http://schemas.openxmlformats.org/officeDocument/2006/relationships/tags" Target="../tags/tag1047.xml"/><Relationship Id="rId5" Type="http://schemas.openxmlformats.org/officeDocument/2006/relationships/tags" Target="../tags/tag1007.xml"/><Relationship Id="rId15" Type="http://schemas.openxmlformats.org/officeDocument/2006/relationships/tags" Target="../tags/tag1017.xml"/><Relationship Id="rId23" Type="http://schemas.openxmlformats.org/officeDocument/2006/relationships/tags" Target="../tags/tag1025.xml"/><Relationship Id="rId28" Type="http://schemas.openxmlformats.org/officeDocument/2006/relationships/tags" Target="../tags/tag1030.xml"/><Relationship Id="rId36" Type="http://schemas.openxmlformats.org/officeDocument/2006/relationships/tags" Target="../tags/tag1038.xml"/><Relationship Id="rId49" Type="http://schemas.openxmlformats.org/officeDocument/2006/relationships/slideLayout" Target="../slideLayouts/slideLayout3.xml"/><Relationship Id="rId10" Type="http://schemas.openxmlformats.org/officeDocument/2006/relationships/tags" Target="../tags/tag1012.xml"/><Relationship Id="rId19" Type="http://schemas.openxmlformats.org/officeDocument/2006/relationships/tags" Target="../tags/tag1021.xml"/><Relationship Id="rId31" Type="http://schemas.openxmlformats.org/officeDocument/2006/relationships/tags" Target="../tags/tag1033.xml"/><Relationship Id="rId44" Type="http://schemas.openxmlformats.org/officeDocument/2006/relationships/tags" Target="../tags/tag1046.xml"/><Relationship Id="rId52" Type="http://schemas.openxmlformats.org/officeDocument/2006/relationships/chart" Target="../charts/chart23.xml"/><Relationship Id="rId4" Type="http://schemas.openxmlformats.org/officeDocument/2006/relationships/tags" Target="../tags/tag1006.xml"/><Relationship Id="rId9" Type="http://schemas.openxmlformats.org/officeDocument/2006/relationships/tags" Target="../tags/tag1011.xml"/><Relationship Id="rId14" Type="http://schemas.openxmlformats.org/officeDocument/2006/relationships/tags" Target="../tags/tag1016.xml"/><Relationship Id="rId22" Type="http://schemas.openxmlformats.org/officeDocument/2006/relationships/tags" Target="../tags/tag1024.xml"/><Relationship Id="rId27" Type="http://schemas.openxmlformats.org/officeDocument/2006/relationships/tags" Target="../tags/tag1029.xml"/><Relationship Id="rId30" Type="http://schemas.openxmlformats.org/officeDocument/2006/relationships/tags" Target="../tags/tag1032.xml"/><Relationship Id="rId35" Type="http://schemas.openxmlformats.org/officeDocument/2006/relationships/tags" Target="../tags/tag1037.xml"/><Relationship Id="rId43" Type="http://schemas.openxmlformats.org/officeDocument/2006/relationships/tags" Target="../tags/tag1045.xml"/><Relationship Id="rId48" Type="http://schemas.openxmlformats.org/officeDocument/2006/relationships/tags" Target="../tags/tag1050.xml"/><Relationship Id="rId8" Type="http://schemas.openxmlformats.org/officeDocument/2006/relationships/tags" Target="../tags/tag1010.xml"/><Relationship Id="rId51" Type="http://schemas.openxmlformats.org/officeDocument/2006/relationships/image" Target="../media/image1.emf"/><Relationship Id="rId3" Type="http://schemas.openxmlformats.org/officeDocument/2006/relationships/tags" Target="../tags/tag1005.xml"/><Relationship Id="rId12" Type="http://schemas.openxmlformats.org/officeDocument/2006/relationships/tags" Target="../tags/tag1014.xml"/><Relationship Id="rId17" Type="http://schemas.openxmlformats.org/officeDocument/2006/relationships/tags" Target="../tags/tag1019.xml"/><Relationship Id="rId25" Type="http://schemas.openxmlformats.org/officeDocument/2006/relationships/tags" Target="../tags/tag1027.xml"/><Relationship Id="rId33" Type="http://schemas.openxmlformats.org/officeDocument/2006/relationships/tags" Target="../tags/tag1035.xml"/><Relationship Id="rId38" Type="http://schemas.openxmlformats.org/officeDocument/2006/relationships/tags" Target="../tags/tag1040.xml"/><Relationship Id="rId46" Type="http://schemas.openxmlformats.org/officeDocument/2006/relationships/tags" Target="../tags/tag1048.xml"/><Relationship Id="rId20" Type="http://schemas.openxmlformats.org/officeDocument/2006/relationships/tags" Target="../tags/tag1022.xml"/><Relationship Id="rId41" Type="http://schemas.openxmlformats.org/officeDocument/2006/relationships/tags" Target="../tags/tag1043.xml"/><Relationship Id="rId1" Type="http://schemas.openxmlformats.org/officeDocument/2006/relationships/tags" Target="../tags/tag1003.xml"/><Relationship Id="rId6" Type="http://schemas.openxmlformats.org/officeDocument/2006/relationships/tags" Target="../tags/tag1008.xml"/></Relationships>
</file>

<file path=ppt/slides/_rels/slide23.xml.rels><?xml version="1.0" encoding="UTF-8" standalone="yes"?>
<Relationships xmlns="http://schemas.openxmlformats.org/package/2006/relationships"><Relationship Id="rId26" Type="http://schemas.openxmlformats.org/officeDocument/2006/relationships/tags" Target="../tags/tag1076.xml"/><Relationship Id="rId21" Type="http://schemas.openxmlformats.org/officeDocument/2006/relationships/tags" Target="../tags/tag1071.xml"/><Relationship Id="rId42" Type="http://schemas.openxmlformats.org/officeDocument/2006/relationships/tags" Target="../tags/tag1092.xml"/><Relationship Id="rId47" Type="http://schemas.openxmlformats.org/officeDocument/2006/relationships/tags" Target="../tags/tag1097.xml"/><Relationship Id="rId63" Type="http://schemas.openxmlformats.org/officeDocument/2006/relationships/tags" Target="../tags/tag1113.xml"/><Relationship Id="rId68" Type="http://schemas.openxmlformats.org/officeDocument/2006/relationships/tags" Target="../tags/tag1118.xml"/><Relationship Id="rId7" Type="http://schemas.openxmlformats.org/officeDocument/2006/relationships/tags" Target="../tags/tag1057.xml"/><Relationship Id="rId71" Type="http://schemas.openxmlformats.org/officeDocument/2006/relationships/image" Target="../media/image1.emf"/><Relationship Id="rId2" Type="http://schemas.openxmlformats.org/officeDocument/2006/relationships/tags" Target="../tags/tag1052.xml"/><Relationship Id="rId16" Type="http://schemas.openxmlformats.org/officeDocument/2006/relationships/tags" Target="../tags/tag1066.xml"/><Relationship Id="rId29" Type="http://schemas.openxmlformats.org/officeDocument/2006/relationships/tags" Target="../tags/tag1079.xml"/><Relationship Id="rId11" Type="http://schemas.openxmlformats.org/officeDocument/2006/relationships/tags" Target="../tags/tag1061.xml"/><Relationship Id="rId24" Type="http://schemas.openxmlformats.org/officeDocument/2006/relationships/tags" Target="../tags/tag1074.xml"/><Relationship Id="rId32" Type="http://schemas.openxmlformats.org/officeDocument/2006/relationships/tags" Target="../tags/tag1082.xml"/><Relationship Id="rId37" Type="http://schemas.openxmlformats.org/officeDocument/2006/relationships/tags" Target="../tags/tag1087.xml"/><Relationship Id="rId40" Type="http://schemas.openxmlformats.org/officeDocument/2006/relationships/tags" Target="../tags/tag1090.xml"/><Relationship Id="rId45" Type="http://schemas.openxmlformats.org/officeDocument/2006/relationships/tags" Target="../tags/tag1095.xml"/><Relationship Id="rId53" Type="http://schemas.openxmlformats.org/officeDocument/2006/relationships/tags" Target="../tags/tag1103.xml"/><Relationship Id="rId58" Type="http://schemas.openxmlformats.org/officeDocument/2006/relationships/tags" Target="../tags/tag1108.xml"/><Relationship Id="rId66" Type="http://schemas.openxmlformats.org/officeDocument/2006/relationships/tags" Target="../tags/tag1116.xml"/><Relationship Id="rId5" Type="http://schemas.openxmlformats.org/officeDocument/2006/relationships/tags" Target="../tags/tag1055.xml"/><Relationship Id="rId61" Type="http://schemas.openxmlformats.org/officeDocument/2006/relationships/tags" Target="../tags/tag1111.xml"/><Relationship Id="rId19" Type="http://schemas.openxmlformats.org/officeDocument/2006/relationships/tags" Target="../tags/tag1069.xml"/><Relationship Id="rId14" Type="http://schemas.openxmlformats.org/officeDocument/2006/relationships/tags" Target="../tags/tag1064.xml"/><Relationship Id="rId22" Type="http://schemas.openxmlformats.org/officeDocument/2006/relationships/tags" Target="../tags/tag1072.xml"/><Relationship Id="rId27" Type="http://schemas.openxmlformats.org/officeDocument/2006/relationships/tags" Target="../tags/tag1077.xml"/><Relationship Id="rId30" Type="http://schemas.openxmlformats.org/officeDocument/2006/relationships/tags" Target="../tags/tag1080.xml"/><Relationship Id="rId35" Type="http://schemas.openxmlformats.org/officeDocument/2006/relationships/tags" Target="../tags/tag1085.xml"/><Relationship Id="rId43" Type="http://schemas.openxmlformats.org/officeDocument/2006/relationships/tags" Target="../tags/tag1093.xml"/><Relationship Id="rId48" Type="http://schemas.openxmlformats.org/officeDocument/2006/relationships/tags" Target="../tags/tag1098.xml"/><Relationship Id="rId56" Type="http://schemas.openxmlformats.org/officeDocument/2006/relationships/tags" Target="../tags/tag1106.xml"/><Relationship Id="rId64" Type="http://schemas.openxmlformats.org/officeDocument/2006/relationships/tags" Target="../tags/tag1114.xml"/><Relationship Id="rId69" Type="http://schemas.openxmlformats.org/officeDocument/2006/relationships/slideLayout" Target="../slideLayouts/slideLayout3.xml"/><Relationship Id="rId8" Type="http://schemas.openxmlformats.org/officeDocument/2006/relationships/tags" Target="../tags/tag1058.xml"/><Relationship Id="rId51" Type="http://schemas.openxmlformats.org/officeDocument/2006/relationships/tags" Target="../tags/tag1101.xml"/><Relationship Id="rId72" Type="http://schemas.openxmlformats.org/officeDocument/2006/relationships/chart" Target="../charts/chart24.xml"/><Relationship Id="rId3" Type="http://schemas.openxmlformats.org/officeDocument/2006/relationships/tags" Target="../tags/tag1053.xml"/><Relationship Id="rId12" Type="http://schemas.openxmlformats.org/officeDocument/2006/relationships/tags" Target="../tags/tag1062.xml"/><Relationship Id="rId17" Type="http://schemas.openxmlformats.org/officeDocument/2006/relationships/tags" Target="../tags/tag1067.xml"/><Relationship Id="rId25" Type="http://schemas.openxmlformats.org/officeDocument/2006/relationships/tags" Target="../tags/tag1075.xml"/><Relationship Id="rId33" Type="http://schemas.openxmlformats.org/officeDocument/2006/relationships/tags" Target="../tags/tag1083.xml"/><Relationship Id="rId38" Type="http://schemas.openxmlformats.org/officeDocument/2006/relationships/tags" Target="../tags/tag1088.xml"/><Relationship Id="rId46" Type="http://schemas.openxmlformats.org/officeDocument/2006/relationships/tags" Target="../tags/tag1096.xml"/><Relationship Id="rId59" Type="http://schemas.openxmlformats.org/officeDocument/2006/relationships/tags" Target="../tags/tag1109.xml"/><Relationship Id="rId67" Type="http://schemas.openxmlformats.org/officeDocument/2006/relationships/tags" Target="../tags/tag1117.xml"/><Relationship Id="rId20" Type="http://schemas.openxmlformats.org/officeDocument/2006/relationships/tags" Target="../tags/tag1070.xml"/><Relationship Id="rId41" Type="http://schemas.openxmlformats.org/officeDocument/2006/relationships/tags" Target="../tags/tag1091.xml"/><Relationship Id="rId54" Type="http://schemas.openxmlformats.org/officeDocument/2006/relationships/tags" Target="../tags/tag1104.xml"/><Relationship Id="rId62" Type="http://schemas.openxmlformats.org/officeDocument/2006/relationships/tags" Target="../tags/tag1112.xml"/><Relationship Id="rId70" Type="http://schemas.openxmlformats.org/officeDocument/2006/relationships/oleObject" Target="../embeddings/oleObject35.bin"/><Relationship Id="rId1" Type="http://schemas.openxmlformats.org/officeDocument/2006/relationships/tags" Target="../tags/tag1051.xml"/><Relationship Id="rId6" Type="http://schemas.openxmlformats.org/officeDocument/2006/relationships/tags" Target="../tags/tag1056.xml"/><Relationship Id="rId15" Type="http://schemas.openxmlformats.org/officeDocument/2006/relationships/tags" Target="../tags/tag1065.xml"/><Relationship Id="rId23" Type="http://schemas.openxmlformats.org/officeDocument/2006/relationships/tags" Target="../tags/tag1073.xml"/><Relationship Id="rId28" Type="http://schemas.openxmlformats.org/officeDocument/2006/relationships/tags" Target="../tags/tag1078.xml"/><Relationship Id="rId36" Type="http://schemas.openxmlformats.org/officeDocument/2006/relationships/tags" Target="../tags/tag1086.xml"/><Relationship Id="rId49" Type="http://schemas.openxmlformats.org/officeDocument/2006/relationships/tags" Target="../tags/tag1099.xml"/><Relationship Id="rId57" Type="http://schemas.openxmlformats.org/officeDocument/2006/relationships/tags" Target="../tags/tag1107.xml"/><Relationship Id="rId10" Type="http://schemas.openxmlformats.org/officeDocument/2006/relationships/tags" Target="../tags/tag1060.xml"/><Relationship Id="rId31" Type="http://schemas.openxmlformats.org/officeDocument/2006/relationships/tags" Target="../tags/tag1081.xml"/><Relationship Id="rId44" Type="http://schemas.openxmlformats.org/officeDocument/2006/relationships/tags" Target="../tags/tag1094.xml"/><Relationship Id="rId52" Type="http://schemas.openxmlformats.org/officeDocument/2006/relationships/tags" Target="../tags/tag1102.xml"/><Relationship Id="rId60" Type="http://schemas.openxmlformats.org/officeDocument/2006/relationships/tags" Target="../tags/tag1110.xml"/><Relationship Id="rId65" Type="http://schemas.openxmlformats.org/officeDocument/2006/relationships/tags" Target="../tags/tag1115.xml"/><Relationship Id="rId4" Type="http://schemas.openxmlformats.org/officeDocument/2006/relationships/tags" Target="../tags/tag1054.xml"/><Relationship Id="rId9" Type="http://schemas.openxmlformats.org/officeDocument/2006/relationships/tags" Target="../tags/tag1059.xml"/><Relationship Id="rId13" Type="http://schemas.openxmlformats.org/officeDocument/2006/relationships/tags" Target="../tags/tag1063.xml"/><Relationship Id="rId18" Type="http://schemas.openxmlformats.org/officeDocument/2006/relationships/tags" Target="../tags/tag1068.xml"/><Relationship Id="rId39" Type="http://schemas.openxmlformats.org/officeDocument/2006/relationships/tags" Target="../tags/tag1089.xml"/><Relationship Id="rId34" Type="http://schemas.openxmlformats.org/officeDocument/2006/relationships/tags" Target="../tags/tag1084.xml"/><Relationship Id="rId50" Type="http://schemas.openxmlformats.org/officeDocument/2006/relationships/tags" Target="../tags/tag1100.xml"/><Relationship Id="rId55" Type="http://schemas.openxmlformats.org/officeDocument/2006/relationships/tags" Target="../tags/tag110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tags" Target="../tags/tag1131.xml"/><Relationship Id="rId18" Type="http://schemas.openxmlformats.org/officeDocument/2006/relationships/tags" Target="../tags/tag1136.xml"/><Relationship Id="rId26" Type="http://schemas.openxmlformats.org/officeDocument/2006/relationships/tags" Target="../tags/tag1144.xml"/><Relationship Id="rId21" Type="http://schemas.openxmlformats.org/officeDocument/2006/relationships/tags" Target="../tags/tag1139.xml"/><Relationship Id="rId34" Type="http://schemas.openxmlformats.org/officeDocument/2006/relationships/slideLayout" Target="../slideLayouts/slideLayout3.xml"/><Relationship Id="rId7" Type="http://schemas.openxmlformats.org/officeDocument/2006/relationships/tags" Target="../tags/tag1125.xml"/><Relationship Id="rId12" Type="http://schemas.openxmlformats.org/officeDocument/2006/relationships/tags" Target="../tags/tag1130.xml"/><Relationship Id="rId17" Type="http://schemas.openxmlformats.org/officeDocument/2006/relationships/tags" Target="../tags/tag1135.xml"/><Relationship Id="rId25" Type="http://schemas.openxmlformats.org/officeDocument/2006/relationships/tags" Target="../tags/tag1143.xml"/><Relationship Id="rId33" Type="http://schemas.openxmlformats.org/officeDocument/2006/relationships/tags" Target="../tags/tag1151.xml"/><Relationship Id="rId2" Type="http://schemas.openxmlformats.org/officeDocument/2006/relationships/tags" Target="../tags/tag1120.xml"/><Relationship Id="rId16" Type="http://schemas.openxmlformats.org/officeDocument/2006/relationships/tags" Target="../tags/tag1134.xml"/><Relationship Id="rId20" Type="http://schemas.openxmlformats.org/officeDocument/2006/relationships/tags" Target="../tags/tag1138.xml"/><Relationship Id="rId29" Type="http://schemas.openxmlformats.org/officeDocument/2006/relationships/tags" Target="../tags/tag1147.xml"/><Relationship Id="rId1" Type="http://schemas.openxmlformats.org/officeDocument/2006/relationships/tags" Target="../tags/tag1119.xml"/><Relationship Id="rId6" Type="http://schemas.openxmlformats.org/officeDocument/2006/relationships/tags" Target="../tags/tag1124.xml"/><Relationship Id="rId11" Type="http://schemas.openxmlformats.org/officeDocument/2006/relationships/tags" Target="../tags/tag1129.xml"/><Relationship Id="rId24" Type="http://schemas.openxmlformats.org/officeDocument/2006/relationships/tags" Target="../tags/tag1142.xml"/><Relationship Id="rId32" Type="http://schemas.openxmlformats.org/officeDocument/2006/relationships/tags" Target="../tags/tag1150.xml"/><Relationship Id="rId37" Type="http://schemas.openxmlformats.org/officeDocument/2006/relationships/chart" Target="../charts/chart25.xml"/><Relationship Id="rId5" Type="http://schemas.openxmlformats.org/officeDocument/2006/relationships/tags" Target="../tags/tag1123.xml"/><Relationship Id="rId15" Type="http://schemas.openxmlformats.org/officeDocument/2006/relationships/tags" Target="../tags/tag1133.xml"/><Relationship Id="rId23" Type="http://schemas.openxmlformats.org/officeDocument/2006/relationships/tags" Target="../tags/tag1141.xml"/><Relationship Id="rId28" Type="http://schemas.openxmlformats.org/officeDocument/2006/relationships/tags" Target="../tags/tag1146.xml"/><Relationship Id="rId36" Type="http://schemas.openxmlformats.org/officeDocument/2006/relationships/image" Target="../media/image1.emf"/><Relationship Id="rId10" Type="http://schemas.openxmlformats.org/officeDocument/2006/relationships/tags" Target="../tags/tag1128.xml"/><Relationship Id="rId19" Type="http://schemas.openxmlformats.org/officeDocument/2006/relationships/tags" Target="../tags/tag1137.xml"/><Relationship Id="rId31" Type="http://schemas.openxmlformats.org/officeDocument/2006/relationships/tags" Target="../tags/tag1149.xml"/><Relationship Id="rId4" Type="http://schemas.openxmlformats.org/officeDocument/2006/relationships/tags" Target="../tags/tag1122.xml"/><Relationship Id="rId9" Type="http://schemas.openxmlformats.org/officeDocument/2006/relationships/tags" Target="../tags/tag1127.xml"/><Relationship Id="rId14" Type="http://schemas.openxmlformats.org/officeDocument/2006/relationships/tags" Target="../tags/tag1132.xml"/><Relationship Id="rId22" Type="http://schemas.openxmlformats.org/officeDocument/2006/relationships/tags" Target="../tags/tag1140.xml"/><Relationship Id="rId27" Type="http://schemas.openxmlformats.org/officeDocument/2006/relationships/tags" Target="../tags/tag1145.xml"/><Relationship Id="rId30" Type="http://schemas.openxmlformats.org/officeDocument/2006/relationships/tags" Target="../tags/tag1148.xml"/><Relationship Id="rId35" Type="http://schemas.openxmlformats.org/officeDocument/2006/relationships/oleObject" Target="../embeddings/oleObject36.bin"/><Relationship Id="rId8" Type="http://schemas.openxmlformats.org/officeDocument/2006/relationships/tags" Target="../tags/tag1126.xml"/><Relationship Id="rId3" Type="http://schemas.openxmlformats.org/officeDocument/2006/relationships/tags" Target="../tags/tag1121.xml"/></Relationships>
</file>

<file path=ppt/slides/_rels/slide26.xml.rels><?xml version="1.0" encoding="UTF-8" standalone="yes"?>
<Relationships xmlns="http://schemas.openxmlformats.org/package/2006/relationships"><Relationship Id="rId26" Type="http://schemas.openxmlformats.org/officeDocument/2006/relationships/tags" Target="../tags/tag1177.xml"/><Relationship Id="rId117" Type="http://schemas.openxmlformats.org/officeDocument/2006/relationships/tags" Target="../tags/tag1268.xml"/><Relationship Id="rId21" Type="http://schemas.openxmlformats.org/officeDocument/2006/relationships/tags" Target="../tags/tag1172.xml"/><Relationship Id="rId42" Type="http://schemas.openxmlformats.org/officeDocument/2006/relationships/tags" Target="../tags/tag1193.xml"/><Relationship Id="rId47" Type="http://schemas.openxmlformats.org/officeDocument/2006/relationships/tags" Target="../tags/tag1198.xml"/><Relationship Id="rId63" Type="http://schemas.openxmlformats.org/officeDocument/2006/relationships/tags" Target="../tags/tag1214.xml"/><Relationship Id="rId68" Type="http://schemas.openxmlformats.org/officeDocument/2006/relationships/tags" Target="../tags/tag1219.xml"/><Relationship Id="rId84" Type="http://schemas.openxmlformats.org/officeDocument/2006/relationships/tags" Target="../tags/tag1235.xml"/><Relationship Id="rId89" Type="http://schemas.openxmlformats.org/officeDocument/2006/relationships/tags" Target="../tags/tag1240.xml"/><Relationship Id="rId112" Type="http://schemas.openxmlformats.org/officeDocument/2006/relationships/tags" Target="../tags/tag1263.xml"/><Relationship Id="rId16" Type="http://schemas.openxmlformats.org/officeDocument/2006/relationships/tags" Target="../tags/tag1167.xml"/><Relationship Id="rId107" Type="http://schemas.openxmlformats.org/officeDocument/2006/relationships/tags" Target="../tags/tag1258.xml"/><Relationship Id="rId11" Type="http://schemas.openxmlformats.org/officeDocument/2006/relationships/tags" Target="../tags/tag1162.xml"/><Relationship Id="rId32" Type="http://schemas.openxmlformats.org/officeDocument/2006/relationships/tags" Target="../tags/tag1183.xml"/><Relationship Id="rId37" Type="http://schemas.openxmlformats.org/officeDocument/2006/relationships/tags" Target="../tags/tag1188.xml"/><Relationship Id="rId53" Type="http://schemas.openxmlformats.org/officeDocument/2006/relationships/tags" Target="../tags/tag1204.xml"/><Relationship Id="rId58" Type="http://schemas.openxmlformats.org/officeDocument/2006/relationships/tags" Target="../tags/tag1209.xml"/><Relationship Id="rId74" Type="http://schemas.openxmlformats.org/officeDocument/2006/relationships/tags" Target="../tags/tag1225.xml"/><Relationship Id="rId79" Type="http://schemas.openxmlformats.org/officeDocument/2006/relationships/tags" Target="../tags/tag1230.xml"/><Relationship Id="rId102" Type="http://schemas.openxmlformats.org/officeDocument/2006/relationships/tags" Target="../tags/tag1253.xml"/><Relationship Id="rId123" Type="http://schemas.openxmlformats.org/officeDocument/2006/relationships/oleObject" Target="../embeddings/oleObject37.bin"/><Relationship Id="rId5" Type="http://schemas.openxmlformats.org/officeDocument/2006/relationships/tags" Target="../tags/tag1156.xml"/><Relationship Id="rId90" Type="http://schemas.openxmlformats.org/officeDocument/2006/relationships/tags" Target="../tags/tag1241.xml"/><Relationship Id="rId95" Type="http://schemas.openxmlformats.org/officeDocument/2006/relationships/tags" Target="../tags/tag1246.xml"/><Relationship Id="rId22" Type="http://schemas.openxmlformats.org/officeDocument/2006/relationships/tags" Target="../tags/tag1173.xml"/><Relationship Id="rId27" Type="http://schemas.openxmlformats.org/officeDocument/2006/relationships/tags" Target="../tags/tag1178.xml"/><Relationship Id="rId43" Type="http://schemas.openxmlformats.org/officeDocument/2006/relationships/tags" Target="../tags/tag1194.xml"/><Relationship Id="rId48" Type="http://schemas.openxmlformats.org/officeDocument/2006/relationships/tags" Target="../tags/tag1199.xml"/><Relationship Id="rId64" Type="http://schemas.openxmlformats.org/officeDocument/2006/relationships/tags" Target="../tags/tag1215.xml"/><Relationship Id="rId69" Type="http://schemas.openxmlformats.org/officeDocument/2006/relationships/tags" Target="../tags/tag1220.xml"/><Relationship Id="rId113" Type="http://schemas.openxmlformats.org/officeDocument/2006/relationships/tags" Target="../tags/tag1264.xml"/><Relationship Id="rId118" Type="http://schemas.openxmlformats.org/officeDocument/2006/relationships/tags" Target="../tags/tag1269.xml"/><Relationship Id="rId80" Type="http://schemas.openxmlformats.org/officeDocument/2006/relationships/tags" Target="../tags/tag1231.xml"/><Relationship Id="rId85" Type="http://schemas.openxmlformats.org/officeDocument/2006/relationships/tags" Target="../tags/tag1236.xml"/><Relationship Id="rId12" Type="http://schemas.openxmlformats.org/officeDocument/2006/relationships/tags" Target="../tags/tag1163.xml"/><Relationship Id="rId17" Type="http://schemas.openxmlformats.org/officeDocument/2006/relationships/tags" Target="../tags/tag1168.xml"/><Relationship Id="rId33" Type="http://schemas.openxmlformats.org/officeDocument/2006/relationships/tags" Target="../tags/tag1184.xml"/><Relationship Id="rId38" Type="http://schemas.openxmlformats.org/officeDocument/2006/relationships/tags" Target="../tags/tag1189.xml"/><Relationship Id="rId59" Type="http://schemas.openxmlformats.org/officeDocument/2006/relationships/tags" Target="../tags/tag1210.xml"/><Relationship Id="rId103" Type="http://schemas.openxmlformats.org/officeDocument/2006/relationships/tags" Target="../tags/tag1254.xml"/><Relationship Id="rId108" Type="http://schemas.openxmlformats.org/officeDocument/2006/relationships/tags" Target="../tags/tag1259.xml"/><Relationship Id="rId124" Type="http://schemas.openxmlformats.org/officeDocument/2006/relationships/image" Target="../media/image1.emf"/><Relationship Id="rId54" Type="http://schemas.openxmlformats.org/officeDocument/2006/relationships/tags" Target="../tags/tag1205.xml"/><Relationship Id="rId70" Type="http://schemas.openxmlformats.org/officeDocument/2006/relationships/tags" Target="../tags/tag1221.xml"/><Relationship Id="rId75" Type="http://schemas.openxmlformats.org/officeDocument/2006/relationships/tags" Target="../tags/tag1226.xml"/><Relationship Id="rId91" Type="http://schemas.openxmlformats.org/officeDocument/2006/relationships/tags" Target="../tags/tag1242.xml"/><Relationship Id="rId96" Type="http://schemas.openxmlformats.org/officeDocument/2006/relationships/tags" Target="../tags/tag1247.xml"/><Relationship Id="rId1" Type="http://schemas.openxmlformats.org/officeDocument/2006/relationships/tags" Target="../tags/tag1152.xml"/><Relationship Id="rId6" Type="http://schemas.openxmlformats.org/officeDocument/2006/relationships/tags" Target="../tags/tag1157.xml"/><Relationship Id="rId23" Type="http://schemas.openxmlformats.org/officeDocument/2006/relationships/tags" Target="../tags/tag1174.xml"/><Relationship Id="rId28" Type="http://schemas.openxmlformats.org/officeDocument/2006/relationships/tags" Target="../tags/tag1179.xml"/><Relationship Id="rId49" Type="http://schemas.openxmlformats.org/officeDocument/2006/relationships/tags" Target="../tags/tag1200.xml"/><Relationship Id="rId114" Type="http://schemas.openxmlformats.org/officeDocument/2006/relationships/tags" Target="../tags/tag1265.xml"/><Relationship Id="rId119" Type="http://schemas.openxmlformats.org/officeDocument/2006/relationships/tags" Target="../tags/tag1270.xml"/><Relationship Id="rId44" Type="http://schemas.openxmlformats.org/officeDocument/2006/relationships/tags" Target="../tags/tag1195.xml"/><Relationship Id="rId60" Type="http://schemas.openxmlformats.org/officeDocument/2006/relationships/tags" Target="../tags/tag1211.xml"/><Relationship Id="rId65" Type="http://schemas.openxmlformats.org/officeDocument/2006/relationships/tags" Target="../tags/tag1216.xml"/><Relationship Id="rId81" Type="http://schemas.openxmlformats.org/officeDocument/2006/relationships/tags" Target="../tags/tag1232.xml"/><Relationship Id="rId86" Type="http://schemas.openxmlformats.org/officeDocument/2006/relationships/tags" Target="../tags/tag1237.xml"/><Relationship Id="rId13" Type="http://schemas.openxmlformats.org/officeDocument/2006/relationships/tags" Target="../tags/tag1164.xml"/><Relationship Id="rId18" Type="http://schemas.openxmlformats.org/officeDocument/2006/relationships/tags" Target="../tags/tag1169.xml"/><Relationship Id="rId39" Type="http://schemas.openxmlformats.org/officeDocument/2006/relationships/tags" Target="../tags/tag1190.xml"/><Relationship Id="rId109" Type="http://schemas.openxmlformats.org/officeDocument/2006/relationships/tags" Target="../tags/tag1260.xml"/><Relationship Id="rId34" Type="http://schemas.openxmlformats.org/officeDocument/2006/relationships/tags" Target="../tags/tag1185.xml"/><Relationship Id="rId50" Type="http://schemas.openxmlformats.org/officeDocument/2006/relationships/tags" Target="../tags/tag1201.xml"/><Relationship Id="rId55" Type="http://schemas.openxmlformats.org/officeDocument/2006/relationships/tags" Target="../tags/tag1206.xml"/><Relationship Id="rId76" Type="http://schemas.openxmlformats.org/officeDocument/2006/relationships/tags" Target="../tags/tag1227.xml"/><Relationship Id="rId97" Type="http://schemas.openxmlformats.org/officeDocument/2006/relationships/tags" Target="../tags/tag1248.xml"/><Relationship Id="rId104" Type="http://schemas.openxmlformats.org/officeDocument/2006/relationships/tags" Target="../tags/tag1255.xml"/><Relationship Id="rId120" Type="http://schemas.openxmlformats.org/officeDocument/2006/relationships/tags" Target="../tags/tag1271.xml"/><Relationship Id="rId125" Type="http://schemas.openxmlformats.org/officeDocument/2006/relationships/chart" Target="../charts/chart26.xml"/><Relationship Id="rId7" Type="http://schemas.openxmlformats.org/officeDocument/2006/relationships/tags" Target="../tags/tag1158.xml"/><Relationship Id="rId71" Type="http://schemas.openxmlformats.org/officeDocument/2006/relationships/tags" Target="../tags/tag1222.xml"/><Relationship Id="rId92" Type="http://schemas.openxmlformats.org/officeDocument/2006/relationships/tags" Target="../tags/tag1243.xml"/><Relationship Id="rId2" Type="http://schemas.openxmlformats.org/officeDocument/2006/relationships/tags" Target="../tags/tag1153.xml"/><Relationship Id="rId29" Type="http://schemas.openxmlformats.org/officeDocument/2006/relationships/tags" Target="../tags/tag1180.xml"/><Relationship Id="rId24" Type="http://schemas.openxmlformats.org/officeDocument/2006/relationships/tags" Target="../tags/tag1175.xml"/><Relationship Id="rId40" Type="http://schemas.openxmlformats.org/officeDocument/2006/relationships/tags" Target="../tags/tag1191.xml"/><Relationship Id="rId45" Type="http://schemas.openxmlformats.org/officeDocument/2006/relationships/tags" Target="../tags/tag1196.xml"/><Relationship Id="rId66" Type="http://schemas.openxmlformats.org/officeDocument/2006/relationships/tags" Target="../tags/tag1217.xml"/><Relationship Id="rId87" Type="http://schemas.openxmlformats.org/officeDocument/2006/relationships/tags" Target="../tags/tag1238.xml"/><Relationship Id="rId110" Type="http://schemas.openxmlformats.org/officeDocument/2006/relationships/tags" Target="../tags/tag1261.xml"/><Relationship Id="rId115" Type="http://schemas.openxmlformats.org/officeDocument/2006/relationships/tags" Target="../tags/tag1266.xml"/><Relationship Id="rId61" Type="http://schemas.openxmlformats.org/officeDocument/2006/relationships/tags" Target="../tags/tag1212.xml"/><Relationship Id="rId82" Type="http://schemas.openxmlformats.org/officeDocument/2006/relationships/tags" Target="../tags/tag1233.xml"/><Relationship Id="rId19" Type="http://schemas.openxmlformats.org/officeDocument/2006/relationships/tags" Target="../tags/tag1170.xml"/><Relationship Id="rId14" Type="http://schemas.openxmlformats.org/officeDocument/2006/relationships/tags" Target="../tags/tag1165.xml"/><Relationship Id="rId30" Type="http://schemas.openxmlformats.org/officeDocument/2006/relationships/tags" Target="../tags/tag1181.xml"/><Relationship Id="rId35" Type="http://schemas.openxmlformats.org/officeDocument/2006/relationships/tags" Target="../tags/tag1186.xml"/><Relationship Id="rId56" Type="http://schemas.openxmlformats.org/officeDocument/2006/relationships/tags" Target="../tags/tag1207.xml"/><Relationship Id="rId77" Type="http://schemas.openxmlformats.org/officeDocument/2006/relationships/tags" Target="../tags/tag1228.xml"/><Relationship Id="rId100" Type="http://schemas.openxmlformats.org/officeDocument/2006/relationships/tags" Target="../tags/tag1251.xml"/><Relationship Id="rId105" Type="http://schemas.openxmlformats.org/officeDocument/2006/relationships/tags" Target="../tags/tag1256.xml"/><Relationship Id="rId126" Type="http://schemas.openxmlformats.org/officeDocument/2006/relationships/chart" Target="../charts/chart27.xml"/><Relationship Id="rId8" Type="http://schemas.openxmlformats.org/officeDocument/2006/relationships/tags" Target="../tags/tag1159.xml"/><Relationship Id="rId51" Type="http://schemas.openxmlformats.org/officeDocument/2006/relationships/tags" Target="../tags/tag1202.xml"/><Relationship Id="rId72" Type="http://schemas.openxmlformats.org/officeDocument/2006/relationships/tags" Target="../tags/tag1223.xml"/><Relationship Id="rId93" Type="http://schemas.openxmlformats.org/officeDocument/2006/relationships/tags" Target="../tags/tag1244.xml"/><Relationship Id="rId98" Type="http://schemas.openxmlformats.org/officeDocument/2006/relationships/tags" Target="../tags/tag1249.xml"/><Relationship Id="rId121" Type="http://schemas.openxmlformats.org/officeDocument/2006/relationships/tags" Target="../tags/tag1272.xml"/><Relationship Id="rId3" Type="http://schemas.openxmlformats.org/officeDocument/2006/relationships/tags" Target="../tags/tag1154.xml"/><Relationship Id="rId25" Type="http://schemas.openxmlformats.org/officeDocument/2006/relationships/tags" Target="../tags/tag1176.xml"/><Relationship Id="rId46" Type="http://schemas.openxmlformats.org/officeDocument/2006/relationships/tags" Target="../tags/tag1197.xml"/><Relationship Id="rId67" Type="http://schemas.openxmlformats.org/officeDocument/2006/relationships/tags" Target="../tags/tag1218.xml"/><Relationship Id="rId116" Type="http://schemas.openxmlformats.org/officeDocument/2006/relationships/tags" Target="../tags/tag1267.xml"/><Relationship Id="rId20" Type="http://schemas.openxmlformats.org/officeDocument/2006/relationships/tags" Target="../tags/tag1171.xml"/><Relationship Id="rId41" Type="http://schemas.openxmlformats.org/officeDocument/2006/relationships/tags" Target="../tags/tag1192.xml"/><Relationship Id="rId62" Type="http://schemas.openxmlformats.org/officeDocument/2006/relationships/tags" Target="../tags/tag1213.xml"/><Relationship Id="rId83" Type="http://schemas.openxmlformats.org/officeDocument/2006/relationships/tags" Target="../tags/tag1234.xml"/><Relationship Id="rId88" Type="http://schemas.openxmlformats.org/officeDocument/2006/relationships/tags" Target="../tags/tag1239.xml"/><Relationship Id="rId111" Type="http://schemas.openxmlformats.org/officeDocument/2006/relationships/tags" Target="../tags/tag1262.xml"/><Relationship Id="rId15" Type="http://schemas.openxmlformats.org/officeDocument/2006/relationships/tags" Target="../tags/tag1166.xml"/><Relationship Id="rId36" Type="http://schemas.openxmlformats.org/officeDocument/2006/relationships/tags" Target="../tags/tag1187.xml"/><Relationship Id="rId57" Type="http://schemas.openxmlformats.org/officeDocument/2006/relationships/tags" Target="../tags/tag1208.xml"/><Relationship Id="rId106" Type="http://schemas.openxmlformats.org/officeDocument/2006/relationships/tags" Target="../tags/tag1257.xml"/><Relationship Id="rId127" Type="http://schemas.openxmlformats.org/officeDocument/2006/relationships/chart" Target="../charts/chart28.xml"/><Relationship Id="rId10" Type="http://schemas.openxmlformats.org/officeDocument/2006/relationships/tags" Target="../tags/tag1161.xml"/><Relationship Id="rId31" Type="http://schemas.openxmlformats.org/officeDocument/2006/relationships/tags" Target="../tags/tag1182.xml"/><Relationship Id="rId52" Type="http://schemas.openxmlformats.org/officeDocument/2006/relationships/tags" Target="../tags/tag1203.xml"/><Relationship Id="rId73" Type="http://schemas.openxmlformats.org/officeDocument/2006/relationships/tags" Target="../tags/tag1224.xml"/><Relationship Id="rId78" Type="http://schemas.openxmlformats.org/officeDocument/2006/relationships/tags" Target="../tags/tag1229.xml"/><Relationship Id="rId94" Type="http://schemas.openxmlformats.org/officeDocument/2006/relationships/tags" Target="../tags/tag1245.xml"/><Relationship Id="rId99" Type="http://schemas.openxmlformats.org/officeDocument/2006/relationships/tags" Target="../tags/tag1250.xml"/><Relationship Id="rId101" Type="http://schemas.openxmlformats.org/officeDocument/2006/relationships/tags" Target="../tags/tag1252.xml"/><Relationship Id="rId122" Type="http://schemas.openxmlformats.org/officeDocument/2006/relationships/slideLayout" Target="../slideLayouts/slideLayout3.xml"/><Relationship Id="rId4" Type="http://schemas.openxmlformats.org/officeDocument/2006/relationships/tags" Target="../tags/tag1155.xml"/><Relationship Id="rId9" Type="http://schemas.openxmlformats.org/officeDocument/2006/relationships/tags" Target="../tags/tag1160.xml"/></Relationships>
</file>

<file path=ppt/slides/_rels/slide27.xml.rels><?xml version="1.0" encoding="UTF-8" standalone="yes"?>
<Relationships xmlns="http://schemas.openxmlformats.org/package/2006/relationships"><Relationship Id="rId26" Type="http://schemas.openxmlformats.org/officeDocument/2006/relationships/tags" Target="../tags/tag1298.xml"/><Relationship Id="rId21" Type="http://schemas.openxmlformats.org/officeDocument/2006/relationships/tags" Target="../tags/tag1293.xml"/><Relationship Id="rId42" Type="http://schemas.openxmlformats.org/officeDocument/2006/relationships/tags" Target="../tags/tag1314.xml"/><Relationship Id="rId47" Type="http://schemas.openxmlformats.org/officeDocument/2006/relationships/tags" Target="../tags/tag1319.xml"/><Relationship Id="rId63" Type="http://schemas.openxmlformats.org/officeDocument/2006/relationships/tags" Target="../tags/tag1335.xml"/><Relationship Id="rId68" Type="http://schemas.openxmlformats.org/officeDocument/2006/relationships/tags" Target="../tags/tag1340.xml"/><Relationship Id="rId7" Type="http://schemas.openxmlformats.org/officeDocument/2006/relationships/tags" Target="../tags/tag1279.xml"/><Relationship Id="rId71" Type="http://schemas.openxmlformats.org/officeDocument/2006/relationships/image" Target="../media/image1.emf"/><Relationship Id="rId2" Type="http://schemas.openxmlformats.org/officeDocument/2006/relationships/tags" Target="../tags/tag1274.xml"/><Relationship Id="rId16" Type="http://schemas.openxmlformats.org/officeDocument/2006/relationships/tags" Target="../tags/tag1288.xml"/><Relationship Id="rId29" Type="http://schemas.openxmlformats.org/officeDocument/2006/relationships/tags" Target="../tags/tag1301.xml"/><Relationship Id="rId11" Type="http://schemas.openxmlformats.org/officeDocument/2006/relationships/tags" Target="../tags/tag1283.xml"/><Relationship Id="rId24" Type="http://schemas.openxmlformats.org/officeDocument/2006/relationships/tags" Target="../tags/tag1296.xml"/><Relationship Id="rId32" Type="http://schemas.openxmlformats.org/officeDocument/2006/relationships/tags" Target="../tags/tag1304.xml"/><Relationship Id="rId37" Type="http://schemas.openxmlformats.org/officeDocument/2006/relationships/tags" Target="../tags/tag1309.xml"/><Relationship Id="rId40" Type="http://schemas.openxmlformats.org/officeDocument/2006/relationships/tags" Target="../tags/tag1312.xml"/><Relationship Id="rId45" Type="http://schemas.openxmlformats.org/officeDocument/2006/relationships/tags" Target="../tags/tag1317.xml"/><Relationship Id="rId53" Type="http://schemas.openxmlformats.org/officeDocument/2006/relationships/tags" Target="../tags/tag1325.xml"/><Relationship Id="rId58" Type="http://schemas.openxmlformats.org/officeDocument/2006/relationships/tags" Target="../tags/tag1330.xml"/><Relationship Id="rId66" Type="http://schemas.openxmlformats.org/officeDocument/2006/relationships/tags" Target="../tags/tag1338.xml"/><Relationship Id="rId5" Type="http://schemas.openxmlformats.org/officeDocument/2006/relationships/tags" Target="../tags/tag1277.xml"/><Relationship Id="rId61" Type="http://schemas.openxmlformats.org/officeDocument/2006/relationships/tags" Target="../tags/tag1333.xml"/><Relationship Id="rId19" Type="http://schemas.openxmlformats.org/officeDocument/2006/relationships/tags" Target="../tags/tag1291.xml"/><Relationship Id="rId14" Type="http://schemas.openxmlformats.org/officeDocument/2006/relationships/tags" Target="../tags/tag1286.xml"/><Relationship Id="rId22" Type="http://schemas.openxmlformats.org/officeDocument/2006/relationships/tags" Target="../tags/tag1294.xml"/><Relationship Id="rId27" Type="http://schemas.openxmlformats.org/officeDocument/2006/relationships/tags" Target="../tags/tag1299.xml"/><Relationship Id="rId30" Type="http://schemas.openxmlformats.org/officeDocument/2006/relationships/tags" Target="../tags/tag1302.xml"/><Relationship Id="rId35" Type="http://schemas.openxmlformats.org/officeDocument/2006/relationships/tags" Target="../tags/tag1307.xml"/><Relationship Id="rId43" Type="http://schemas.openxmlformats.org/officeDocument/2006/relationships/tags" Target="../tags/tag1315.xml"/><Relationship Id="rId48" Type="http://schemas.openxmlformats.org/officeDocument/2006/relationships/tags" Target="../tags/tag1320.xml"/><Relationship Id="rId56" Type="http://schemas.openxmlformats.org/officeDocument/2006/relationships/tags" Target="../tags/tag1328.xml"/><Relationship Id="rId64" Type="http://schemas.openxmlformats.org/officeDocument/2006/relationships/tags" Target="../tags/tag1336.xml"/><Relationship Id="rId69" Type="http://schemas.openxmlformats.org/officeDocument/2006/relationships/slideLayout" Target="../slideLayouts/slideLayout3.xml"/><Relationship Id="rId8" Type="http://schemas.openxmlformats.org/officeDocument/2006/relationships/tags" Target="../tags/tag1280.xml"/><Relationship Id="rId51" Type="http://schemas.openxmlformats.org/officeDocument/2006/relationships/tags" Target="../tags/tag1323.xml"/><Relationship Id="rId72" Type="http://schemas.openxmlformats.org/officeDocument/2006/relationships/chart" Target="../charts/chart29.xml"/><Relationship Id="rId3" Type="http://schemas.openxmlformats.org/officeDocument/2006/relationships/tags" Target="../tags/tag1275.xml"/><Relationship Id="rId12" Type="http://schemas.openxmlformats.org/officeDocument/2006/relationships/tags" Target="../tags/tag1284.xml"/><Relationship Id="rId17" Type="http://schemas.openxmlformats.org/officeDocument/2006/relationships/tags" Target="../tags/tag1289.xml"/><Relationship Id="rId25" Type="http://schemas.openxmlformats.org/officeDocument/2006/relationships/tags" Target="../tags/tag1297.xml"/><Relationship Id="rId33" Type="http://schemas.openxmlformats.org/officeDocument/2006/relationships/tags" Target="../tags/tag1305.xml"/><Relationship Id="rId38" Type="http://schemas.openxmlformats.org/officeDocument/2006/relationships/tags" Target="../tags/tag1310.xml"/><Relationship Id="rId46" Type="http://schemas.openxmlformats.org/officeDocument/2006/relationships/tags" Target="../tags/tag1318.xml"/><Relationship Id="rId59" Type="http://schemas.openxmlformats.org/officeDocument/2006/relationships/tags" Target="../tags/tag1331.xml"/><Relationship Id="rId67" Type="http://schemas.openxmlformats.org/officeDocument/2006/relationships/tags" Target="../tags/tag1339.xml"/><Relationship Id="rId20" Type="http://schemas.openxmlformats.org/officeDocument/2006/relationships/tags" Target="../tags/tag1292.xml"/><Relationship Id="rId41" Type="http://schemas.openxmlformats.org/officeDocument/2006/relationships/tags" Target="../tags/tag1313.xml"/><Relationship Id="rId54" Type="http://schemas.openxmlformats.org/officeDocument/2006/relationships/tags" Target="../tags/tag1326.xml"/><Relationship Id="rId62" Type="http://schemas.openxmlformats.org/officeDocument/2006/relationships/tags" Target="../tags/tag1334.xml"/><Relationship Id="rId70" Type="http://schemas.openxmlformats.org/officeDocument/2006/relationships/oleObject" Target="../embeddings/oleObject38.bin"/><Relationship Id="rId1" Type="http://schemas.openxmlformats.org/officeDocument/2006/relationships/tags" Target="../tags/tag1273.xml"/><Relationship Id="rId6" Type="http://schemas.openxmlformats.org/officeDocument/2006/relationships/tags" Target="../tags/tag1278.xml"/><Relationship Id="rId15" Type="http://schemas.openxmlformats.org/officeDocument/2006/relationships/tags" Target="../tags/tag1287.xml"/><Relationship Id="rId23" Type="http://schemas.openxmlformats.org/officeDocument/2006/relationships/tags" Target="../tags/tag1295.xml"/><Relationship Id="rId28" Type="http://schemas.openxmlformats.org/officeDocument/2006/relationships/tags" Target="../tags/tag1300.xml"/><Relationship Id="rId36" Type="http://schemas.openxmlformats.org/officeDocument/2006/relationships/tags" Target="../tags/tag1308.xml"/><Relationship Id="rId49" Type="http://schemas.openxmlformats.org/officeDocument/2006/relationships/tags" Target="../tags/tag1321.xml"/><Relationship Id="rId57" Type="http://schemas.openxmlformats.org/officeDocument/2006/relationships/tags" Target="../tags/tag1329.xml"/><Relationship Id="rId10" Type="http://schemas.openxmlformats.org/officeDocument/2006/relationships/tags" Target="../tags/tag1282.xml"/><Relationship Id="rId31" Type="http://schemas.openxmlformats.org/officeDocument/2006/relationships/tags" Target="../tags/tag1303.xml"/><Relationship Id="rId44" Type="http://schemas.openxmlformats.org/officeDocument/2006/relationships/tags" Target="../tags/tag1316.xml"/><Relationship Id="rId52" Type="http://schemas.openxmlformats.org/officeDocument/2006/relationships/tags" Target="../tags/tag1324.xml"/><Relationship Id="rId60" Type="http://schemas.openxmlformats.org/officeDocument/2006/relationships/tags" Target="../tags/tag1332.xml"/><Relationship Id="rId65" Type="http://schemas.openxmlformats.org/officeDocument/2006/relationships/tags" Target="../tags/tag1337.xml"/><Relationship Id="rId4" Type="http://schemas.openxmlformats.org/officeDocument/2006/relationships/tags" Target="../tags/tag1276.xml"/><Relationship Id="rId9" Type="http://schemas.openxmlformats.org/officeDocument/2006/relationships/tags" Target="../tags/tag1281.xml"/><Relationship Id="rId13" Type="http://schemas.openxmlformats.org/officeDocument/2006/relationships/tags" Target="../tags/tag1285.xml"/><Relationship Id="rId18" Type="http://schemas.openxmlformats.org/officeDocument/2006/relationships/tags" Target="../tags/tag1290.xml"/><Relationship Id="rId39" Type="http://schemas.openxmlformats.org/officeDocument/2006/relationships/tags" Target="../tags/tag1311.xml"/><Relationship Id="rId34" Type="http://schemas.openxmlformats.org/officeDocument/2006/relationships/tags" Target="../tags/tag1306.xml"/><Relationship Id="rId50" Type="http://schemas.openxmlformats.org/officeDocument/2006/relationships/tags" Target="../tags/tag1322.xml"/><Relationship Id="rId55" Type="http://schemas.openxmlformats.org/officeDocument/2006/relationships/tags" Target="../tags/tag132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26" Type="http://schemas.openxmlformats.org/officeDocument/2006/relationships/tags" Target="../tags/tag1366.xml"/><Relationship Id="rId117" Type="http://schemas.openxmlformats.org/officeDocument/2006/relationships/tags" Target="../tags/tag1457.xml"/><Relationship Id="rId21" Type="http://schemas.openxmlformats.org/officeDocument/2006/relationships/tags" Target="../tags/tag1361.xml"/><Relationship Id="rId42" Type="http://schemas.openxmlformats.org/officeDocument/2006/relationships/tags" Target="../tags/tag1382.xml"/><Relationship Id="rId47" Type="http://schemas.openxmlformats.org/officeDocument/2006/relationships/tags" Target="../tags/tag1387.xml"/><Relationship Id="rId63" Type="http://schemas.openxmlformats.org/officeDocument/2006/relationships/tags" Target="../tags/tag1403.xml"/><Relationship Id="rId68" Type="http://schemas.openxmlformats.org/officeDocument/2006/relationships/tags" Target="../tags/tag1408.xml"/><Relationship Id="rId84" Type="http://schemas.openxmlformats.org/officeDocument/2006/relationships/tags" Target="../tags/tag1424.xml"/><Relationship Id="rId89" Type="http://schemas.openxmlformats.org/officeDocument/2006/relationships/tags" Target="../tags/tag1429.xml"/><Relationship Id="rId112" Type="http://schemas.openxmlformats.org/officeDocument/2006/relationships/tags" Target="../tags/tag1452.xml"/><Relationship Id="rId16" Type="http://schemas.openxmlformats.org/officeDocument/2006/relationships/tags" Target="../tags/tag1356.xml"/><Relationship Id="rId107" Type="http://schemas.openxmlformats.org/officeDocument/2006/relationships/tags" Target="../tags/tag1447.xml"/><Relationship Id="rId11" Type="http://schemas.openxmlformats.org/officeDocument/2006/relationships/tags" Target="../tags/tag1351.xml"/><Relationship Id="rId32" Type="http://schemas.openxmlformats.org/officeDocument/2006/relationships/tags" Target="../tags/tag1372.xml"/><Relationship Id="rId37" Type="http://schemas.openxmlformats.org/officeDocument/2006/relationships/tags" Target="../tags/tag1377.xml"/><Relationship Id="rId53" Type="http://schemas.openxmlformats.org/officeDocument/2006/relationships/tags" Target="../tags/tag1393.xml"/><Relationship Id="rId58" Type="http://schemas.openxmlformats.org/officeDocument/2006/relationships/tags" Target="../tags/tag1398.xml"/><Relationship Id="rId74" Type="http://schemas.openxmlformats.org/officeDocument/2006/relationships/tags" Target="../tags/tag1414.xml"/><Relationship Id="rId79" Type="http://schemas.openxmlformats.org/officeDocument/2006/relationships/tags" Target="../tags/tag1419.xml"/><Relationship Id="rId102" Type="http://schemas.openxmlformats.org/officeDocument/2006/relationships/tags" Target="../tags/tag1442.xml"/><Relationship Id="rId5" Type="http://schemas.openxmlformats.org/officeDocument/2006/relationships/tags" Target="../tags/tag1345.xml"/><Relationship Id="rId90" Type="http://schemas.openxmlformats.org/officeDocument/2006/relationships/tags" Target="../tags/tag1430.xml"/><Relationship Id="rId95" Type="http://schemas.openxmlformats.org/officeDocument/2006/relationships/tags" Target="../tags/tag1435.xml"/><Relationship Id="rId22" Type="http://schemas.openxmlformats.org/officeDocument/2006/relationships/tags" Target="../tags/tag1362.xml"/><Relationship Id="rId27" Type="http://schemas.openxmlformats.org/officeDocument/2006/relationships/tags" Target="../tags/tag1367.xml"/><Relationship Id="rId43" Type="http://schemas.openxmlformats.org/officeDocument/2006/relationships/tags" Target="../tags/tag1383.xml"/><Relationship Id="rId48" Type="http://schemas.openxmlformats.org/officeDocument/2006/relationships/tags" Target="../tags/tag1388.xml"/><Relationship Id="rId64" Type="http://schemas.openxmlformats.org/officeDocument/2006/relationships/tags" Target="../tags/tag1404.xml"/><Relationship Id="rId69" Type="http://schemas.openxmlformats.org/officeDocument/2006/relationships/tags" Target="../tags/tag1409.xml"/><Relationship Id="rId113" Type="http://schemas.openxmlformats.org/officeDocument/2006/relationships/tags" Target="../tags/tag1453.xml"/><Relationship Id="rId118" Type="http://schemas.openxmlformats.org/officeDocument/2006/relationships/slideLayout" Target="../slideLayouts/slideLayout3.xml"/><Relationship Id="rId80" Type="http://schemas.openxmlformats.org/officeDocument/2006/relationships/tags" Target="../tags/tag1420.xml"/><Relationship Id="rId85" Type="http://schemas.openxmlformats.org/officeDocument/2006/relationships/tags" Target="../tags/tag1425.xml"/><Relationship Id="rId12" Type="http://schemas.openxmlformats.org/officeDocument/2006/relationships/tags" Target="../tags/tag1352.xml"/><Relationship Id="rId17" Type="http://schemas.openxmlformats.org/officeDocument/2006/relationships/tags" Target="../tags/tag1357.xml"/><Relationship Id="rId33" Type="http://schemas.openxmlformats.org/officeDocument/2006/relationships/tags" Target="../tags/tag1373.xml"/><Relationship Id="rId38" Type="http://schemas.openxmlformats.org/officeDocument/2006/relationships/tags" Target="../tags/tag1378.xml"/><Relationship Id="rId59" Type="http://schemas.openxmlformats.org/officeDocument/2006/relationships/tags" Target="../tags/tag1399.xml"/><Relationship Id="rId103" Type="http://schemas.openxmlformats.org/officeDocument/2006/relationships/tags" Target="../tags/tag1443.xml"/><Relationship Id="rId108" Type="http://schemas.openxmlformats.org/officeDocument/2006/relationships/tags" Target="../tags/tag1448.xml"/><Relationship Id="rId54" Type="http://schemas.openxmlformats.org/officeDocument/2006/relationships/tags" Target="../tags/tag1394.xml"/><Relationship Id="rId70" Type="http://schemas.openxmlformats.org/officeDocument/2006/relationships/tags" Target="../tags/tag1410.xml"/><Relationship Id="rId75" Type="http://schemas.openxmlformats.org/officeDocument/2006/relationships/tags" Target="../tags/tag1415.xml"/><Relationship Id="rId91" Type="http://schemas.openxmlformats.org/officeDocument/2006/relationships/tags" Target="../tags/tag1431.xml"/><Relationship Id="rId96" Type="http://schemas.openxmlformats.org/officeDocument/2006/relationships/tags" Target="../tags/tag1436.xml"/><Relationship Id="rId1" Type="http://schemas.openxmlformats.org/officeDocument/2006/relationships/tags" Target="../tags/tag1341.xml"/><Relationship Id="rId6" Type="http://schemas.openxmlformats.org/officeDocument/2006/relationships/tags" Target="../tags/tag1346.xml"/><Relationship Id="rId23" Type="http://schemas.openxmlformats.org/officeDocument/2006/relationships/tags" Target="../tags/tag1363.xml"/><Relationship Id="rId28" Type="http://schemas.openxmlformats.org/officeDocument/2006/relationships/tags" Target="../tags/tag1368.xml"/><Relationship Id="rId49" Type="http://schemas.openxmlformats.org/officeDocument/2006/relationships/tags" Target="../tags/tag1389.xml"/><Relationship Id="rId114" Type="http://schemas.openxmlformats.org/officeDocument/2006/relationships/tags" Target="../tags/tag1454.xml"/><Relationship Id="rId119" Type="http://schemas.openxmlformats.org/officeDocument/2006/relationships/notesSlide" Target="../notesSlides/notesSlide4.xml"/><Relationship Id="rId44" Type="http://schemas.openxmlformats.org/officeDocument/2006/relationships/tags" Target="../tags/tag1384.xml"/><Relationship Id="rId60" Type="http://schemas.openxmlformats.org/officeDocument/2006/relationships/tags" Target="../tags/tag1400.xml"/><Relationship Id="rId65" Type="http://schemas.openxmlformats.org/officeDocument/2006/relationships/tags" Target="../tags/tag1405.xml"/><Relationship Id="rId81" Type="http://schemas.openxmlformats.org/officeDocument/2006/relationships/tags" Target="../tags/tag1421.xml"/><Relationship Id="rId86" Type="http://schemas.openxmlformats.org/officeDocument/2006/relationships/tags" Target="../tags/tag1426.xml"/><Relationship Id="rId4" Type="http://schemas.openxmlformats.org/officeDocument/2006/relationships/tags" Target="../tags/tag1344.xml"/><Relationship Id="rId9" Type="http://schemas.openxmlformats.org/officeDocument/2006/relationships/tags" Target="../tags/tag1349.xml"/><Relationship Id="rId13" Type="http://schemas.openxmlformats.org/officeDocument/2006/relationships/tags" Target="../tags/tag1353.xml"/><Relationship Id="rId18" Type="http://schemas.openxmlformats.org/officeDocument/2006/relationships/tags" Target="../tags/tag1358.xml"/><Relationship Id="rId39" Type="http://schemas.openxmlformats.org/officeDocument/2006/relationships/tags" Target="../tags/tag1379.xml"/><Relationship Id="rId109" Type="http://schemas.openxmlformats.org/officeDocument/2006/relationships/tags" Target="../tags/tag1449.xml"/><Relationship Id="rId34" Type="http://schemas.openxmlformats.org/officeDocument/2006/relationships/tags" Target="../tags/tag1374.xml"/><Relationship Id="rId50" Type="http://schemas.openxmlformats.org/officeDocument/2006/relationships/tags" Target="../tags/tag1390.xml"/><Relationship Id="rId55" Type="http://schemas.openxmlformats.org/officeDocument/2006/relationships/tags" Target="../tags/tag1395.xml"/><Relationship Id="rId76" Type="http://schemas.openxmlformats.org/officeDocument/2006/relationships/tags" Target="../tags/tag1416.xml"/><Relationship Id="rId97" Type="http://schemas.openxmlformats.org/officeDocument/2006/relationships/tags" Target="../tags/tag1437.xml"/><Relationship Id="rId104" Type="http://schemas.openxmlformats.org/officeDocument/2006/relationships/tags" Target="../tags/tag1444.xml"/><Relationship Id="rId120" Type="http://schemas.openxmlformats.org/officeDocument/2006/relationships/oleObject" Target="../embeddings/oleObject39.bin"/><Relationship Id="rId7" Type="http://schemas.openxmlformats.org/officeDocument/2006/relationships/tags" Target="../tags/tag1347.xml"/><Relationship Id="rId71" Type="http://schemas.openxmlformats.org/officeDocument/2006/relationships/tags" Target="../tags/tag1411.xml"/><Relationship Id="rId92" Type="http://schemas.openxmlformats.org/officeDocument/2006/relationships/tags" Target="../tags/tag1432.xml"/><Relationship Id="rId2" Type="http://schemas.openxmlformats.org/officeDocument/2006/relationships/tags" Target="../tags/tag1342.xml"/><Relationship Id="rId29" Type="http://schemas.openxmlformats.org/officeDocument/2006/relationships/tags" Target="../tags/tag1369.xml"/><Relationship Id="rId24" Type="http://schemas.openxmlformats.org/officeDocument/2006/relationships/tags" Target="../tags/tag1364.xml"/><Relationship Id="rId40" Type="http://schemas.openxmlformats.org/officeDocument/2006/relationships/tags" Target="../tags/tag1380.xml"/><Relationship Id="rId45" Type="http://schemas.openxmlformats.org/officeDocument/2006/relationships/tags" Target="../tags/tag1385.xml"/><Relationship Id="rId66" Type="http://schemas.openxmlformats.org/officeDocument/2006/relationships/tags" Target="../tags/tag1406.xml"/><Relationship Id="rId87" Type="http://schemas.openxmlformats.org/officeDocument/2006/relationships/tags" Target="../tags/tag1427.xml"/><Relationship Id="rId110" Type="http://schemas.openxmlformats.org/officeDocument/2006/relationships/tags" Target="../tags/tag1450.xml"/><Relationship Id="rId115" Type="http://schemas.openxmlformats.org/officeDocument/2006/relationships/tags" Target="../tags/tag1455.xml"/><Relationship Id="rId61" Type="http://schemas.openxmlformats.org/officeDocument/2006/relationships/tags" Target="../tags/tag1401.xml"/><Relationship Id="rId82" Type="http://schemas.openxmlformats.org/officeDocument/2006/relationships/tags" Target="../tags/tag1422.xml"/><Relationship Id="rId19" Type="http://schemas.openxmlformats.org/officeDocument/2006/relationships/tags" Target="../tags/tag1359.xml"/><Relationship Id="rId14" Type="http://schemas.openxmlformats.org/officeDocument/2006/relationships/tags" Target="../tags/tag1354.xml"/><Relationship Id="rId30" Type="http://schemas.openxmlformats.org/officeDocument/2006/relationships/tags" Target="../tags/tag1370.xml"/><Relationship Id="rId35" Type="http://schemas.openxmlformats.org/officeDocument/2006/relationships/tags" Target="../tags/tag1375.xml"/><Relationship Id="rId56" Type="http://schemas.openxmlformats.org/officeDocument/2006/relationships/tags" Target="../tags/tag1396.xml"/><Relationship Id="rId77" Type="http://schemas.openxmlformats.org/officeDocument/2006/relationships/tags" Target="../tags/tag1417.xml"/><Relationship Id="rId100" Type="http://schemas.openxmlformats.org/officeDocument/2006/relationships/tags" Target="../tags/tag1440.xml"/><Relationship Id="rId105" Type="http://schemas.openxmlformats.org/officeDocument/2006/relationships/tags" Target="../tags/tag1445.xml"/><Relationship Id="rId8" Type="http://schemas.openxmlformats.org/officeDocument/2006/relationships/tags" Target="../tags/tag1348.xml"/><Relationship Id="rId51" Type="http://schemas.openxmlformats.org/officeDocument/2006/relationships/tags" Target="../tags/tag1391.xml"/><Relationship Id="rId72" Type="http://schemas.openxmlformats.org/officeDocument/2006/relationships/tags" Target="../tags/tag1412.xml"/><Relationship Id="rId93" Type="http://schemas.openxmlformats.org/officeDocument/2006/relationships/tags" Target="../tags/tag1433.xml"/><Relationship Id="rId98" Type="http://schemas.openxmlformats.org/officeDocument/2006/relationships/tags" Target="../tags/tag1438.xml"/><Relationship Id="rId121" Type="http://schemas.openxmlformats.org/officeDocument/2006/relationships/image" Target="../media/image1.emf"/><Relationship Id="rId3" Type="http://schemas.openxmlformats.org/officeDocument/2006/relationships/tags" Target="../tags/tag1343.xml"/><Relationship Id="rId25" Type="http://schemas.openxmlformats.org/officeDocument/2006/relationships/tags" Target="../tags/tag1365.xml"/><Relationship Id="rId46" Type="http://schemas.openxmlformats.org/officeDocument/2006/relationships/tags" Target="../tags/tag1386.xml"/><Relationship Id="rId67" Type="http://schemas.openxmlformats.org/officeDocument/2006/relationships/tags" Target="../tags/tag1407.xml"/><Relationship Id="rId116" Type="http://schemas.openxmlformats.org/officeDocument/2006/relationships/tags" Target="../tags/tag1456.xml"/><Relationship Id="rId20" Type="http://schemas.openxmlformats.org/officeDocument/2006/relationships/tags" Target="../tags/tag1360.xml"/><Relationship Id="rId41" Type="http://schemas.openxmlformats.org/officeDocument/2006/relationships/tags" Target="../tags/tag1381.xml"/><Relationship Id="rId62" Type="http://schemas.openxmlformats.org/officeDocument/2006/relationships/tags" Target="../tags/tag1402.xml"/><Relationship Id="rId83" Type="http://schemas.openxmlformats.org/officeDocument/2006/relationships/tags" Target="../tags/tag1423.xml"/><Relationship Id="rId88" Type="http://schemas.openxmlformats.org/officeDocument/2006/relationships/tags" Target="../tags/tag1428.xml"/><Relationship Id="rId111" Type="http://schemas.openxmlformats.org/officeDocument/2006/relationships/tags" Target="../tags/tag1451.xml"/><Relationship Id="rId15" Type="http://schemas.openxmlformats.org/officeDocument/2006/relationships/tags" Target="../tags/tag1355.xml"/><Relationship Id="rId36" Type="http://schemas.openxmlformats.org/officeDocument/2006/relationships/tags" Target="../tags/tag1376.xml"/><Relationship Id="rId57" Type="http://schemas.openxmlformats.org/officeDocument/2006/relationships/tags" Target="../tags/tag1397.xml"/><Relationship Id="rId106" Type="http://schemas.openxmlformats.org/officeDocument/2006/relationships/tags" Target="../tags/tag1446.xml"/><Relationship Id="rId10" Type="http://schemas.openxmlformats.org/officeDocument/2006/relationships/tags" Target="../tags/tag1350.xml"/><Relationship Id="rId31" Type="http://schemas.openxmlformats.org/officeDocument/2006/relationships/tags" Target="../tags/tag1371.xml"/><Relationship Id="rId52" Type="http://schemas.openxmlformats.org/officeDocument/2006/relationships/tags" Target="../tags/tag1392.xml"/><Relationship Id="rId73" Type="http://schemas.openxmlformats.org/officeDocument/2006/relationships/tags" Target="../tags/tag1413.xml"/><Relationship Id="rId78" Type="http://schemas.openxmlformats.org/officeDocument/2006/relationships/tags" Target="../tags/tag1418.xml"/><Relationship Id="rId94" Type="http://schemas.openxmlformats.org/officeDocument/2006/relationships/tags" Target="../tags/tag1434.xml"/><Relationship Id="rId99" Type="http://schemas.openxmlformats.org/officeDocument/2006/relationships/tags" Target="../tags/tag1439.xml"/><Relationship Id="rId101" Type="http://schemas.openxmlformats.org/officeDocument/2006/relationships/tags" Target="../tags/tag1441.xml"/><Relationship Id="rId122" Type="http://schemas.openxmlformats.org/officeDocument/2006/relationships/chart" Target="../charts/chart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.xml"/></Relationships>
</file>

<file path=ppt/slides/_rels/slide30.xml.rels><?xml version="1.0" encoding="UTF-8" standalone="yes"?>
<Relationships xmlns="http://schemas.openxmlformats.org/package/2006/relationships"><Relationship Id="rId117" Type="http://schemas.openxmlformats.org/officeDocument/2006/relationships/tags" Target="../tags/tag1574.xml"/><Relationship Id="rId21" Type="http://schemas.openxmlformats.org/officeDocument/2006/relationships/tags" Target="../tags/tag1478.xml"/><Relationship Id="rId42" Type="http://schemas.openxmlformats.org/officeDocument/2006/relationships/tags" Target="../tags/tag1499.xml"/><Relationship Id="rId63" Type="http://schemas.openxmlformats.org/officeDocument/2006/relationships/tags" Target="../tags/tag1520.xml"/><Relationship Id="rId84" Type="http://schemas.openxmlformats.org/officeDocument/2006/relationships/tags" Target="../tags/tag1541.xml"/><Relationship Id="rId138" Type="http://schemas.openxmlformats.org/officeDocument/2006/relationships/tags" Target="../tags/tag1595.xml"/><Relationship Id="rId107" Type="http://schemas.openxmlformats.org/officeDocument/2006/relationships/tags" Target="../tags/tag1564.xml"/><Relationship Id="rId11" Type="http://schemas.openxmlformats.org/officeDocument/2006/relationships/tags" Target="../tags/tag1468.xml"/><Relationship Id="rId32" Type="http://schemas.openxmlformats.org/officeDocument/2006/relationships/tags" Target="../tags/tag1489.xml"/><Relationship Id="rId53" Type="http://schemas.openxmlformats.org/officeDocument/2006/relationships/tags" Target="../tags/tag1510.xml"/><Relationship Id="rId74" Type="http://schemas.openxmlformats.org/officeDocument/2006/relationships/tags" Target="../tags/tag1531.xml"/><Relationship Id="rId128" Type="http://schemas.openxmlformats.org/officeDocument/2006/relationships/tags" Target="../tags/tag1585.xml"/><Relationship Id="rId149" Type="http://schemas.openxmlformats.org/officeDocument/2006/relationships/tags" Target="../tags/tag1606.xml"/><Relationship Id="rId5" Type="http://schemas.openxmlformats.org/officeDocument/2006/relationships/tags" Target="../tags/tag1462.xml"/><Relationship Id="rId95" Type="http://schemas.openxmlformats.org/officeDocument/2006/relationships/tags" Target="../tags/tag1552.xml"/><Relationship Id="rId22" Type="http://schemas.openxmlformats.org/officeDocument/2006/relationships/tags" Target="../tags/tag1479.xml"/><Relationship Id="rId43" Type="http://schemas.openxmlformats.org/officeDocument/2006/relationships/tags" Target="../tags/tag1500.xml"/><Relationship Id="rId64" Type="http://schemas.openxmlformats.org/officeDocument/2006/relationships/tags" Target="../tags/tag1521.xml"/><Relationship Id="rId118" Type="http://schemas.openxmlformats.org/officeDocument/2006/relationships/tags" Target="../tags/tag1575.xml"/><Relationship Id="rId139" Type="http://schemas.openxmlformats.org/officeDocument/2006/relationships/tags" Target="../tags/tag1596.xml"/><Relationship Id="rId80" Type="http://schemas.openxmlformats.org/officeDocument/2006/relationships/tags" Target="../tags/tag1537.xml"/><Relationship Id="rId85" Type="http://schemas.openxmlformats.org/officeDocument/2006/relationships/tags" Target="../tags/tag1542.xml"/><Relationship Id="rId150" Type="http://schemas.openxmlformats.org/officeDocument/2006/relationships/tags" Target="../tags/tag1607.xml"/><Relationship Id="rId155" Type="http://schemas.openxmlformats.org/officeDocument/2006/relationships/oleObject" Target="../embeddings/oleObject40.bin"/><Relationship Id="rId12" Type="http://schemas.openxmlformats.org/officeDocument/2006/relationships/tags" Target="../tags/tag1469.xml"/><Relationship Id="rId17" Type="http://schemas.openxmlformats.org/officeDocument/2006/relationships/tags" Target="../tags/tag1474.xml"/><Relationship Id="rId33" Type="http://schemas.openxmlformats.org/officeDocument/2006/relationships/tags" Target="../tags/tag1490.xml"/><Relationship Id="rId38" Type="http://schemas.openxmlformats.org/officeDocument/2006/relationships/tags" Target="../tags/tag1495.xml"/><Relationship Id="rId59" Type="http://schemas.openxmlformats.org/officeDocument/2006/relationships/tags" Target="../tags/tag1516.xml"/><Relationship Id="rId103" Type="http://schemas.openxmlformats.org/officeDocument/2006/relationships/tags" Target="../tags/tag1560.xml"/><Relationship Id="rId108" Type="http://schemas.openxmlformats.org/officeDocument/2006/relationships/tags" Target="../tags/tag1565.xml"/><Relationship Id="rId124" Type="http://schemas.openxmlformats.org/officeDocument/2006/relationships/tags" Target="../tags/tag1581.xml"/><Relationship Id="rId129" Type="http://schemas.openxmlformats.org/officeDocument/2006/relationships/tags" Target="../tags/tag1586.xml"/><Relationship Id="rId54" Type="http://schemas.openxmlformats.org/officeDocument/2006/relationships/tags" Target="../tags/tag1511.xml"/><Relationship Id="rId70" Type="http://schemas.openxmlformats.org/officeDocument/2006/relationships/tags" Target="../tags/tag1527.xml"/><Relationship Id="rId75" Type="http://schemas.openxmlformats.org/officeDocument/2006/relationships/tags" Target="../tags/tag1532.xml"/><Relationship Id="rId91" Type="http://schemas.openxmlformats.org/officeDocument/2006/relationships/tags" Target="../tags/tag1548.xml"/><Relationship Id="rId96" Type="http://schemas.openxmlformats.org/officeDocument/2006/relationships/tags" Target="../tags/tag1553.xml"/><Relationship Id="rId140" Type="http://schemas.openxmlformats.org/officeDocument/2006/relationships/tags" Target="../tags/tag1597.xml"/><Relationship Id="rId145" Type="http://schemas.openxmlformats.org/officeDocument/2006/relationships/tags" Target="../tags/tag1602.xml"/><Relationship Id="rId1" Type="http://schemas.openxmlformats.org/officeDocument/2006/relationships/tags" Target="../tags/tag1458.xml"/><Relationship Id="rId6" Type="http://schemas.openxmlformats.org/officeDocument/2006/relationships/tags" Target="../tags/tag1463.xml"/><Relationship Id="rId23" Type="http://schemas.openxmlformats.org/officeDocument/2006/relationships/tags" Target="../tags/tag1480.xml"/><Relationship Id="rId28" Type="http://schemas.openxmlformats.org/officeDocument/2006/relationships/tags" Target="../tags/tag1485.xml"/><Relationship Id="rId49" Type="http://schemas.openxmlformats.org/officeDocument/2006/relationships/tags" Target="../tags/tag1506.xml"/><Relationship Id="rId114" Type="http://schemas.openxmlformats.org/officeDocument/2006/relationships/tags" Target="../tags/tag1571.xml"/><Relationship Id="rId119" Type="http://schemas.openxmlformats.org/officeDocument/2006/relationships/tags" Target="../tags/tag1576.xml"/><Relationship Id="rId44" Type="http://schemas.openxmlformats.org/officeDocument/2006/relationships/tags" Target="../tags/tag1501.xml"/><Relationship Id="rId60" Type="http://schemas.openxmlformats.org/officeDocument/2006/relationships/tags" Target="../tags/tag1517.xml"/><Relationship Id="rId65" Type="http://schemas.openxmlformats.org/officeDocument/2006/relationships/tags" Target="../tags/tag1522.xml"/><Relationship Id="rId81" Type="http://schemas.openxmlformats.org/officeDocument/2006/relationships/tags" Target="../tags/tag1538.xml"/><Relationship Id="rId86" Type="http://schemas.openxmlformats.org/officeDocument/2006/relationships/tags" Target="../tags/tag1543.xml"/><Relationship Id="rId130" Type="http://schemas.openxmlformats.org/officeDocument/2006/relationships/tags" Target="../tags/tag1587.xml"/><Relationship Id="rId135" Type="http://schemas.openxmlformats.org/officeDocument/2006/relationships/tags" Target="../tags/tag1592.xml"/><Relationship Id="rId151" Type="http://schemas.openxmlformats.org/officeDocument/2006/relationships/tags" Target="../tags/tag1608.xml"/><Relationship Id="rId156" Type="http://schemas.openxmlformats.org/officeDocument/2006/relationships/image" Target="../media/image1.emf"/><Relationship Id="rId13" Type="http://schemas.openxmlformats.org/officeDocument/2006/relationships/tags" Target="../tags/tag1470.xml"/><Relationship Id="rId18" Type="http://schemas.openxmlformats.org/officeDocument/2006/relationships/tags" Target="../tags/tag1475.xml"/><Relationship Id="rId39" Type="http://schemas.openxmlformats.org/officeDocument/2006/relationships/tags" Target="../tags/tag1496.xml"/><Relationship Id="rId109" Type="http://schemas.openxmlformats.org/officeDocument/2006/relationships/tags" Target="../tags/tag1566.xml"/><Relationship Id="rId34" Type="http://schemas.openxmlformats.org/officeDocument/2006/relationships/tags" Target="../tags/tag1491.xml"/><Relationship Id="rId50" Type="http://schemas.openxmlformats.org/officeDocument/2006/relationships/tags" Target="../tags/tag1507.xml"/><Relationship Id="rId55" Type="http://schemas.openxmlformats.org/officeDocument/2006/relationships/tags" Target="../tags/tag1512.xml"/><Relationship Id="rId76" Type="http://schemas.openxmlformats.org/officeDocument/2006/relationships/tags" Target="../tags/tag1533.xml"/><Relationship Id="rId97" Type="http://schemas.openxmlformats.org/officeDocument/2006/relationships/tags" Target="../tags/tag1554.xml"/><Relationship Id="rId104" Type="http://schemas.openxmlformats.org/officeDocument/2006/relationships/tags" Target="../tags/tag1561.xml"/><Relationship Id="rId120" Type="http://schemas.openxmlformats.org/officeDocument/2006/relationships/tags" Target="../tags/tag1577.xml"/><Relationship Id="rId125" Type="http://schemas.openxmlformats.org/officeDocument/2006/relationships/tags" Target="../tags/tag1582.xml"/><Relationship Id="rId141" Type="http://schemas.openxmlformats.org/officeDocument/2006/relationships/tags" Target="../tags/tag1598.xml"/><Relationship Id="rId146" Type="http://schemas.openxmlformats.org/officeDocument/2006/relationships/tags" Target="../tags/tag1603.xml"/><Relationship Id="rId7" Type="http://schemas.openxmlformats.org/officeDocument/2006/relationships/tags" Target="../tags/tag1464.xml"/><Relationship Id="rId71" Type="http://schemas.openxmlformats.org/officeDocument/2006/relationships/tags" Target="../tags/tag1528.xml"/><Relationship Id="rId92" Type="http://schemas.openxmlformats.org/officeDocument/2006/relationships/tags" Target="../tags/tag1549.xml"/><Relationship Id="rId2" Type="http://schemas.openxmlformats.org/officeDocument/2006/relationships/tags" Target="../tags/tag1459.xml"/><Relationship Id="rId29" Type="http://schemas.openxmlformats.org/officeDocument/2006/relationships/tags" Target="../tags/tag1486.xml"/><Relationship Id="rId24" Type="http://schemas.openxmlformats.org/officeDocument/2006/relationships/tags" Target="../tags/tag1481.xml"/><Relationship Id="rId40" Type="http://schemas.openxmlformats.org/officeDocument/2006/relationships/tags" Target="../tags/tag1497.xml"/><Relationship Id="rId45" Type="http://schemas.openxmlformats.org/officeDocument/2006/relationships/tags" Target="../tags/tag1502.xml"/><Relationship Id="rId66" Type="http://schemas.openxmlformats.org/officeDocument/2006/relationships/tags" Target="../tags/tag1523.xml"/><Relationship Id="rId87" Type="http://schemas.openxmlformats.org/officeDocument/2006/relationships/tags" Target="../tags/tag1544.xml"/><Relationship Id="rId110" Type="http://schemas.openxmlformats.org/officeDocument/2006/relationships/tags" Target="../tags/tag1567.xml"/><Relationship Id="rId115" Type="http://schemas.openxmlformats.org/officeDocument/2006/relationships/tags" Target="../tags/tag1572.xml"/><Relationship Id="rId131" Type="http://schemas.openxmlformats.org/officeDocument/2006/relationships/tags" Target="../tags/tag1588.xml"/><Relationship Id="rId136" Type="http://schemas.openxmlformats.org/officeDocument/2006/relationships/tags" Target="../tags/tag1593.xml"/><Relationship Id="rId157" Type="http://schemas.openxmlformats.org/officeDocument/2006/relationships/chart" Target="../charts/chart31.xml"/><Relationship Id="rId61" Type="http://schemas.openxmlformats.org/officeDocument/2006/relationships/tags" Target="../tags/tag1518.xml"/><Relationship Id="rId82" Type="http://schemas.openxmlformats.org/officeDocument/2006/relationships/tags" Target="../tags/tag1539.xml"/><Relationship Id="rId152" Type="http://schemas.openxmlformats.org/officeDocument/2006/relationships/tags" Target="../tags/tag1609.xml"/><Relationship Id="rId19" Type="http://schemas.openxmlformats.org/officeDocument/2006/relationships/tags" Target="../tags/tag1476.xml"/><Relationship Id="rId14" Type="http://schemas.openxmlformats.org/officeDocument/2006/relationships/tags" Target="../tags/tag1471.xml"/><Relationship Id="rId30" Type="http://schemas.openxmlformats.org/officeDocument/2006/relationships/tags" Target="../tags/tag1487.xml"/><Relationship Id="rId35" Type="http://schemas.openxmlformats.org/officeDocument/2006/relationships/tags" Target="../tags/tag1492.xml"/><Relationship Id="rId56" Type="http://schemas.openxmlformats.org/officeDocument/2006/relationships/tags" Target="../tags/tag1513.xml"/><Relationship Id="rId77" Type="http://schemas.openxmlformats.org/officeDocument/2006/relationships/tags" Target="../tags/tag1534.xml"/><Relationship Id="rId100" Type="http://schemas.openxmlformats.org/officeDocument/2006/relationships/tags" Target="../tags/tag1557.xml"/><Relationship Id="rId105" Type="http://schemas.openxmlformats.org/officeDocument/2006/relationships/tags" Target="../tags/tag1562.xml"/><Relationship Id="rId126" Type="http://schemas.openxmlformats.org/officeDocument/2006/relationships/tags" Target="../tags/tag1583.xml"/><Relationship Id="rId147" Type="http://schemas.openxmlformats.org/officeDocument/2006/relationships/tags" Target="../tags/tag1604.xml"/><Relationship Id="rId8" Type="http://schemas.openxmlformats.org/officeDocument/2006/relationships/tags" Target="../tags/tag1465.xml"/><Relationship Id="rId51" Type="http://schemas.openxmlformats.org/officeDocument/2006/relationships/tags" Target="../tags/tag1508.xml"/><Relationship Id="rId72" Type="http://schemas.openxmlformats.org/officeDocument/2006/relationships/tags" Target="../tags/tag1529.xml"/><Relationship Id="rId93" Type="http://schemas.openxmlformats.org/officeDocument/2006/relationships/tags" Target="../tags/tag1550.xml"/><Relationship Id="rId98" Type="http://schemas.openxmlformats.org/officeDocument/2006/relationships/tags" Target="../tags/tag1555.xml"/><Relationship Id="rId121" Type="http://schemas.openxmlformats.org/officeDocument/2006/relationships/tags" Target="../tags/tag1578.xml"/><Relationship Id="rId142" Type="http://schemas.openxmlformats.org/officeDocument/2006/relationships/tags" Target="../tags/tag1599.xml"/><Relationship Id="rId3" Type="http://schemas.openxmlformats.org/officeDocument/2006/relationships/tags" Target="../tags/tag1460.xml"/><Relationship Id="rId25" Type="http://schemas.openxmlformats.org/officeDocument/2006/relationships/tags" Target="../tags/tag1482.xml"/><Relationship Id="rId46" Type="http://schemas.openxmlformats.org/officeDocument/2006/relationships/tags" Target="../tags/tag1503.xml"/><Relationship Id="rId67" Type="http://schemas.openxmlformats.org/officeDocument/2006/relationships/tags" Target="../tags/tag1524.xml"/><Relationship Id="rId116" Type="http://schemas.openxmlformats.org/officeDocument/2006/relationships/tags" Target="../tags/tag1573.xml"/><Relationship Id="rId137" Type="http://schemas.openxmlformats.org/officeDocument/2006/relationships/tags" Target="../tags/tag1594.xml"/><Relationship Id="rId20" Type="http://schemas.openxmlformats.org/officeDocument/2006/relationships/tags" Target="../tags/tag1477.xml"/><Relationship Id="rId41" Type="http://schemas.openxmlformats.org/officeDocument/2006/relationships/tags" Target="../tags/tag1498.xml"/><Relationship Id="rId62" Type="http://schemas.openxmlformats.org/officeDocument/2006/relationships/tags" Target="../tags/tag1519.xml"/><Relationship Id="rId83" Type="http://schemas.openxmlformats.org/officeDocument/2006/relationships/tags" Target="../tags/tag1540.xml"/><Relationship Id="rId88" Type="http://schemas.openxmlformats.org/officeDocument/2006/relationships/tags" Target="../tags/tag1545.xml"/><Relationship Id="rId111" Type="http://schemas.openxmlformats.org/officeDocument/2006/relationships/tags" Target="../tags/tag1568.xml"/><Relationship Id="rId132" Type="http://schemas.openxmlformats.org/officeDocument/2006/relationships/tags" Target="../tags/tag1589.xml"/><Relationship Id="rId153" Type="http://schemas.openxmlformats.org/officeDocument/2006/relationships/slideLayout" Target="../slideLayouts/slideLayout3.xml"/><Relationship Id="rId15" Type="http://schemas.openxmlformats.org/officeDocument/2006/relationships/tags" Target="../tags/tag1472.xml"/><Relationship Id="rId36" Type="http://schemas.openxmlformats.org/officeDocument/2006/relationships/tags" Target="../tags/tag1493.xml"/><Relationship Id="rId57" Type="http://schemas.openxmlformats.org/officeDocument/2006/relationships/tags" Target="../tags/tag1514.xml"/><Relationship Id="rId106" Type="http://schemas.openxmlformats.org/officeDocument/2006/relationships/tags" Target="../tags/tag1563.xml"/><Relationship Id="rId127" Type="http://schemas.openxmlformats.org/officeDocument/2006/relationships/tags" Target="../tags/tag1584.xml"/><Relationship Id="rId10" Type="http://schemas.openxmlformats.org/officeDocument/2006/relationships/tags" Target="../tags/tag1467.xml"/><Relationship Id="rId31" Type="http://schemas.openxmlformats.org/officeDocument/2006/relationships/tags" Target="../tags/tag1488.xml"/><Relationship Id="rId52" Type="http://schemas.openxmlformats.org/officeDocument/2006/relationships/tags" Target="../tags/tag1509.xml"/><Relationship Id="rId73" Type="http://schemas.openxmlformats.org/officeDocument/2006/relationships/tags" Target="../tags/tag1530.xml"/><Relationship Id="rId78" Type="http://schemas.openxmlformats.org/officeDocument/2006/relationships/tags" Target="../tags/tag1535.xml"/><Relationship Id="rId94" Type="http://schemas.openxmlformats.org/officeDocument/2006/relationships/tags" Target="../tags/tag1551.xml"/><Relationship Id="rId99" Type="http://schemas.openxmlformats.org/officeDocument/2006/relationships/tags" Target="../tags/tag1556.xml"/><Relationship Id="rId101" Type="http://schemas.openxmlformats.org/officeDocument/2006/relationships/tags" Target="../tags/tag1558.xml"/><Relationship Id="rId122" Type="http://schemas.openxmlformats.org/officeDocument/2006/relationships/tags" Target="../tags/tag1579.xml"/><Relationship Id="rId143" Type="http://schemas.openxmlformats.org/officeDocument/2006/relationships/tags" Target="../tags/tag1600.xml"/><Relationship Id="rId148" Type="http://schemas.openxmlformats.org/officeDocument/2006/relationships/tags" Target="../tags/tag1605.xml"/><Relationship Id="rId4" Type="http://schemas.openxmlformats.org/officeDocument/2006/relationships/tags" Target="../tags/tag1461.xml"/><Relationship Id="rId9" Type="http://schemas.openxmlformats.org/officeDocument/2006/relationships/tags" Target="../tags/tag1466.xml"/><Relationship Id="rId26" Type="http://schemas.openxmlformats.org/officeDocument/2006/relationships/tags" Target="../tags/tag1483.xml"/><Relationship Id="rId47" Type="http://schemas.openxmlformats.org/officeDocument/2006/relationships/tags" Target="../tags/tag1504.xml"/><Relationship Id="rId68" Type="http://schemas.openxmlformats.org/officeDocument/2006/relationships/tags" Target="../tags/tag1525.xml"/><Relationship Id="rId89" Type="http://schemas.openxmlformats.org/officeDocument/2006/relationships/tags" Target="../tags/tag1546.xml"/><Relationship Id="rId112" Type="http://schemas.openxmlformats.org/officeDocument/2006/relationships/tags" Target="../tags/tag1569.xml"/><Relationship Id="rId133" Type="http://schemas.openxmlformats.org/officeDocument/2006/relationships/tags" Target="../tags/tag1590.xml"/><Relationship Id="rId154" Type="http://schemas.openxmlformats.org/officeDocument/2006/relationships/notesSlide" Target="../notesSlides/notesSlide5.xml"/><Relationship Id="rId16" Type="http://schemas.openxmlformats.org/officeDocument/2006/relationships/tags" Target="../tags/tag1473.xml"/><Relationship Id="rId37" Type="http://schemas.openxmlformats.org/officeDocument/2006/relationships/tags" Target="../tags/tag1494.xml"/><Relationship Id="rId58" Type="http://schemas.openxmlformats.org/officeDocument/2006/relationships/tags" Target="../tags/tag1515.xml"/><Relationship Id="rId79" Type="http://schemas.openxmlformats.org/officeDocument/2006/relationships/tags" Target="../tags/tag1536.xml"/><Relationship Id="rId102" Type="http://schemas.openxmlformats.org/officeDocument/2006/relationships/tags" Target="../tags/tag1559.xml"/><Relationship Id="rId123" Type="http://schemas.openxmlformats.org/officeDocument/2006/relationships/tags" Target="../tags/tag1580.xml"/><Relationship Id="rId144" Type="http://schemas.openxmlformats.org/officeDocument/2006/relationships/tags" Target="../tags/tag1601.xml"/><Relationship Id="rId90" Type="http://schemas.openxmlformats.org/officeDocument/2006/relationships/tags" Target="../tags/tag1547.xml"/><Relationship Id="rId27" Type="http://schemas.openxmlformats.org/officeDocument/2006/relationships/tags" Target="../tags/tag1484.xml"/><Relationship Id="rId48" Type="http://schemas.openxmlformats.org/officeDocument/2006/relationships/tags" Target="../tags/tag1505.xml"/><Relationship Id="rId69" Type="http://schemas.openxmlformats.org/officeDocument/2006/relationships/tags" Target="../tags/tag1526.xml"/><Relationship Id="rId113" Type="http://schemas.openxmlformats.org/officeDocument/2006/relationships/tags" Target="../tags/tag1570.xml"/><Relationship Id="rId134" Type="http://schemas.openxmlformats.org/officeDocument/2006/relationships/tags" Target="../tags/tag159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1617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1612.xml"/><Relationship Id="rId7" Type="http://schemas.openxmlformats.org/officeDocument/2006/relationships/tags" Target="../tags/tag1616.xml"/><Relationship Id="rId12" Type="http://schemas.openxmlformats.org/officeDocument/2006/relationships/tags" Target="../tags/tag1621.xml"/><Relationship Id="rId2" Type="http://schemas.openxmlformats.org/officeDocument/2006/relationships/tags" Target="../tags/tag1611.xml"/><Relationship Id="rId16" Type="http://schemas.openxmlformats.org/officeDocument/2006/relationships/chart" Target="../charts/chart32.xml"/><Relationship Id="rId1" Type="http://schemas.openxmlformats.org/officeDocument/2006/relationships/tags" Target="../tags/tag1610.xml"/><Relationship Id="rId6" Type="http://schemas.openxmlformats.org/officeDocument/2006/relationships/tags" Target="../tags/tag1615.xml"/><Relationship Id="rId11" Type="http://schemas.openxmlformats.org/officeDocument/2006/relationships/tags" Target="../tags/tag1620.xml"/><Relationship Id="rId5" Type="http://schemas.openxmlformats.org/officeDocument/2006/relationships/tags" Target="../tags/tag1614.xml"/><Relationship Id="rId15" Type="http://schemas.openxmlformats.org/officeDocument/2006/relationships/oleObject" Target="../embeddings/oleObject41.bin"/><Relationship Id="rId10" Type="http://schemas.openxmlformats.org/officeDocument/2006/relationships/tags" Target="../tags/tag1619.xml"/><Relationship Id="rId4" Type="http://schemas.openxmlformats.org/officeDocument/2006/relationships/tags" Target="../tags/tag1613.xml"/><Relationship Id="rId9" Type="http://schemas.openxmlformats.org/officeDocument/2006/relationships/tags" Target="../tags/tag1618.xml"/><Relationship Id="rId14" Type="http://schemas.openxmlformats.org/officeDocument/2006/relationships/notesSlide" Target="../notesSlides/notesSlide6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1629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1624.xml"/><Relationship Id="rId7" Type="http://schemas.openxmlformats.org/officeDocument/2006/relationships/tags" Target="../tags/tag1628.xml"/><Relationship Id="rId12" Type="http://schemas.openxmlformats.org/officeDocument/2006/relationships/tags" Target="../tags/tag1633.xml"/><Relationship Id="rId2" Type="http://schemas.openxmlformats.org/officeDocument/2006/relationships/tags" Target="../tags/tag1623.xml"/><Relationship Id="rId16" Type="http://schemas.openxmlformats.org/officeDocument/2006/relationships/chart" Target="../charts/chart33.xml"/><Relationship Id="rId1" Type="http://schemas.openxmlformats.org/officeDocument/2006/relationships/tags" Target="../tags/tag1622.xml"/><Relationship Id="rId6" Type="http://schemas.openxmlformats.org/officeDocument/2006/relationships/tags" Target="../tags/tag1627.xml"/><Relationship Id="rId11" Type="http://schemas.openxmlformats.org/officeDocument/2006/relationships/tags" Target="../tags/tag1632.xml"/><Relationship Id="rId5" Type="http://schemas.openxmlformats.org/officeDocument/2006/relationships/tags" Target="../tags/tag1626.xml"/><Relationship Id="rId15" Type="http://schemas.openxmlformats.org/officeDocument/2006/relationships/oleObject" Target="../embeddings/oleObject42.bin"/><Relationship Id="rId10" Type="http://schemas.openxmlformats.org/officeDocument/2006/relationships/tags" Target="../tags/tag1631.xml"/><Relationship Id="rId4" Type="http://schemas.openxmlformats.org/officeDocument/2006/relationships/tags" Target="../tags/tag1625.xml"/><Relationship Id="rId9" Type="http://schemas.openxmlformats.org/officeDocument/2006/relationships/tags" Target="../tags/tag1630.xml"/><Relationship Id="rId14" Type="http://schemas.openxmlformats.org/officeDocument/2006/relationships/notesSlide" Target="../notesSlides/notesSlide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26" Type="http://schemas.openxmlformats.org/officeDocument/2006/relationships/tags" Target="../tags/tag1659.xml"/><Relationship Id="rId21" Type="http://schemas.openxmlformats.org/officeDocument/2006/relationships/tags" Target="../tags/tag1654.xml"/><Relationship Id="rId34" Type="http://schemas.openxmlformats.org/officeDocument/2006/relationships/tags" Target="../tags/tag1667.xml"/><Relationship Id="rId42" Type="http://schemas.openxmlformats.org/officeDocument/2006/relationships/tags" Target="../tags/tag1675.xml"/><Relationship Id="rId47" Type="http://schemas.openxmlformats.org/officeDocument/2006/relationships/oleObject" Target="../embeddings/oleObject43.bin"/><Relationship Id="rId50" Type="http://schemas.openxmlformats.org/officeDocument/2006/relationships/image" Target="../media/image19.jpeg"/><Relationship Id="rId55" Type="http://schemas.openxmlformats.org/officeDocument/2006/relationships/image" Target="../media/image24.jpeg"/><Relationship Id="rId63" Type="http://schemas.openxmlformats.org/officeDocument/2006/relationships/image" Target="../media/image32.jpeg"/><Relationship Id="rId7" Type="http://schemas.openxmlformats.org/officeDocument/2006/relationships/tags" Target="../tags/tag1640.xml"/><Relationship Id="rId2" Type="http://schemas.openxmlformats.org/officeDocument/2006/relationships/tags" Target="../tags/tag1635.xml"/><Relationship Id="rId16" Type="http://schemas.openxmlformats.org/officeDocument/2006/relationships/tags" Target="../tags/tag1649.xml"/><Relationship Id="rId29" Type="http://schemas.openxmlformats.org/officeDocument/2006/relationships/tags" Target="../tags/tag1662.xml"/><Relationship Id="rId11" Type="http://schemas.openxmlformats.org/officeDocument/2006/relationships/tags" Target="../tags/tag1644.xml"/><Relationship Id="rId24" Type="http://schemas.openxmlformats.org/officeDocument/2006/relationships/tags" Target="../tags/tag1657.xml"/><Relationship Id="rId32" Type="http://schemas.openxmlformats.org/officeDocument/2006/relationships/tags" Target="../tags/tag1665.xml"/><Relationship Id="rId37" Type="http://schemas.openxmlformats.org/officeDocument/2006/relationships/tags" Target="../tags/tag1670.xml"/><Relationship Id="rId40" Type="http://schemas.openxmlformats.org/officeDocument/2006/relationships/tags" Target="../tags/tag1673.xml"/><Relationship Id="rId45" Type="http://schemas.openxmlformats.org/officeDocument/2006/relationships/tags" Target="../tags/tag1678.xml"/><Relationship Id="rId53" Type="http://schemas.openxmlformats.org/officeDocument/2006/relationships/image" Target="../media/image22.jpeg"/><Relationship Id="rId58" Type="http://schemas.openxmlformats.org/officeDocument/2006/relationships/image" Target="../media/image27.jpeg"/><Relationship Id="rId66" Type="http://schemas.openxmlformats.org/officeDocument/2006/relationships/image" Target="../media/image35.png"/><Relationship Id="rId5" Type="http://schemas.openxmlformats.org/officeDocument/2006/relationships/tags" Target="../tags/tag1638.xml"/><Relationship Id="rId61" Type="http://schemas.openxmlformats.org/officeDocument/2006/relationships/image" Target="../media/image30.jpeg"/><Relationship Id="rId19" Type="http://schemas.openxmlformats.org/officeDocument/2006/relationships/tags" Target="../tags/tag1652.xml"/><Relationship Id="rId14" Type="http://schemas.openxmlformats.org/officeDocument/2006/relationships/tags" Target="../tags/tag1647.xml"/><Relationship Id="rId22" Type="http://schemas.openxmlformats.org/officeDocument/2006/relationships/tags" Target="../tags/tag1655.xml"/><Relationship Id="rId27" Type="http://schemas.openxmlformats.org/officeDocument/2006/relationships/tags" Target="../tags/tag1660.xml"/><Relationship Id="rId30" Type="http://schemas.openxmlformats.org/officeDocument/2006/relationships/tags" Target="../tags/tag1663.xml"/><Relationship Id="rId35" Type="http://schemas.openxmlformats.org/officeDocument/2006/relationships/tags" Target="../tags/tag1668.xml"/><Relationship Id="rId43" Type="http://schemas.openxmlformats.org/officeDocument/2006/relationships/tags" Target="../tags/tag1676.xml"/><Relationship Id="rId48" Type="http://schemas.openxmlformats.org/officeDocument/2006/relationships/chart" Target="../charts/chart34.xml"/><Relationship Id="rId56" Type="http://schemas.openxmlformats.org/officeDocument/2006/relationships/image" Target="../media/image25.jpeg"/><Relationship Id="rId64" Type="http://schemas.openxmlformats.org/officeDocument/2006/relationships/image" Target="../media/image33.jpeg"/><Relationship Id="rId8" Type="http://schemas.openxmlformats.org/officeDocument/2006/relationships/tags" Target="../tags/tag1641.xml"/><Relationship Id="rId51" Type="http://schemas.openxmlformats.org/officeDocument/2006/relationships/image" Target="../media/image20.jpeg"/><Relationship Id="rId3" Type="http://schemas.openxmlformats.org/officeDocument/2006/relationships/tags" Target="../tags/tag1636.xml"/><Relationship Id="rId12" Type="http://schemas.openxmlformats.org/officeDocument/2006/relationships/tags" Target="../tags/tag1645.xml"/><Relationship Id="rId17" Type="http://schemas.openxmlformats.org/officeDocument/2006/relationships/tags" Target="../tags/tag1650.xml"/><Relationship Id="rId25" Type="http://schemas.openxmlformats.org/officeDocument/2006/relationships/tags" Target="../tags/tag1658.xml"/><Relationship Id="rId33" Type="http://schemas.openxmlformats.org/officeDocument/2006/relationships/tags" Target="../tags/tag1666.xml"/><Relationship Id="rId38" Type="http://schemas.openxmlformats.org/officeDocument/2006/relationships/tags" Target="../tags/tag1671.xml"/><Relationship Id="rId46" Type="http://schemas.openxmlformats.org/officeDocument/2006/relationships/slideLayout" Target="../slideLayouts/slideLayout3.xml"/><Relationship Id="rId59" Type="http://schemas.openxmlformats.org/officeDocument/2006/relationships/image" Target="../media/image28.jpeg"/><Relationship Id="rId20" Type="http://schemas.openxmlformats.org/officeDocument/2006/relationships/tags" Target="../tags/tag1653.xml"/><Relationship Id="rId41" Type="http://schemas.openxmlformats.org/officeDocument/2006/relationships/tags" Target="../tags/tag1674.xml"/><Relationship Id="rId54" Type="http://schemas.openxmlformats.org/officeDocument/2006/relationships/image" Target="../media/image23.jpeg"/><Relationship Id="rId62" Type="http://schemas.openxmlformats.org/officeDocument/2006/relationships/image" Target="../media/image31.jpeg"/><Relationship Id="rId1" Type="http://schemas.openxmlformats.org/officeDocument/2006/relationships/tags" Target="../tags/tag1634.xml"/><Relationship Id="rId6" Type="http://schemas.openxmlformats.org/officeDocument/2006/relationships/tags" Target="../tags/tag1639.xml"/><Relationship Id="rId15" Type="http://schemas.openxmlformats.org/officeDocument/2006/relationships/tags" Target="../tags/tag1648.xml"/><Relationship Id="rId23" Type="http://schemas.openxmlformats.org/officeDocument/2006/relationships/tags" Target="../tags/tag1656.xml"/><Relationship Id="rId28" Type="http://schemas.openxmlformats.org/officeDocument/2006/relationships/tags" Target="../tags/tag1661.xml"/><Relationship Id="rId36" Type="http://schemas.openxmlformats.org/officeDocument/2006/relationships/tags" Target="../tags/tag1669.xml"/><Relationship Id="rId49" Type="http://schemas.openxmlformats.org/officeDocument/2006/relationships/image" Target="../media/image18.jpeg"/><Relationship Id="rId57" Type="http://schemas.openxmlformats.org/officeDocument/2006/relationships/image" Target="../media/image26.jpeg"/><Relationship Id="rId10" Type="http://schemas.openxmlformats.org/officeDocument/2006/relationships/tags" Target="../tags/tag1643.xml"/><Relationship Id="rId31" Type="http://schemas.openxmlformats.org/officeDocument/2006/relationships/tags" Target="../tags/tag1664.xml"/><Relationship Id="rId44" Type="http://schemas.openxmlformats.org/officeDocument/2006/relationships/tags" Target="../tags/tag1677.xml"/><Relationship Id="rId52" Type="http://schemas.openxmlformats.org/officeDocument/2006/relationships/image" Target="../media/image21.jpeg"/><Relationship Id="rId60" Type="http://schemas.openxmlformats.org/officeDocument/2006/relationships/image" Target="../media/image29.jpeg"/><Relationship Id="rId65" Type="http://schemas.openxmlformats.org/officeDocument/2006/relationships/image" Target="../media/image34.png"/><Relationship Id="rId4" Type="http://schemas.openxmlformats.org/officeDocument/2006/relationships/tags" Target="../tags/tag1637.xml"/><Relationship Id="rId9" Type="http://schemas.openxmlformats.org/officeDocument/2006/relationships/tags" Target="../tags/tag1642.xml"/><Relationship Id="rId13" Type="http://schemas.openxmlformats.org/officeDocument/2006/relationships/tags" Target="../tags/tag1646.xml"/><Relationship Id="rId18" Type="http://schemas.openxmlformats.org/officeDocument/2006/relationships/tags" Target="../tags/tag1651.xml"/><Relationship Id="rId39" Type="http://schemas.openxmlformats.org/officeDocument/2006/relationships/tags" Target="../tags/tag1672.xml"/></Relationships>
</file>

<file path=ppt/slides/_rels/slide36.xml.rels><?xml version="1.0" encoding="UTF-8" standalone="yes"?>
<Relationships xmlns="http://schemas.openxmlformats.org/package/2006/relationships"><Relationship Id="rId13" Type="http://schemas.openxmlformats.org/officeDocument/2006/relationships/tags" Target="../tags/tag1691.xml"/><Relationship Id="rId18" Type="http://schemas.openxmlformats.org/officeDocument/2006/relationships/tags" Target="../tags/tag1696.xml"/><Relationship Id="rId26" Type="http://schemas.openxmlformats.org/officeDocument/2006/relationships/notesSlide" Target="../notesSlides/notesSlide8.xml"/><Relationship Id="rId39" Type="http://schemas.openxmlformats.org/officeDocument/2006/relationships/image" Target="../media/image28.jpeg"/><Relationship Id="rId21" Type="http://schemas.openxmlformats.org/officeDocument/2006/relationships/tags" Target="../tags/tag1699.xml"/><Relationship Id="rId34" Type="http://schemas.openxmlformats.org/officeDocument/2006/relationships/image" Target="../media/image23.jpeg"/><Relationship Id="rId42" Type="http://schemas.openxmlformats.org/officeDocument/2006/relationships/image" Target="../media/image31.jpeg"/><Relationship Id="rId7" Type="http://schemas.openxmlformats.org/officeDocument/2006/relationships/tags" Target="../tags/tag1685.xml"/><Relationship Id="rId2" Type="http://schemas.openxmlformats.org/officeDocument/2006/relationships/tags" Target="../tags/tag1680.xml"/><Relationship Id="rId16" Type="http://schemas.openxmlformats.org/officeDocument/2006/relationships/tags" Target="../tags/tag1694.xml"/><Relationship Id="rId29" Type="http://schemas.openxmlformats.org/officeDocument/2006/relationships/image" Target="../media/image18.jpeg"/><Relationship Id="rId1" Type="http://schemas.openxmlformats.org/officeDocument/2006/relationships/tags" Target="../tags/tag1679.xml"/><Relationship Id="rId6" Type="http://schemas.openxmlformats.org/officeDocument/2006/relationships/tags" Target="../tags/tag1684.xml"/><Relationship Id="rId11" Type="http://schemas.openxmlformats.org/officeDocument/2006/relationships/tags" Target="../tags/tag1689.xml"/><Relationship Id="rId24" Type="http://schemas.openxmlformats.org/officeDocument/2006/relationships/tags" Target="../tags/tag1702.xml"/><Relationship Id="rId32" Type="http://schemas.openxmlformats.org/officeDocument/2006/relationships/image" Target="../media/image21.jpeg"/><Relationship Id="rId37" Type="http://schemas.openxmlformats.org/officeDocument/2006/relationships/image" Target="../media/image26.jpeg"/><Relationship Id="rId40" Type="http://schemas.openxmlformats.org/officeDocument/2006/relationships/image" Target="../media/image29.jpeg"/><Relationship Id="rId45" Type="http://schemas.openxmlformats.org/officeDocument/2006/relationships/image" Target="../media/image34.png"/><Relationship Id="rId5" Type="http://schemas.openxmlformats.org/officeDocument/2006/relationships/tags" Target="../tags/tag1683.xml"/><Relationship Id="rId15" Type="http://schemas.openxmlformats.org/officeDocument/2006/relationships/tags" Target="../tags/tag1693.xml"/><Relationship Id="rId23" Type="http://schemas.openxmlformats.org/officeDocument/2006/relationships/tags" Target="../tags/tag1701.xml"/><Relationship Id="rId28" Type="http://schemas.openxmlformats.org/officeDocument/2006/relationships/chart" Target="../charts/chart35.xml"/><Relationship Id="rId36" Type="http://schemas.openxmlformats.org/officeDocument/2006/relationships/image" Target="../media/image25.jpeg"/><Relationship Id="rId10" Type="http://schemas.openxmlformats.org/officeDocument/2006/relationships/tags" Target="../tags/tag1688.xml"/><Relationship Id="rId19" Type="http://schemas.openxmlformats.org/officeDocument/2006/relationships/tags" Target="../tags/tag1697.xml"/><Relationship Id="rId31" Type="http://schemas.openxmlformats.org/officeDocument/2006/relationships/image" Target="../media/image20.jpeg"/><Relationship Id="rId44" Type="http://schemas.openxmlformats.org/officeDocument/2006/relationships/image" Target="../media/image33.jpeg"/><Relationship Id="rId4" Type="http://schemas.openxmlformats.org/officeDocument/2006/relationships/tags" Target="../tags/tag1682.xml"/><Relationship Id="rId9" Type="http://schemas.openxmlformats.org/officeDocument/2006/relationships/tags" Target="../tags/tag1687.xml"/><Relationship Id="rId14" Type="http://schemas.openxmlformats.org/officeDocument/2006/relationships/tags" Target="../tags/tag1692.xml"/><Relationship Id="rId22" Type="http://schemas.openxmlformats.org/officeDocument/2006/relationships/tags" Target="../tags/tag1700.xml"/><Relationship Id="rId27" Type="http://schemas.openxmlformats.org/officeDocument/2006/relationships/oleObject" Target="../embeddings/oleObject44.bin"/><Relationship Id="rId30" Type="http://schemas.openxmlformats.org/officeDocument/2006/relationships/image" Target="../media/image19.jpeg"/><Relationship Id="rId35" Type="http://schemas.openxmlformats.org/officeDocument/2006/relationships/image" Target="../media/image24.jpeg"/><Relationship Id="rId43" Type="http://schemas.openxmlformats.org/officeDocument/2006/relationships/image" Target="../media/image32.jpeg"/><Relationship Id="rId8" Type="http://schemas.openxmlformats.org/officeDocument/2006/relationships/tags" Target="../tags/tag1686.xml"/><Relationship Id="rId3" Type="http://schemas.openxmlformats.org/officeDocument/2006/relationships/tags" Target="../tags/tag1681.xml"/><Relationship Id="rId12" Type="http://schemas.openxmlformats.org/officeDocument/2006/relationships/tags" Target="../tags/tag1690.xml"/><Relationship Id="rId17" Type="http://schemas.openxmlformats.org/officeDocument/2006/relationships/tags" Target="../tags/tag1695.xml"/><Relationship Id="rId25" Type="http://schemas.openxmlformats.org/officeDocument/2006/relationships/slideLayout" Target="../slideLayouts/slideLayout3.xml"/><Relationship Id="rId33" Type="http://schemas.openxmlformats.org/officeDocument/2006/relationships/image" Target="../media/image22.jpeg"/><Relationship Id="rId38" Type="http://schemas.openxmlformats.org/officeDocument/2006/relationships/image" Target="../media/image27.jpeg"/><Relationship Id="rId46" Type="http://schemas.openxmlformats.org/officeDocument/2006/relationships/image" Target="../media/image36.png"/><Relationship Id="rId20" Type="http://schemas.openxmlformats.org/officeDocument/2006/relationships/tags" Target="../tags/tag1698.xml"/><Relationship Id="rId41" Type="http://schemas.openxmlformats.org/officeDocument/2006/relationships/image" Target="../media/image30.jpeg"/></Relationships>
</file>

<file path=ppt/slides/_rels/slide37.xml.rels><?xml version="1.0" encoding="UTF-8" standalone="yes"?>
<Relationships xmlns="http://schemas.openxmlformats.org/package/2006/relationships"><Relationship Id="rId26" Type="http://schemas.openxmlformats.org/officeDocument/2006/relationships/tags" Target="../tags/tag1728.xml"/><Relationship Id="rId21" Type="http://schemas.openxmlformats.org/officeDocument/2006/relationships/tags" Target="../tags/tag1723.xml"/><Relationship Id="rId42" Type="http://schemas.openxmlformats.org/officeDocument/2006/relationships/tags" Target="../tags/tag1744.xml"/><Relationship Id="rId47" Type="http://schemas.openxmlformats.org/officeDocument/2006/relationships/tags" Target="../tags/tag1749.xml"/><Relationship Id="rId63" Type="http://schemas.openxmlformats.org/officeDocument/2006/relationships/image" Target="../media/image24.jpeg"/><Relationship Id="rId68" Type="http://schemas.openxmlformats.org/officeDocument/2006/relationships/image" Target="../media/image29.jpeg"/><Relationship Id="rId2" Type="http://schemas.openxmlformats.org/officeDocument/2006/relationships/tags" Target="../tags/tag1704.xml"/><Relationship Id="rId16" Type="http://schemas.openxmlformats.org/officeDocument/2006/relationships/tags" Target="../tags/tag1718.xml"/><Relationship Id="rId29" Type="http://schemas.openxmlformats.org/officeDocument/2006/relationships/tags" Target="../tags/tag1731.xml"/><Relationship Id="rId11" Type="http://schemas.openxmlformats.org/officeDocument/2006/relationships/tags" Target="../tags/tag1713.xml"/><Relationship Id="rId24" Type="http://schemas.openxmlformats.org/officeDocument/2006/relationships/tags" Target="../tags/tag1726.xml"/><Relationship Id="rId32" Type="http://schemas.openxmlformats.org/officeDocument/2006/relationships/tags" Target="../tags/tag1734.xml"/><Relationship Id="rId37" Type="http://schemas.openxmlformats.org/officeDocument/2006/relationships/tags" Target="../tags/tag1739.xml"/><Relationship Id="rId40" Type="http://schemas.openxmlformats.org/officeDocument/2006/relationships/tags" Target="../tags/tag1742.xml"/><Relationship Id="rId45" Type="http://schemas.openxmlformats.org/officeDocument/2006/relationships/tags" Target="../tags/tag1747.xml"/><Relationship Id="rId53" Type="http://schemas.openxmlformats.org/officeDocument/2006/relationships/tags" Target="../tags/tag1755.xml"/><Relationship Id="rId58" Type="http://schemas.openxmlformats.org/officeDocument/2006/relationships/image" Target="../media/image19.jpeg"/><Relationship Id="rId66" Type="http://schemas.openxmlformats.org/officeDocument/2006/relationships/image" Target="../media/image27.jpeg"/><Relationship Id="rId74" Type="http://schemas.openxmlformats.org/officeDocument/2006/relationships/image" Target="../media/image35.png"/><Relationship Id="rId5" Type="http://schemas.openxmlformats.org/officeDocument/2006/relationships/tags" Target="../tags/tag1707.xml"/><Relationship Id="rId61" Type="http://schemas.openxmlformats.org/officeDocument/2006/relationships/image" Target="../media/image22.jpeg"/><Relationship Id="rId19" Type="http://schemas.openxmlformats.org/officeDocument/2006/relationships/tags" Target="../tags/tag1721.xml"/><Relationship Id="rId14" Type="http://schemas.openxmlformats.org/officeDocument/2006/relationships/tags" Target="../tags/tag1716.xml"/><Relationship Id="rId22" Type="http://schemas.openxmlformats.org/officeDocument/2006/relationships/tags" Target="../tags/tag1724.xml"/><Relationship Id="rId27" Type="http://schemas.openxmlformats.org/officeDocument/2006/relationships/tags" Target="../tags/tag1729.xml"/><Relationship Id="rId30" Type="http://schemas.openxmlformats.org/officeDocument/2006/relationships/tags" Target="../tags/tag1732.xml"/><Relationship Id="rId35" Type="http://schemas.openxmlformats.org/officeDocument/2006/relationships/tags" Target="../tags/tag1737.xml"/><Relationship Id="rId43" Type="http://schemas.openxmlformats.org/officeDocument/2006/relationships/tags" Target="../tags/tag1745.xml"/><Relationship Id="rId48" Type="http://schemas.openxmlformats.org/officeDocument/2006/relationships/tags" Target="../tags/tag1750.xml"/><Relationship Id="rId56" Type="http://schemas.openxmlformats.org/officeDocument/2006/relationships/chart" Target="../charts/chart36.xml"/><Relationship Id="rId64" Type="http://schemas.openxmlformats.org/officeDocument/2006/relationships/image" Target="../media/image25.jpeg"/><Relationship Id="rId69" Type="http://schemas.openxmlformats.org/officeDocument/2006/relationships/image" Target="../media/image30.jpeg"/><Relationship Id="rId8" Type="http://schemas.openxmlformats.org/officeDocument/2006/relationships/tags" Target="../tags/tag1710.xml"/><Relationship Id="rId51" Type="http://schemas.openxmlformats.org/officeDocument/2006/relationships/tags" Target="../tags/tag1753.xml"/><Relationship Id="rId72" Type="http://schemas.openxmlformats.org/officeDocument/2006/relationships/image" Target="../media/image33.jpeg"/><Relationship Id="rId3" Type="http://schemas.openxmlformats.org/officeDocument/2006/relationships/tags" Target="../tags/tag1705.xml"/><Relationship Id="rId12" Type="http://schemas.openxmlformats.org/officeDocument/2006/relationships/tags" Target="../tags/tag1714.xml"/><Relationship Id="rId17" Type="http://schemas.openxmlformats.org/officeDocument/2006/relationships/tags" Target="../tags/tag1719.xml"/><Relationship Id="rId25" Type="http://schemas.openxmlformats.org/officeDocument/2006/relationships/tags" Target="../tags/tag1727.xml"/><Relationship Id="rId33" Type="http://schemas.openxmlformats.org/officeDocument/2006/relationships/tags" Target="../tags/tag1735.xml"/><Relationship Id="rId38" Type="http://schemas.openxmlformats.org/officeDocument/2006/relationships/tags" Target="../tags/tag1740.xml"/><Relationship Id="rId46" Type="http://schemas.openxmlformats.org/officeDocument/2006/relationships/tags" Target="../tags/tag1748.xml"/><Relationship Id="rId59" Type="http://schemas.openxmlformats.org/officeDocument/2006/relationships/image" Target="../media/image20.jpeg"/><Relationship Id="rId67" Type="http://schemas.openxmlformats.org/officeDocument/2006/relationships/image" Target="../media/image28.jpeg"/><Relationship Id="rId20" Type="http://schemas.openxmlformats.org/officeDocument/2006/relationships/tags" Target="../tags/tag1722.xml"/><Relationship Id="rId41" Type="http://schemas.openxmlformats.org/officeDocument/2006/relationships/tags" Target="../tags/tag1743.xml"/><Relationship Id="rId54" Type="http://schemas.openxmlformats.org/officeDocument/2006/relationships/slideLayout" Target="../slideLayouts/slideLayout3.xml"/><Relationship Id="rId62" Type="http://schemas.openxmlformats.org/officeDocument/2006/relationships/image" Target="../media/image23.jpeg"/><Relationship Id="rId70" Type="http://schemas.openxmlformats.org/officeDocument/2006/relationships/image" Target="../media/image31.jpeg"/><Relationship Id="rId1" Type="http://schemas.openxmlformats.org/officeDocument/2006/relationships/tags" Target="../tags/tag1703.xml"/><Relationship Id="rId6" Type="http://schemas.openxmlformats.org/officeDocument/2006/relationships/tags" Target="../tags/tag1708.xml"/><Relationship Id="rId15" Type="http://schemas.openxmlformats.org/officeDocument/2006/relationships/tags" Target="../tags/tag1717.xml"/><Relationship Id="rId23" Type="http://schemas.openxmlformats.org/officeDocument/2006/relationships/tags" Target="../tags/tag1725.xml"/><Relationship Id="rId28" Type="http://schemas.openxmlformats.org/officeDocument/2006/relationships/tags" Target="../tags/tag1730.xml"/><Relationship Id="rId36" Type="http://schemas.openxmlformats.org/officeDocument/2006/relationships/tags" Target="../tags/tag1738.xml"/><Relationship Id="rId49" Type="http://schemas.openxmlformats.org/officeDocument/2006/relationships/tags" Target="../tags/tag1751.xml"/><Relationship Id="rId57" Type="http://schemas.openxmlformats.org/officeDocument/2006/relationships/image" Target="../media/image18.jpeg"/><Relationship Id="rId10" Type="http://schemas.openxmlformats.org/officeDocument/2006/relationships/tags" Target="../tags/tag1712.xml"/><Relationship Id="rId31" Type="http://schemas.openxmlformats.org/officeDocument/2006/relationships/tags" Target="../tags/tag1733.xml"/><Relationship Id="rId44" Type="http://schemas.openxmlformats.org/officeDocument/2006/relationships/tags" Target="../tags/tag1746.xml"/><Relationship Id="rId52" Type="http://schemas.openxmlformats.org/officeDocument/2006/relationships/tags" Target="../tags/tag1754.xml"/><Relationship Id="rId60" Type="http://schemas.openxmlformats.org/officeDocument/2006/relationships/image" Target="../media/image21.jpeg"/><Relationship Id="rId65" Type="http://schemas.openxmlformats.org/officeDocument/2006/relationships/image" Target="../media/image26.jpeg"/><Relationship Id="rId73" Type="http://schemas.openxmlformats.org/officeDocument/2006/relationships/image" Target="../media/image34.png"/><Relationship Id="rId4" Type="http://schemas.openxmlformats.org/officeDocument/2006/relationships/tags" Target="../tags/tag1706.xml"/><Relationship Id="rId9" Type="http://schemas.openxmlformats.org/officeDocument/2006/relationships/tags" Target="../tags/tag1711.xml"/><Relationship Id="rId13" Type="http://schemas.openxmlformats.org/officeDocument/2006/relationships/tags" Target="../tags/tag1715.xml"/><Relationship Id="rId18" Type="http://schemas.openxmlformats.org/officeDocument/2006/relationships/tags" Target="../tags/tag1720.xml"/><Relationship Id="rId39" Type="http://schemas.openxmlformats.org/officeDocument/2006/relationships/tags" Target="../tags/tag1741.xml"/><Relationship Id="rId34" Type="http://schemas.openxmlformats.org/officeDocument/2006/relationships/tags" Target="../tags/tag1736.xml"/><Relationship Id="rId50" Type="http://schemas.openxmlformats.org/officeDocument/2006/relationships/tags" Target="../tags/tag1752.xml"/><Relationship Id="rId55" Type="http://schemas.openxmlformats.org/officeDocument/2006/relationships/oleObject" Target="../embeddings/oleObject45.bin"/><Relationship Id="rId7" Type="http://schemas.openxmlformats.org/officeDocument/2006/relationships/tags" Target="../tags/tag1709.xml"/><Relationship Id="rId71" Type="http://schemas.openxmlformats.org/officeDocument/2006/relationships/image" Target="../media/image32.jpeg"/></Relationships>
</file>

<file path=ppt/slides/_rels/slide38.xml.rels><?xml version="1.0" encoding="UTF-8" standalone="yes"?>
<Relationships xmlns="http://schemas.openxmlformats.org/package/2006/relationships"><Relationship Id="rId26" Type="http://schemas.openxmlformats.org/officeDocument/2006/relationships/tags" Target="../tags/tag1781.xml"/><Relationship Id="rId21" Type="http://schemas.openxmlformats.org/officeDocument/2006/relationships/tags" Target="../tags/tag1776.xml"/><Relationship Id="rId34" Type="http://schemas.openxmlformats.org/officeDocument/2006/relationships/tags" Target="../tags/tag1789.xml"/><Relationship Id="rId42" Type="http://schemas.openxmlformats.org/officeDocument/2006/relationships/tags" Target="../tags/tag1797.xml"/><Relationship Id="rId47" Type="http://schemas.openxmlformats.org/officeDocument/2006/relationships/chart" Target="../charts/chart37.xml"/><Relationship Id="rId50" Type="http://schemas.openxmlformats.org/officeDocument/2006/relationships/image" Target="../media/image20.jpeg"/><Relationship Id="rId55" Type="http://schemas.openxmlformats.org/officeDocument/2006/relationships/image" Target="../media/image25.jpeg"/><Relationship Id="rId63" Type="http://schemas.openxmlformats.org/officeDocument/2006/relationships/image" Target="../media/image33.jpeg"/><Relationship Id="rId7" Type="http://schemas.openxmlformats.org/officeDocument/2006/relationships/tags" Target="../tags/tag1762.xml"/><Relationship Id="rId2" Type="http://schemas.openxmlformats.org/officeDocument/2006/relationships/tags" Target="../tags/tag1757.xml"/><Relationship Id="rId16" Type="http://schemas.openxmlformats.org/officeDocument/2006/relationships/tags" Target="../tags/tag1771.xml"/><Relationship Id="rId29" Type="http://schemas.openxmlformats.org/officeDocument/2006/relationships/tags" Target="../tags/tag1784.xml"/><Relationship Id="rId11" Type="http://schemas.openxmlformats.org/officeDocument/2006/relationships/tags" Target="../tags/tag1766.xml"/><Relationship Id="rId24" Type="http://schemas.openxmlformats.org/officeDocument/2006/relationships/tags" Target="../tags/tag1779.xml"/><Relationship Id="rId32" Type="http://schemas.openxmlformats.org/officeDocument/2006/relationships/tags" Target="../tags/tag1787.xml"/><Relationship Id="rId37" Type="http://schemas.openxmlformats.org/officeDocument/2006/relationships/tags" Target="../tags/tag1792.xml"/><Relationship Id="rId40" Type="http://schemas.openxmlformats.org/officeDocument/2006/relationships/tags" Target="../tags/tag1795.xml"/><Relationship Id="rId45" Type="http://schemas.openxmlformats.org/officeDocument/2006/relationships/notesSlide" Target="../notesSlides/notesSlide9.xml"/><Relationship Id="rId53" Type="http://schemas.openxmlformats.org/officeDocument/2006/relationships/image" Target="../media/image23.jpeg"/><Relationship Id="rId58" Type="http://schemas.openxmlformats.org/officeDocument/2006/relationships/image" Target="../media/image28.jpeg"/><Relationship Id="rId5" Type="http://schemas.openxmlformats.org/officeDocument/2006/relationships/tags" Target="../tags/tag1760.xml"/><Relationship Id="rId61" Type="http://schemas.openxmlformats.org/officeDocument/2006/relationships/image" Target="../media/image31.jpeg"/><Relationship Id="rId19" Type="http://schemas.openxmlformats.org/officeDocument/2006/relationships/tags" Target="../tags/tag1774.xml"/><Relationship Id="rId14" Type="http://schemas.openxmlformats.org/officeDocument/2006/relationships/tags" Target="../tags/tag1769.xml"/><Relationship Id="rId22" Type="http://schemas.openxmlformats.org/officeDocument/2006/relationships/tags" Target="../tags/tag1777.xml"/><Relationship Id="rId27" Type="http://schemas.openxmlformats.org/officeDocument/2006/relationships/tags" Target="../tags/tag1782.xml"/><Relationship Id="rId30" Type="http://schemas.openxmlformats.org/officeDocument/2006/relationships/tags" Target="../tags/tag1785.xml"/><Relationship Id="rId35" Type="http://schemas.openxmlformats.org/officeDocument/2006/relationships/tags" Target="../tags/tag1790.xml"/><Relationship Id="rId43" Type="http://schemas.openxmlformats.org/officeDocument/2006/relationships/tags" Target="../tags/tag1798.xml"/><Relationship Id="rId48" Type="http://schemas.openxmlformats.org/officeDocument/2006/relationships/image" Target="../media/image18.jpeg"/><Relationship Id="rId56" Type="http://schemas.openxmlformats.org/officeDocument/2006/relationships/image" Target="../media/image26.jpeg"/><Relationship Id="rId64" Type="http://schemas.openxmlformats.org/officeDocument/2006/relationships/image" Target="../media/image34.png"/><Relationship Id="rId8" Type="http://schemas.openxmlformats.org/officeDocument/2006/relationships/tags" Target="../tags/tag1763.xml"/><Relationship Id="rId51" Type="http://schemas.openxmlformats.org/officeDocument/2006/relationships/image" Target="../media/image21.jpeg"/><Relationship Id="rId3" Type="http://schemas.openxmlformats.org/officeDocument/2006/relationships/tags" Target="../tags/tag1758.xml"/><Relationship Id="rId12" Type="http://schemas.openxmlformats.org/officeDocument/2006/relationships/tags" Target="../tags/tag1767.xml"/><Relationship Id="rId17" Type="http://schemas.openxmlformats.org/officeDocument/2006/relationships/tags" Target="../tags/tag1772.xml"/><Relationship Id="rId25" Type="http://schemas.openxmlformats.org/officeDocument/2006/relationships/tags" Target="../tags/tag1780.xml"/><Relationship Id="rId33" Type="http://schemas.openxmlformats.org/officeDocument/2006/relationships/tags" Target="../tags/tag1788.xml"/><Relationship Id="rId38" Type="http://schemas.openxmlformats.org/officeDocument/2006/relationships/tags" Target="../tags/tag1793.xml"/><Relationship Id="rId46" Type="http://schemas.openxmlformats.org/officeDocument/2006/relationships/oleObject" Target="../embeddings/oleObject46.bin"/><Relationship Id="rId59" Type="http://schemas.openxmlformats.org/officeDocument/2006/relationships/image" Target="../media/image29.jpeg"/><Relationship Id="rId20" Type="http://schemas.openxmlformats.org/officeDocument/2006/relationships/tags" Target="../tags/tag1775.xml"/><Relationship Id="rId41" Type="http://schemas.openxmlformats.org/officeDocument/2006/relationships/tags" Target="../tags/tag1796.xml"/><Relationship Id="rId54" Type="http://schemas.openxmlformats.org/officeDocument/2006/relationships/image" Target="../media/image24.jpeg"/><Relationship Id="rId62" Type="http://schemas.openxmlformats.org/officeDocument/2006/relationships/image" Target="../media/image32.jpeg"/><Relationship Id="rId1" Type="http://schemas.openxmlformats.org/officeDocument/2006/relationships/tags" Target="../tags/tag1756.xml"/><Relationship Id="rId6" Type="http://schemas.openxmlformats.org/officeDocument/2006/relationships/tags" Target="../tags/tag1761.xml"/><Relationship Id="rId15" Type="http://schemas.openxmlformats.org/officeDocument/2006/relationships/tags" Target="../tags/tag1770.xml"/><Relationship Id="rId23" Type="http://schemas.openxmlformats.org/officeDocument/2006/relationships/tags" Target="../tags/tag1778.xml"/><Relationship Id="rId28" Type="http://schemas.openxmlformats.org/officeDocument/2006/relationships/tags" Target="../tags/tag1783.xml"/><Relationship Id="rId36" Type="http://schemas.openxmlformats.org/officeDocument/2006/relationships/tags" Target="../tags/tag1791.xml"/><Relationship Id="rId49" Type="http://schemas.openxmlformats.org/officeDocument/2006/relationships/image" Target="../media/image19.jpeg"/><Relationship Id="rId57" Type="http://schemas.openxmlformats.org/officeDocument/2006/relationships/image" Target="../media/image27.jpeg"/><Relationship Id="rId10" Type="http://schemas.openxmlformats.org/officeDocument/2006/relationships/tags" Target="../tags/tag1765.xml"/><Relationship Id="rId31" Type="http://schemas.openxmlformats.org/officeDocument/2006/relationships/tags" Target="../tags/tag1786.xml"/><Relationship Id="rId44" Type="http://schemas.openxmlformats.org/officeDocument/2006/relationships/slideLayout" Target="../slideLayouts/slideLayout3.xml"/><Relationship Id="rId52" Type="http://schemas.openxmlformats.org/officeDocument/2006/relationships/image" Target="../media/image22.jpeg"/><Relationship Id="rId60" Type="http://schemas.openxmlformats.org/officeDocument/2006/relationships/image" Target="../media/image30.jpeg"/><Relationship Id="rId65" Type="http://schemas.openxmlformats.org/officeDocument/2006/relationships/image" Target="../media/image36.png"/><Relationship Id="rId4" Type="http://schemas.openxmlformats.org/officeDocument/2006/relationships/tags" Target="../tags/tag1759.xml"/><Relationship Id="rId9" Type="http://schemas.openxmlformats.org/officeDocument/2006/relationships/tags" Target="../tags/tag1764.xml"/><Relationship Id="rId13" Type="http://schemas.openxmlformats.org/officeDocument/2006/relationships/tags" Target="../tags/tag1768.xml"/><Relationship Id="rId18" Type="http://schemas.openxmlformats.org/officeDocument/2006/relationships/tags" Target="../tags/tag1773.xml"/><Relationship Id="rId39" Type="http://schemas.openxmlformats.org/officeDocument/2006/relationships/tags" Target="../tags/tag1794.xml"/></Relationships>
</file>

<file path=ppt/slides/_rels/slide39.xml.rels><?xml version="1.0" encoding="UTF-8" standalone="yes"?>
<Relationships xmlns="http://schemas.openxmlformats.org/package/2006/relationships"><Relationship Id="rId26" Type="http://schemas.openxmlformats.org/officeDocument/2006/relationships/tags" Target="../tags/tag1824.xml"/><Relationship Id="rId21" Type="http://schemas.openxmlformats.org/officeDocument/2006/relationships/tags" Target="../tags/tag1819.xml"/><Relationship Id="rId42" Type="http://schemas.openxmlformats.org/officeDocument/2006/relationships/tags" Target="../tags/tag1840.xml"/><Relationship Id="rId47" Type="http://schemas.openxmlformats.org/officeDocument/2006/relationships/tags" Target="../tags/tag1845.xml"/><Relationship Id="rId63" Type="http://schemas.openxmlformats.org/officeDocument/2006/relationships/image" Target="../media/image26.jpeg"/><Relationship Id="rId68" Type="http://schemas.openxmlformats.org/officeDocument/2006/relationships/image" Target="../media/image31.jpeg"/><Relationship Id="rId7" Type="http://schemas.openxmlformats.org/officeDocument/2006/relationships/tags" Target="../tags/tag1805.xml"/><Relationship Id="rId71" Type="http://schemas.openxmlformats.org/officeDocument/2006/relationships/image" Target="../media/image34.png"/><Relationship Id="rId2" Type="http://schemas.openxmlformats.org/officeDocument/2006/relationships/tags" Target="../tags/tag1800.xml"/><Relationship Id="rId16" Type="http://schemas.openxmlformats.org/officeDocument/2006/relationships/tags" Target="../tags/tag1814.xml"/><Relationship Id="rId29" Type="http://schemas.openxmlformats.org/officeDocument/2006/relationships/tags" Target="../tags/tag1827.xml"/><Relationship Id="rId11" Type="http://schemas.openxmlformats.org/officeDocument/2006/relationships/tags" Target="../tags/tag1809.xml"/><Relationship Id="rId24" Type="http://schemas.openxmlformats.org/officeDocument/2006/relationships/tags" Target="../tags/tag1822.xml"/><Relationship Id="rId32" Type="http://schemas.openxmlformats.org/officeDocument/2006/relationships/tags" Target="../tags/tag1830.xml"/><Relationship Id="rId37" Type="http://schemas.openxmlformats.org/officeDocument/2006/relationships/tags" Target="../tags/tag1835.xml"/><Relationship Id="rId40" Type="http://schemas.openxmlformats.org/officeDocument/2006/relationships/tags" Target="../tags/tag1838.xml"/><Relationship Id="rId45" Type="http://schemas.openxmlformats.org/officeDocument/2006/relationships/tags" Target="../tags/tag1843.xml"/><Relationship Id="rId53" Type="http://schemas.openxmlformats.org/officeDocument/2006/relationships/oleObject" Target="../embeddings/oleObject47.bin"/><Relationship Id="rId58" Type="http://schemas.openxmlformats.org/officeDocument/2006/relationships/image" Target="../media/image21.jpeg"/><Relationship Id="rId66" Type="http://schemas.openxmlformats.org/officeDocument/2006/relationships/image" Target="../media/image29.jpeg"/><Relationship Id="rId5" Type="http://schemas.openxmlformats.org/officeDocument/2006/relationships/tags" Target="../tags/tag1803.xml"/><Relationship Id="rId61" Type="http://schemas.openxmlformats.org/officeDocument/2006/relationships/image" Target="../media/image24.jpeg"/><Relationship Id="rId19" Type="http://schemas.openxmlformats.org/officeDocument/2006/relationships/tags" Target="../tags/tag1817.xml"/><Relationship Id="rId14" Type="http://schemas.openxmlformats.org/officeDocument/2006/relationships/tags" Target="../tags/tag1812.xml"/><Relationship Id="rId22" Type="http://schemas.openxmlformats.org/officeDocument/2006/relationships/tags" Target="../tags/tag1820.xml"/><Relationship Id="rId27" Type="http://schemas.openxmlformats.org/officeDocument/2006/relationships/tags" Target="../tags/tag1825.xml"/><Relationship Id="rId30" Type="http://schemas.openxmlformats.org/officeDocument/2006/relationships/tags" Target="../tags/tag1828.xml"/><Relationship Id="rId35" Type="http://schemas.openxmlformats.org/officeDocument/2006/relationships/tags" Target="../tags/tag1833.xml"/><Relationship Id="rId43" Type="http://schemas.openxmlformats.org/officeDocument/2006/relationships/tags" Target="../tags/tag1841.xml"/><Relationship Id="rId48" Type="http://schemas.openxmlformats.org/officeDocument/2006/relationships/tags" Target="../tags/tag1846.xml"/><Relationship Id="rId56" Type="http://schemas.openxmlformats.org/officeDocument/2006/relationships/image" Target="../media/image19.jpeg"/><Relationship Id="rId64" Type="http://schemas.openxmlformats.org/officeDocument/2006/relationships/image" Target="../media/image27.jpeg"/><Relationship Id="rId69" Type="http://schemas.openxmlformats.org/officeDocument/2006/relationships/image" Target="../media/image32.jpeg"/><Relationship Id="rId8" Type="http://schemas.openxmlformats.org/officeDocument/2006/relationships/tags" Target="../tags/tag1806.xml"/><Relationship Id="rId51" Type="http://schemas.openxmlformats.org/officeDocument/2006/relationships/tags" Target="../tags/tag1849.xml"/><Relationship Id="rId72" Type="http://schemas.openxmlformats.org/officeDocument/2006/relationships/image" Target="../media/image35.png"/><Relationship Id="rId3" Type="http://schemas.openxmlformats.org/officeDocument/2006/relationships/tags" Target="../tags/tag1801.xml"/><Relationship Id="rId12" Type="http://schemas.openxmlformats.org/officeDocument/2006/relationships/tags" Target="../tags/tag1810.xml"/><Relationship Id="rId17" Type="http://schemas.openxmlformats.org/officeDocument/2006/relationships/tags" Target="../tags/tag1815.xml"/><Relationship Id="rId25" Type="http://schemas.openxmlformats.org/officeDocument/2006/relationships/tags" Target="../tags/tag1823.xml"/><Relationship Id="rId33" Type="http://schemas.openxmlformats.org/officeDocument/2006/relationships/tags" Target="../tags/tag1831.xml"/><Relationship Id="rId38" Type="http://schemas.openxmlformats.org/officeDocument/2006/relationships/tags" Target="../tags/tag1836.xml"/><Relationship Id="rId46" Type="http://schemas.openxmlformats.org/officeDocument/2006/relationships/tags" Target="../tags/tag1844.xml"/><Relationship Id="rId59" Type="http://schemas.openxmlformats.org/officeDocument/2006/relationships/image" Target="../media/image22.jpeg"/><Relationship Id="rId67" Type="http://schemas.openxmlformats.org/officeDocument/2006/relationships/image" Target="../media/image30.jpeg"/><Relationship Id="rId20" Type="http://schemas.openxmlformats.org/officeDocument/2006/relationships/tags" Target="../tags/tag1818.xml"/><Relationship Id="rId41" Type="http://schemas.openxmlformats.org/officeDocument/2006/relationships/tags" Target="../tags/tag1839.xml"/><Relationship Id="rId54" Type="http://schemas.openxmlformats.org/officeDocument/2006/relationships/chart" Target="../charts/chart38.xml"/><Relationship Id="rId62" Type="http://schemas.openxmlformats.org/officeDocument/2006/relationships/image" Target="../media/image25.jpeg"/><Relationship Id="rId70" Type="http://schemas.openxmlformats.org/officeDocument/2006/relationships/image" Target="../media/image33.jpeg"/><Relationship Id="rId1" Type="http://schemas.openxmlformats.org/officeDocument/2006/relationships/tags" Target="../tags/tag1799.xml"/><Relationship Id="rId6" Type="http://schemas.openxmlformats.org/officeDocument/2006/relationships/tags" Target="../tags/tag1804.xml"/><Relationship Id="rId15" Type="http://schemas.openxmlformats.org/officeDocument/2006/relationships/tags" Target="../tags/tag1813.xml"/><Relationship Id="rId23" Type="http://schemas.openxmlformats.org/officeDocument/2006/relationships/tags" Target="../tags/tag1821.xml"/><Relationship Id="rId28" Type="http://schemas.openxmlformats.org/officeDocument/2006/relationships/tags" Target="../tags/tag1826.xml"/><Relationship Id="rId36" Type="http://schemas.openxmlformats.org/officeDocument/2006/relationships/tags" Target="../tags/tag1834.xml"/><Relationship Id="rId49" Type="http://schemas.openxmlformats.org/officeDocument/2006/relationships/tags" Target="../tags/tag1847.xml"/><Relationship Id="rId57" Type="http://schemas.openxmlformats.org/officeDocument/2006/relationships/image" Target="../media/image20.jpeg"/><Relationship Id="rId10" Type="http://schemas.openxmlformats.org/officeDocument/2006/relationships/tags" Target="../tags/tag1808.xml"/><Relationship Id="rId31" Type="http://schemas.openxmlformats.org/officeDocument/2006/relationships/tags" Target="../tags/tag1829.xml"/><Relationship Id="rId44" Type="http://schemas.openxmlformats.org/officeDocument/2006/relationships/tags" Target="../tags/tag1842.xml"/><Relationship Id="rId52" Type="http://schemas.openxmlformats.org/officeDocument/2006/relationships/slideLayout" Target="../slideLayouts/slideLayout3.xml"/><Relationship Id="rId60" Type="http://schemas.openxmlformats.org/officeDocument/2006/relationships/image" Target="../media/image23.jpeg"/><Relationship Id="rId65" Type="http://schemas.openxmlformats.org/officeDocument/2006/relationships/image" Target="../media/image28.jpeg"/><Relationship Id="rId4" Type="http://schemas.openxmlformats.org/officeDocument/2006/relationships/tags" Target="../tags/tag1802.xml"/><Relationship Id="rId9" Type="http://schemas.openxmlformats.org/officeDocument/2006/relationships/tags" Target="../tags/tag1807.xml"/><Relationship Id="rId13" Type="http://schemas.openxmlformats.org/officeDocument/2006/relationships/tags" Target="../tags/tag1811.xml"/><Relationship Id="rId18" Type="http://schemas.openxmlformats.org/officeDocument/2006/relationships/tags" Target="../tags/tag1816.xml"/><Relationship Id="rId39" Type="http://schemas.openxmlformats.org/officeDocument/2006/relationships/tags" Target="../tags/tag1837.xml"/><Relationship Id="rId34" Type="http://schemas.openxmlformats.org/officeDocument/2006/relationships/tags" Target="../tags/tag1832.xml"/><Relationship Id="rId50" Type="http://schemas.openxmlformats.org/officeDocument/2006/relationships/tags" Target="../tags/tag1848.xml"/><Relationship Id="rId55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Relationship Id="rId4" Type="http://schemas.openxmlformats.org/officeDocument/2006/relationships/image" Target="../media/image17.emf"/></Relationships>
</file>

<file path=ppt/slides/_rels/slide40.xml.rels><?xml version="1.0" encoding="UTF-8" standalone="yes"?>
<Relationships xmlns="http://schemas.openxmlformats.org/package/2006/relationships"><Relationship Id="rId26" Type="http://schemas.openxmlformats.org/officeDocument/2006/relationships/tags" Target="../tags/tag1875.xml"/><Relationship Id="rId21" Type="http://schemas.openxmlformats.org/officeDocument/2006/relationships/tags" Target="../tags/tag1870.xml"/><Relationship Id="rId34" Type="http://schemas.openxmlformats.org/officeDocument/2006/relationships/tags" Target="../tags/tag1883.xml"/><Relationship Id="rId42" Type="http://schemas.openxmlformats.org/officeDocument/2006/relationships/tags" Target="../tags/tag1891.xml"/><Relationship Id="rId47" Type="http://schemas.openxmlformats.org/officeDocument/2006/relationships/chart" Target="../charts/chart39.xml"/><Relationship Id="rId50" Type="http://schemas.openxmlformats.org/officeDocument/2006/relationships/image" Target="../media/image19.jpeg"/><Relationship Id="rId55" Type="http://schemas.openxmlformats.org/officeDocument/2006/relationships/image" Target="../media/image25.jpeg"/><Relationship Id="rId63" Type="http://schemas.openxmlformats.org/officeDocument/2006/relationships/image" Target="../media/image33.jpeg"/><Relationship Id="rId7" Type="http://schemas.openxmlformats.org/officeDocument/2006/relationships/tags" Target="../tags/tag1856.xml"/><Relationship Id="rId2" Type="http://schemas.openxmlformats.org/officeDocument/2006/relationships/tags" Target="../tags/tag1851.xml"/><Relationship Id="rId16" Type="http://schemas.openxmlformats.org/officeDocument/2006/relationships/tags" Target="../tags/tag1865.xml"/><Relationship Id="rId29" Type="http://schemas.openxmlformats.org/officeDocument/2006/relationships/tags" Target="../tags/tag1878.xml"/><Relationship Id="rId11" Type="http://schemas.openxmlformats.org/officeDocument/2006/relationships/tags" Target="../tags/tag1860.xml"/><Relationship Id="rId24" Type="http://schemas.openxmlformats.org/officeDocument/2006/relationships/tags" Target="../tags/tag1873.xml"/><Relationship Id="rId32" Type="http://schemas.openxmlformats.org/officeDocument/2006/relationships/tags" Target="../tags/tag1881.xml"/><Relationship Id="rId37" Type="http://schemas.openxmlformats.org/officeDocument/2006/relationships/tags" Target="../tags/tag1886.xml"/><Relationship Id="rId40" Type="http://schemas.openxmlformats.org/officeDocument/2006/relationships/tags" Target="../tags/tag1889.xml"/><Relationship Id="rId45" Type="http://schemas.openxmlformats.org/officeDocument/2006/relationships/notesSlide" Target="../notesSlides/notesSlide10.xml"/><Relationship Id="rId53" Type="http://schemas.openxmlformats.org/officeDocument/2006/relationships/image" Target="../media/image23.jpeg"/><Relationship Id="rId58" Type="http://schemas.openxmlformats.org/officeDocument/2006/relationships/image" Target="../media/image28.jpeg"/><Relationship Id="rId5" Type="http://schemas.openxmlformats.org/officeDocument/2006/relationships/tags" Target="../tags/tag1854.xml"/><Relationship Id="rId61" Type="http://schemas.openxmlformats.org/officeDocument/2006/relationships/image" Target="../media/image31.jpeg"/><Relationship Id="rId19" Type="http://schemas.openxmlformats.org/officeDocument/2006/relationships/tags" Target="../tags/tag1868.xml"/><Relationship Id="rId14" Type="http://schemas.openxmlformats.org/officeDocument/2006/relationships/tags" Target="../tags/tag1863.xml"/><Relationship Id="rId22" Type="http://schemas.openxmlformats.org/officeDocument/2006/relationships/tags" Target="../tags/tag1871.xml"/><Relationship Id="rId27" Type="http://schemas.openxmlformats.org/officeDocument/2006/relationships/tags" Target="../tags/tag1876.xml"/><Relationship Id="rId30" Type="http://schemas.openxmlformats.org/officeDocument/2006/relationships/tags" Target="../tags/tag1879.xml"/><Relationship Id="rId35" Type="http://schemas.openxmlformats.org/officeDocument/2006/relationships/tags" Target="../tags/tag1884.xml"/><Relationship Id="rId43" Type="http://schemas.openxmlformats.org/officeDocument/2006/relationships/tags" Target="../tags/tag1892.xml"/><Relationship Id="rId48" Type="http://schemas.openxmlformats.org/officeDocument/2006/relationships/image" Target="../media/image20.jpeg"/><Relationship Id="rId56" Type="http://schemas.openxmlformats.org/officeDocument/2006/relationships/image" Target="../media/image26.jpeg"/><Relationship Id="rId64" Type="http://schemas.openxmlformats.org/officeDocument/2006/relationships/image" Target="../media/image34.png"/><Relationship Id="rId8" Type="http://schemas.openxmlformats.org/officeDocument/2006/relationships/tags" Target="../tags/tag1857.xml"/><Relationship Id="rId51" Type="http://schemas.openxmlformats.org/officeDocument/2006/relationships/image" Target="../media/image21.jpeg"/><Relationship Id="rId3" Type="http://schemas.openxmlformats.org/officeDocument/2006/relationships/tags" Target="../tags/tag1852.xml"/><Relationship Id="rId12" Type="http://schemas.openxmlformats.org/officeDocument/2006/relationships/tags" Target="../tags/tag1861.xml"/><Relationship Id="rId17" Type="http://schemas.openxmlformats.org/officeDocument/2006/relationships/tags" Target="../tags/tag1866.xml"/><Relationship Id="rId25" Type="http://schemas.openxmlformats.org/officeDocument/2006/relationships/tags" Target="../tags/tag1874.xml"/><Relationship Id="rId33" Type="http://schemas.openxmlformats.org/officeDocument/2006/relationships/tags" Target="../tags/tag1882.xml"/><Relationship Id="rId38" Type="http://schemas.openxmlformats.org/officeDocument/2006/relationships/tags" Target="../tags/tag1887.xml"/><Relationship Id="rId46" Type="http://schemas.openxmlformats.org/officeDocument/2006/relationships/oleObject" Target="../embeddings/oleObject48.bin"/><Relationship Id="rId59" Type="http://schemas.openxmlformats.org/officeDocument/2006/relationships/image" Target="../media/image29.jpeg"/><Relationship Id="rId20" Type="http://schemas.openxmlformats.org/officeDocument/2006/relationships/tags" Target="../tags/tag1869.xml"/><Relationship Id="rId41" Type="http://schemas.openxmlformats.org/officeDocument/2006/relationships/tags" Target="../tags/tag1890.xml"/><Relationship Id="rId54" Type="http://schemas.openxmlformats.org/officeDocument/2006/relationships/image" Target="../media/image24.jpeg"/><Relationship Id="rId62" Type="http://schemas.openxmlformats.org/officeDocument/2006/relationships/image" Target="../media/image32.jpeg"/><Relationship Id="rId1" Type="http://schemas.openxmlformats.org/officeDocument/2006/relationships/tags" Target="../tags/tag1850.xml"/><Relationship Id="rId6" Type="http://schemas.openxmlformats.org/officeDocument/2006/relationships/tags" Target="../tags/tag1855.xml"/><Relationship Id="rId15" Type="http://schemas.openxmlformats.org/officeDocument/2006/relationships/tags" Target="../tags/tag1864.xml"/><Relationship Id="rId23" Type="http://schemas.openxmlformats.org/officeDocument/2006/relationships/tags" Target="../tags/tag1872.xml"/><Relationship Id="rId28" Type="http://schemas.openxmlformats.org/officeDocument/2006/relationships/tags" Target="../tags/tag1877.xml"/><Relationship Id="rId36" Type="http://schemas.openxmlformats.org/officeDocument/2006/relationships/tags" Target="../tags/tag1885.xml"/><Relationship Id="rId49" Type="http://schemas.openxmlformats.org/officeDocument/2006/relationships/image" Target="../media/image18.jpeg"/><Relationship Id="rId57" Type="http://schemas.openxmlformats.org/officeDocument/2006/relationships/image" Target="../media/image27.jpeg"/><Relationship Id="rId10" Type="http://schemas.openxmlformats.org/officeDocument/2006/relationships/tags" Target="../tags/tag1859.xml"/><Relationship Id="rId31" Type="http://schemas.openxmlformats.org/officeDocument/2006/relationships/tags" Target="../tags/tag1880.xml"/><Relationship Id="rId44" Type="http://schemas.openxmlformats.org/officeDocument/2006/relationships/slideLayout" Target="../slideLayouts/slideLayout3.xml"/><Relationship Id="rId52" Type="http://schemas.openxmlformats.org/officeDocument/2006/relationships/image" Target="../media/image22.jpeg"/><Relationship Id="rId60" Type="http://schemas.openxmlformats.org/officeDocument/2006/relationships/image" Target="../media/image30.jpeg"/><Relationship Id="rId65" Type="http://schemas.openxmlformats.org/officeDocument/2006/relationships/image" Target="../media/image36.png"/><Relationship Id="rId4" Type="http://schemas.openxmlformats.org/officeDocument/2006/relationships/tags" Target="../tags/tag1853.xml"/><Relationship Id="rId9" Type="http://schemas.openxmlformats.org/officeDocument/2006/relationships/tags" Target="../tags/tag1858.xml"/><Relationship Id="rId13" Type="http://schemas.openxmlformats.org/officeDocument/2006/relationships/tags" Target="../tags/tag1862.xml"/><Relationship Id="rId18" Type="http://schemas.openxmlformats.org/officeDocument/2006/relationships/tags" Target="../tags/tag1867.xml"/><Relationship Id="rId39" Type="http://schemas.openxmlformats.org/officeDocument/2006/relationships/tags" Target="../tags/tag1888.xml"/></Relationships>
</file>

<file path=ppt/slides/_rels/slide41.xml.rels><?xml version="1.0" encoding="UTF-8" standalone="yes"?>
<Relationships xmlns="http://schemas.openxmlformats.org/package/2006/relationships"><Relationship Id="rId13" Type="http://schemas.openxmlformats.org/officeDocument/2006/relationships/tags" Target="../tags/tag1905.xml"/><Relationship Id="rId18" Type="http://schemas.openxmlformats.org/officeDocument/2006/relationships/tags" Target="../tags/tag1910.xml"/><Relationship Id="rId26" Type="http://schemas.openxmlformats.org/officeDocument/2006/relationships/tags" Target="../tags/tag1918.xml"/><Relationship Id="rId39" Type="http://schemas.openxmlformats.org/officeDocument/2006/relationships/tags" Target="../tags/tag1931.xml"/><Relationship Id="rId21" Type="http://schemas.openxmlformats.org/officeDocument/2006/relationships/tags" Target="../tags/tag1913.xml"/><Relationship Id="rId34" Type="http://schemas.openxmlformats.org/officeDocument/2006/relationships/tags" Target="../tags/tag1926.xml"/><Relationship Id="rId42" Type="http://schemas.openxmlformats.org/officeDocument/2006/relationships/tags" Target="../tags/tag1934.xml"/><Relationship Id="rId47" Type="http://schemas.openxmlformats.org/officeDocument/2006/relationships/tags" Target="../tags/tag1939.xml"/><Relationship Id="rId50" Type="http://schemas.openxmlformats.org/officeDocument/2006/relationships/chart" Target="../charts/chart40.xml"/><Relationship Id="rId55" Type="http://schemas.openxmlformats.org/officeDocument/2006/relationships/image" Target="../media/image21.jpeg"/><Relationship Id="rId7" Type="http://schemas.openxmlformats.org/officeDocument/2006/relationships/tags" Target="../tags/tag1899.xml"/><Relationship Id="rId2" Type="http://schemas.openxmlformats.org/officeDocument/2006/relationships/tags" Target="../tags/tag1894.xml"/><Relationship Id="rId16" Type="http://schemas.openxmlformats.org/officeDocument/2006/relationships/tags" Target="../tags/tag1908.xml"/><Relationship Id="rId29" Type="http://schemas.openxmlformats.org/officeDocument/2006/relationships/tags" Target="../tags/tag1921.xml"/><Relationship Id="rId11" Type="http://schemas.openxmlformats.org/officeDocument/2006/relationships/tags" Target="../tags/tag1903.xml"/><Relationship Id="rId24" Type="http://schemas.openxmlformats.org/officeDocument/2006/relationships/tags" Target="../tags/tag1916.xml"/><Relationship Id="rId32" Type="http://schemas.openxmlformats.org/officeDocument/2006/relationships/tags" Target="../tags/tag1924.xml"/><Relationship Id="rId37" Type="http://schemas.openxmlformats.org/officeDocument/2006/relationships/tags" Target="../tags/tag1929.xml"/><Relationship Id="rId40" Type="http://schemas.openxmlformats.org/officeDocument/2006/relationships/tags" Target="../tags/tag1932.xml"/><Relationship Id="rId45" Type="http://schemas.openxmlformats.org/officeDocument/2006/relationships/tags" Target="../tags/tag1937.xml"/><Relationship Id="rId53" Type="http://schemas.openxmlformats.org/officeDocument/2006/relationships/image" Target="../media/image20.jpeg"/><Relationship Id="rId5" Type="http://schemas.openxmlformats.org/officeDocument/2006/relationships/tags" Target="../tags/tag1897.xml"/><Relationship Id="rId19" Type="http://schemas.openxmlformats.org/officeDocument/2006/relationships/tags" Target="../tags/tag1911.xml"/><Relationship Id="rId4" Type="http://schemas.openxmlformats.org/officeDocument/2006/relationships/tags" Target="../tags/tag1896.xml"/><Relationship Id="rId9" Type="http://schemas.openxmlformats.org/officeDocument/2006/relationships/tags" Target="../tags/tag1901.xml"/><Relationship Id="rId14" Type="http://schemas.openxmlformats.org/officeDocument/2006/relationships/tags" Target="../tags/tag1906.xml"/><Relationship Id="rId22" Type="http://schemas.openxmlformats.org/officeDocument/2006/relationships/tags" Target="../tags/tag1914.xml"/><Relationship Id="rId27" Type="http://schemas.openxmlformats.org/officeDocument/2006/relationships/tags" Target="../tags/tag1919.xml"/><Relationship Id="rId30" Type="http://schemas.openxmlformats.org/officeDocument/2006/relationships/tags" Target="../tags/tag1922.xml"/><Relationship Id="rId35" Type="http://schemas.openxmlformats.org/officeDocument/2006/relationships/tags" Target="../tags/tag1927.xml"/><Relationship Id="rId43" Type="http://schemas.openxmlformats.org/officeDocument/2006/relationships/tags" Target="../tags/tag1935.xml"/><Relationship Id="rId48" Type="http://schemas.openxmlformats.org/officeDocument/2006/relationships/slideLayout" Target="../slideLayouts/slideLayout3.xml"/><Relationship Id="rId56" Type="http://schemas.openxmlformats.org/officeDocument/2006/relationships/image" Target="../media/image24.jpeg"/><Relationship Id="rId8" Type="http://schemas.openxmlformats.org/officeDocument/2006/relationships/tags" Target="../tags/tag1900.xml"/><Relationship Id="rId51" Type="http://schemas.openxmlformats.org/officeDocument/2006/relationships/image" Target="../media/image23.jpeg"/><Relationship Id="rId3" Type="http://schemas.openxmlformats.org/officeDocument/2006/relationships/tags" Target="../tags/tag1895.xml"/><Relationship Id="rId12" Type="http://schemas.openxmlformats.org/officeDocument/2006/relationships/tags" Target="../tags/tag1904.xml"/><Relationship Id="rId17" Type="http://schemas.openxmlformats.org/officeDocument/2006/relationships/tags" Target="../tags/tag1909.xml"/><Relationship Id="rId25" Type="http://schemas.openxmlformats.org/officeDocument/2006/relationships/tags" Target="../tags/tag1917.xml"/><Relationship Id="rId33" Type="http://schemas.openxmlformats.org/officeDocument/2006/relationships/tags" Target="../tags/tag1925.xml"/><Relationship Id="rId38" Type="http://schemas.openxmlformats.org/officeDocument/2006/relationships/tags" Target="../tags/tag1930.xml"/><Relationship Id="rId46" Type="http://schemas.openxmlformats.org/officeDocument/2006/relationships/tags" Target="../tags/tag1938.xml"/><Relationship Id="rId20" Type="http://schemas.openxmlformats.org/officeDocument/2006/relationships/tags" Target="../tags/tag1912.xml"/><Relationship Id="rId41" Type="http://schemas.openxmlformats.org/officeDocument/2006/relationships/tags" Target="../tags/tag1933.xml"/><Relationship Id="rId54" Type="http://schemas.openxmlformats.org/officeDocument/2006/relationships/image" Target="../media/image18.jpeg"/><Relationship Id="rId1" Type="http://schemas.openxmlformats.org/officeDocument/2006/relationships/tags" Target="../tags/tag1893.xml"/><Relationship Id="rId6" Type="http://schemas.openxmlformats.org/officeDocument/2006/relationships/tags" Target="../tags/tag1898.xml"/><Relationship Id="rId15" Type="http://schemas.openxmlformats.org/officeDocument/2006/relationships/tags" Target="../tags/tag1907.xml"/><Relationship Id="rId23" Type="http://schemas.openxmlformats.org/officeDocument/2006/relationships/tags" Target="../tags/tag1915.xml"/><Relationship Id="rId28" Type="http://schemas.openxmlformats.org/officeDocument/2006/relationships/tags" Target="../tags/tag1920.xml"/><Relationship Id="rId36" Type="http://schemas.openxmlformats.org/officeDocument/2006/relationships/tags" Target="../tags/tag1928.xml"/><Relationship Id="rId49" Type="http://schemas.openxmlformats.org/officeDocument/2006/relationships/oleObject" Target="../embeddings/oleObject49.bin"/><Relationship Id="rId57" Type="http://schemas.openxmlformats.org/officeDocument/2006/relationships/image" Target="../media/image37.png"/><Relationship Id="rId10" Type="http://schemas.openxmlformats.org/officeDocument/2006/relationships/tags" Target="../tags/tag1902.xml"/><Relationship Id="rId31" Type="http://schemas.openxmlformats.org/officeDocument/2006/relationships/tags" Target="../tags/tag1923.xml"/><Relationship Id="rId44" Type="http://schemas.openxmlformats.org/officeDocument/2006/relationships/tags" Target="../tags/tag1936.xml"/><Relationship Id="rId52" Type="http://schemas.openxmlformats.org/officeDocument/2006/relationships/image" Target="../media/image19.jpe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oleObject" Target="../embeddings/oleObject50.bin"/><Relationship Id="rId7" Type="http://schemas.openxmlformats.org/officeDocument/2006/relationships/image" Target="../media/image41.png"/><Relationship Id="rId12" Type="http://schemas.openxmlformats.org/officeDocument/2006/relationships/image" Target="../media/image37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40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5" Type="http://schemas.openxmlformats.org/officeDocument/2006/relationships/image" Target="../media/image39.png"/><Relationship Id="rId10" Type="http://schemas.openxmlformats.org/officeDocument/2006/relationships/image" Target="../media/image44.png"/><Relationship Id="rId4" Type="http://schemas.openxmlformats.org/officeDocument/2006/relationships/image" Target="../media/image38.png"/><Relationship Id="rId9" Type="http://schemas.openxmlformats.org/officeDocument/2006/relationships/image" Target="../media/image43.png"/></Relationships>
</file>

<file path=ppt/slides/_rels/slide43.xml.rels><?xml version="1.0" encoding="UTF-8" standalone="yes"?>
<Relationships xmlns="http://schemas.openxmlformats.org/package/2006/relationships"><Relationship Id="rId13" Type="http://schemas.openxmlformats.org/officeDocument/2006/relationships/tags" Target="../tags/tag1953.xml"/><Relationship Id="rId18" Type="http://schemas.openxmlformats.org/officeDocument/2006/relationships/tags" Target="../tags/tag1958.xml"/><Relationship Id="rId26" Type="http://schemas.openxmlformats.org/officeDocument/2006/relationships/tags" Target="../tags/tag1966.xml"/><Relationship Id="rId39" Type="http://schemas.openxmlformats.org/officeDocument/2006/relationships/image" Target="../media/image40.png"/><Relationship Id="rId21" Type="http://schemas.openxmlformats.org/officeDocument/2006/relationships/tags" Target="../tags/tag1961.xml"/><Relationship Id="rId34" Type="http://schemas.openxmlformats.org/officeDocument/2006/relationships/slideLayout" Target="../slideLayouts/slideLayout3.xml"/><Relationship Id="rId42" Type="http://schemas.openxmlformats.org/officeDocument/2006/relationships/image" Target="../media/image43.png"/><Relationship Id="rId7" Type="http://schemas.openxmlformats.org/officeDocument/2006/relationships/tags" Target="../tags/tag1947.xml"/><Relationship Id="rId2" Type="http://schemas.openxmlformats.org/officeDocument/2006/relationships/tags" Target="../tags/tag1942.xml"/><Relationship Id="rId16" Type="http://schemas.openxmlformats.org/officeDocument/2006/relationships/tags" Target="../tags/tag1956.xml"/><Relationship Id="rId29" Type="http://schemas.openxmlformats.org/officeDocument/2006/relationships/tags" Target="../tags/tag1969.xml"/><Relationship Id="rId1" Type="http://schemas.openxmlformats.org/officeDocument/2006/relationships/tags" Target="../tags/tag1941.xml"/><Relationship Id="rId6" Type="http://schemas.openxmlformats.org/officeDocument/2006/relationships/tags" Target="../tags/tag1946.xml"/><Relationship Id="rId11" Type="http://schemas.openxmlformats.org/officeDocument/2006/relationships/tags" Target="../tags/tag1951.xml"/><Relationship Id="rId24" Type="http://schemas.openxmlformats.org/officeDocument/2006/relationships/tags" Target="../tags/tag1964.xml"/><Relationship Id="rId32" Type="http://schemas.openxmlformats.org/officeDocument/2006/relationships/tags" Target="../tags/tag1972.xml"/><Relationship Id="rId37" Type="http://schemas.openxmlformats.org/officeDocument/2006/relationships/image" Target="../media/image38.png"/><Relationship Id="rId40" Type="http://schemas.openxmlformats.org/officeDocument/2006/relationships/image" Target="../media/image41.png"/><Relationship Id="rId45" Type="http://schemas.openxmlformats.org/officeDocument/2006/relationships/image" Target="../media/image37.png"/><Relationship Id="rId5" Type="http://schemas.openxmlformats.org/officeDocument/2006/relationships/tags" Target="../tags/tag1945.xml"/><Relationship Id="rId15" Type="http://schemas.openxmlformats.org/officeDocument/2006/relationships/tags" Target="../tags/tag1955.xml"/><Relationship Id="rId23" Type="http://schemas.openxmlformats.org/officeDocument/2006/relationships/tags" Target="../tags/tag1963.xml"/><Relationship Id="rId28" Type="http://schemas.openxmlformats.org/officeDocument/2006/relationships/tags" Target="../tags/tag1968.xml"/><Relationship Id="rId36" Type="http://schemas.openxmlformats.org/officeDocument/2006/relationships/chart" Target="../charts/chart41.xml"/><Relationship Id="rId10" Type="http://schemas.openxmlformats.org/officeDocument/2006/relationships/tags" Target="../tags/tag1950.xml"/><Relationship Id="rId19" Type="http://schemas.openxmlformats.org/officeDocument/2006/relationships/tags" Target="../tags/tag1959.xml"/><Relationship Id="rId31" Type="http://schemas.openxmlformats.org/officeDocument/2006/relationships/tags" Target="../tags/tag1971.xml"/><Relationship Id="rId44" Type="http://schemas.openxmlformats.org/officeDocument/2006/relationships/image" Target="../media/image45.png"/><Relationship Id="rId4" Type="http://schemas.openxmlformats.org/officeDocument/2006/relationships/tags" Target="../tags/tag1944.xml"/><Relationship Id="rId9" Type="http://schemas.openxmlformats.org/officeDocument/2006/relationships/tags" Target="../tags/tag1949.xml"/><Relationship Id="rId14" Type="http://schemas.openxmlformats.org/officeDocument/2006/relationships/tags" Target="../tags/tag1954.xml"/><Relationship Id="rId22" Type="http://schemas.openxmlformats.org/officeDocument/2006/relationships/tags" Target="../tags/tag1962.xml"/><Relationship Id="rId27" Type="http://schemas.openxmlformats.org/officeDocument/2006/relationships/tags" Target="../tags/tag1967.xml"/><Relationship Id="rId30" Type="http://schemas.openxmlformats.org/officeDocument/2006/relationships/tags" Target="../tags/tag1970.xml"/><Relationship Id="rId35" Type="http://schemas.openxmlformats.org/officeDocument/2006/relationships/oleObject" Target="../embeddings/oleObject51.bin"/><Relationship Id="rId43" Type="http://schemas.openxmlformats.org/officeDocument/2006/relationships/image" Target="../media/image44.png"/><Relationship Id="rId8" Type="http://schemas.openxmlformats.org/officeDocument/2006/relationships/tags" Target="../tags/tag1948.xml"/><Relationship Id="rId3" Type="http://schemas.openxmlformats.org/officeDocument/2006/relationships/tags" Target="../tags/tag1943.xml"/><Relationship Id="rId12" Type="http://schemas.openxmlformats.org/officeDocument/2006/relationships/tags" Target="../tags/tag1952.xml"/><Relationship Id="rId17" Type="http://schemas.openxmlformats.org/officeDocument/2006/relationships/tags" Target="../tags/tag1957.xml"/><Relationship Id="rId25" Type="http://schemas.openxmlformats.org/officeDocument/2006/relationships/tags" Target="../tags/tag1965.xml"/><Relationship Id="rId33" Type="http://schemas.openxmlformats.org/officeDocument/2006/relationships/tags" Target="../tags/tag1973.xml"/><Relationship Id="rId38" Type="http://schemas.openxmlformats.org/officeDocument/2006/relationships/image" Target="../media/image39.png"/><Relationship Id="rId20" Type="http://schemas.openxmlformats.org/officeDocument/2006/relationships/tags" Target="../tags/tag1960.xml"/><Relationship Id="rId41" Type="http://schemas.openxmlformats.org/officeDocument/2006/relationships/image" Target="../media/image42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975.xml"/><Relationship Id="rId1" Type="http://schemas.openxmlformats.org/officeDocument/2006/relationships/tags" Target="../tags/tag197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2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26" Type="http://schemas.openxmlformats.org/officeDocument/2006/relationships/tags" Target="../tags/tag95.xml"/><Relationship Id="rId21" Type="http://schemas.openxmlformats.org/officeDocument/2006/relationships/tags" Target="../tags/tag90.xml"/><Relationship Id="rId34" Type="http://schemas.openxmlformats.org/officeDocument/2006/relationships/slideLayout" Target="../slideLayouts/slideLayout3.xml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5" Type="http://schemas.openxmlformats.org/officeDocument/2006/relationships/tags" Target="../tags/tag94.xml"/><Relationship Id="rId33" Type="http://schemas.openxmlformats.org/officeDocument/2006/relationships/tags" Target="../tags/tag102.xml"/><Relationship Id="rId38" Type="http://schemas.openxmlformats.org/officeDocument/2006/relationships/chart" Target="../charts/chart6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0" Type="http://schemas.openxmlformats.org/officeDocument/2006/relationships/tags" Target="../tags/tag89.xml"/><Relationship Id="rId29" Type="http://schemas.openxmlformats.org/officeDocument/2006/relationships/tags" Target="../tags/tag98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24" Type="http://schemas.openxmlformats.org/officeDocument/2006/relationships/tags" Target="../tags/tag93.xml"/><Relationship Id="rId32" Type="http://schemas.openxmlformats.org/officeDocument/2006/relationships/tags" Target="../tags/tag101.xml"/><Relationship Id="rId37" Type="http://schemas.openxmlformats.org/officeDocument/2006/relationships/image" Target="../media/image1.emf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23" Type="http://schemas.openxmlformats.org/officeDocument/2006/relationships/tags" Target="../tags/tag92.xml"/><Relationship Id="rId28" Type="http://schemas.openxmlformats.org/officeDocument/2006/relationships/tags" Target="../tags/tag97.xml"/><Relationship Id="rId36" Type="http://schemas.openxmlformats.org/officeDocument/2006/relationships/oleObject" Target="../embeddings/oleObject19.bin"/><Relationship Id="rId10" Type="http://schemas.openxmlformats.org/officeDocument/2006/relationships/tags" Target="../tags/tag79.xml"/><Relationship Id="rId19" Type="http://schemas.openxmlformats.org/officeDocument/2006/relationships/tags" Target="../tags/tag88.xml"/><Relationship Id="rId31" Type="http://schemas.openxmlformats.org/officeDocument/2006/relationships/tags" Target="../tags/tag100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Relationship Id="rId22" Type="http://schemas.openxmlformats.org/officeDocument/2006/relationships/tags" Target="../tags/tag91.xml"/><Relationship Id="rId27" Type="http://schemas.openxmlformats.org/officeDocument/2006/relationships/tags" Target="../tags/tag96.xml"/><Relationship Id="rId30" Type="http://schemas.openxmlformats.org/officeDocument/2006/relationships/tags" Target="../tags/tag99.xml"/><Relationship Id="rId35" Type="http://schemas.openxmlformats.org/officeDocument/2006/relationships/notesSlide" Target="../notesSlides/notesSlide2.xml"/><Relationship Id="rId8" Type="http://schemas.openxmlformats.org/officeDocument/2006/relationships/tags" Target="../tags/tag77.xml"/><Relationship Id="rId3" Type="http://schemas.openxmlformats.org/officeDocument/2006/relationships/tags" Target="../tags/tag7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tags" Target="../tags/tag115.xml"/><Relationship Id="rId18" Type="http://schemas.openxmlformats.org/officeDocument/2006/relationships/tags" Target="../tags/tag120.xml"/><Relationship Id="rId26" Type="http://schemas.openxmlformats.org/officeDocument/2006/relationships/chart" Target="../charts/chart8.xml"/><Relationship Id="rId3" Type="http://schemas.openxmlformats.org/officeDocument/2006/relationships/tags" Target="../tags/tag105.xml"/><Relationship Id="rId21" Type="http://schemas.openxmlformats.org/officeDocument/2006/relationships/tags" Target="../tags/tag123.xml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5" Type="http://schemas.openxmlformats.org/officeDocument/2006/relationships/chart" Target="../charts/chart7.xml"/><Relationship Id="rId2" Type="http://schemas.openxmlformats.org/officeDocument/2006/relationships/tags" Target="../tags/tag104.xml"/><Relationship Id="rId16" Type="http://schemas.openxmlformats.org/officeDocument/2006/relationships/tags" Target="../tags/tag118.xml"/><Relationship Id="rId20" Type="http://schemas.openxmlformats.org/officeDocument/2006/relationships/tags" Target="../tags/tag122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24" Type="http://schemas.openxmlformats.org/officeDocument/2006/relationships/image" Target="../media/image2.emf"/><Relationship Id="rId5" Type="http://schemas.openxmlformats.org/officeDocument/2006/relationships/tags" Target="../tags/tag107.xml"/><Relationship Id="rId15" Type="http://schemas.openxmlformats.org/officeDocument/2006/relationships/tags" Target="../tags/tag117.xml"/><Relationship Id="rId23" Type="http://schemas.openxmlformats.org/officeDocument/2006/relationships/oleObject" Target="../embeddings/oleObject20.bin"/><Relationship Id="rId10" Type="http://schemas.openxmlformats.org/officeDocument/2006/relationships/tags" Target="../tags/tag112.xml"/><Relationship Id="rId19" Type="http://schemas.openxmlformats.org/officeDocument/2006/relationships/tags" Target="../tags/tag121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tags" Target="../tags/tag116.xml"/><Relationship Id="rId22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240.xml"/><Relationship Id="rId21" Type="http://schemas.openxmlformats.org/officeDocument/2006/relationships/tags" Target="../tags/tag144.xml"/><Relationship Id="rId42" Type="http://schemas.openxmlformats.org/officeDocument/2006/relationships/tags" Target="../tags/tag165.xml"/><Relationship Id="rId63" Type="http://schemas.openxmlformats.org/officeDocument/2006/relationships/tags" Target="../tags/tag186.xml"/><Relationship Id="rId84" Type="http://schemas.openxmlformats.org/officeDocument/2006/relationships/tags" Target="../tags/tag207.xml"/><Relationship Id="rId138" Type="http://schemas.openxmlformats.org/officeDocument/2006/relationships/tags" Target="../tags/tag261.xml"/><Relationship Id="rId159" Type="http://schemas.openxmlformats.org/officeDocument/2006/relationships/tags" Target="../tags/tag282.xml"/><Relationship Id="rId107" Type="http://schemas.openxmlformats.org/officeDocument/2006/relationships/tags" Target="../tags/tag230.xml"/><Relationship Id="rId11" Type="http://schemas.openxmlformats.org/officeDocument/2006/relationships/tags" Target="../tags/tag134.xml"/><Relationship Id="rId32" Type="http://schemas.openxmlformats.org/officeDocument/2006/relationships/tags" Target="../tags/tag155.xml"/><Relationship Id="rId53" Type="http://schemas.openxmlformats.org/officeDocument/2006/relationships/tags" Target="../tags/tag176.xml"/><Relationship Id="rId74" Type="http://schemas.openxmlformats.org/officeDocument/2006/relationships/tags" Target="../tags/tag197.xml"/><Relationship Id="rId128" Type="http://schemas.openxmlformats.org/officeDocument/2006/relationships/tags" Target="../tags/tag251.xml"/><Relationship Id="rId149" Type="http://schemas.openxmlformats.org/officeDocument/2006/relationships/tags" Target="../tags/tag272.xml"/><Relationship Id="rId5" Type="http://schemas.openxmlformats.org/officeDocument/2006/relationships/tags" Target="../tags/tag128.xml"/><Relationship Id="rId95" Type="http://schemas.openxmlformats.org/officeDocument/2006/relationships/tags" Target="../tags/tag218.xml"/><Relationship Id="rId160" Type="http://schemas.openxmlformats.org/officeDocument/2006/relationships/slideLayout" Target="../slideLayouts/slideLayout3.xml"/><Relationship Id="rId22" Type="http://schemas.openxmlformats.org/officeDocument/2006/relationships/tags" Target="../tags/tag145.xml"/><Relationship Id="rId43" Type="http://schemas.openxmlformats.org/officeDocument/2006/relationships/tags" Target="../tags/tag166.xml"/><Relationship Id="rId64" Type="http://schemas.openxmlformats.org/officeDocument/2006/relationships/tags" Target="../tags/tag187.xml"/><Relationship Id="rId118" Type="http://schemas.openxmlformats.org/officeDocument/2006/relationships/tags" Target="../tags/tag241.xml"/><Relationship Id="rId139" Type="http://schemas.openxmlformats.org/officeDocument/2006/relationships/tags" Target="../tags/tag262.xml"/><Relationship Id="rId85" Type="http://schemas.openxmlformats.org/officeDocument/2006/relationships/tags" Target="../tags/tag208.xml"/><Relationship Id="rId150" Type="http://schemas.openxmlformats.org/officeDocument/2006/relationships/tags" Target="../tags/tag273.xml"/><Relationship Id="rId12" Type="http://schemas.openxmlformats.org/officeDocument/2006/relationships/tags" Target="../tags/tag135.xml"/><Relationship Id="rId17" Type="http://schemas.openxmlformats.org/officeDocument/2006/relationships/tags" Target="../tags/tag140.xml"/><Relationship Id="rId33" Type="http://schemas.openxmlformats.org/officeDocument/2006/relationships/tags" Target="../tags/tag156.xml"/><Relationship Id="rId38" Type="http://schemas.openxmlformats.org/officeDocument/2006/relationships/tags" Target="../tags/tag161.xml"/><Relationship Id="rId59" Type="http://schemas.openxmlformats.org/officeDocument/2006/relationships/tags" Target="../tags/tag182.xml"/><Relationship Id="rId103" Type="http://schemas.openxmlformats.org/officeDocument/2006/relationships/tags" Target="../tags/tag226.xml"/><Relationship Id="rId108" Type="http://schemas.openxmlformats.org/officeDocument/2006/relationships/tags" Target="../tags/tag231.xml"/><Relationship Id="rId124" Type="http://schemas.openxmlformats.org/officeDocument/2006/relationships/tags" Target="../tags/tag247.xml"/><Relationship Id="rId129" Type="http://schemas.openxmlformats.org/officeDocument/2006/relationships/tags" Target="../tags/tag252.xml"/><Relationship Id="rId54" Type="http://schemas.openxmlformats.org/officeDocument/2006/relationships/tags" Target="../tags/tag177.xml"/><Relationship Id="rId70" Type="http://schemas.openxmlformats.org/officeDocument/2006/relationships/tags" Target="../tags/tag193.xml"/><Relationship Id="rId75" Type="http://schemas.openxmlformats.org/officeDocument/2006/relationships/tags" Target="../tags/tag198.xml"/><Relationship Id="rId91" Type="http://schemas.openxmlformats.org/officeDocument/2006/relationships/tags" Target="../tags/tag214.xml"/><Relationship Id="rId96" Type="http://schemas.openxmlformats.org/officeDocument/2006/relationships/tags" Target="../tags/tag219.xml"/><Relationship Id="rId140" Type="http://schemas.openxmlformats.org/officeDocument/2006/relationships/tags" Target="../tags/tag263.xml"/><Relationship Id="rId145" Type="http://schemas.openxmlformats.org/officeDocument/2006/relationships/tags" Target="../tags/tag268.xml"/><Relationship Id="rId161" Type="http://schemas.openxmlformats.org/officeDocument/2006/relationships/oleObject" Target="../embeddings/oleObject21.bin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23" Type="http://schemas.openxmlformats.org/officeDocument/2006/relationships/tags" Target="../tags/tag146.xml"/><Relationship Id="rId28" Type="http://schemas.openxmlformats.org/officeDocument/2006/relationships/tags" Target="../tags/tag151.xml"/><Relationship Id="rId49" Type="http://schemas.openxmlformats.org/officeDocument/2006/relationships/tags" Target="../tags/tag172.xml"/><Relationship Id="rId114" Type="http://schemas.openxmlformats.org/officeDocument/2006/relationships/tags" Target="../tags/tag237.xml"/><Relationship Id="rId119" Type="http://schemas.openxmlformats.org/officeDocument/2006/relationships/tags" Target="../tags/tag242.xml"/><Relationship Id="rId44" Type="http://schemas.openxmlformats.org/officeDocument/2006/relationships/tags" Target="../tags/tag167.xml"/><Relationship Id="rId60" Type="http://schemas.openxmlformats.org/officeDocument/2006/relationships/tags" Target="../tags/tag183.xml"/><Relationship Id="rId65" Type="http://schemas.openxmlformats.org/officeDocument/2006/relationships/tags" Target="../tags/tag188.xml"/><Relationship Id="rId81" Type="http://schemas.openxmlformats.org/officeDocument/2006/relationships/tags" Target="../tags/tag204.xml"/><Relationship Id="rId86" Type="http://schemas.openxmlformats.org/officeDocument/2006/relationships/tags" Target="../tags/tag209.xml"/><Relationship Id="rId130" Type="http://schemas.openxmlformats.org/officeDocument/2006/relationships/tags" Target="../tags/tag253.xml"/><Relationship Id="rId135" Type="http://schemas.openxmlformats.org/officeDocument/2006/relationships/tags" Target="../tags/tag258.xml"/><Relationship Id="rId151" Type="http://schemas.openxmlformats.org/officeDocument/2006/relationships/tags" Target="../tags/tag274.xml"/><Relationship Id="rId156" Type="http://schemas.openxmlformats.org/officeDocument/2006/relationships/tags" Target="../tags/tag279.xml"/><Relationship Id="rId13" Type="http://schemas.openxmlformats.org/officeDocument/2006/relationships/tags" Target="../tags/tag136.xml"/><Relationship Id="rId18" Type="http://schemas.openxmlformats.org/officeDocument/2006/relationships/tags" Target="../tags/tag141.xml"/><Relationship Id="rId39" Type="http://schemas.openxmlformats.org/officeDocument/2006/relationships/tags" Target="../tags/tag162.xml"/><Relationship Id="rId109" Type="http://schemas.openxmlformats.org/officeDocument/2006/relationships/tags" Target="../tags/tag232.xml"/><Relationship Id="rId34" Type="http://schemas.openxmlformats.org/officeDocument/2006/relationships/tags" Target="../tags/tag157.xml"/><Relationship Id="rId50" Type="http://schemas.openxmlformats.org/officeDocument/2006/relationships/tags" Target="../tags/tag173.xml"/><Relationship Id="rId55" Type="http://schemas.openxmlformats.org/officeDocument/2006/relationships/tags" Target="../tags/tag178.xml"/><Relationship Id="rId76" Type="http://schemas.openxmlformats.org/officeDocument/2006/relationships/tags" Target="../tags/tag199.xml"/><Relationship Id="rId97" Type="http://schemas.openxmlformats.org/officeDocument/2006/relationships/tags" Target="../tags/tag220.xml"/><Relationship Id="rId104" Type="http://schemas.openxmlformats.org/officeDocument/2006/relationships/tags" Target="../tags/tag227.xml"/><Relationship Id="rId120" Type="http://schemas.openxmlformats.org/officeDocument/2006/relationships/tags" Target="../tags/tag243.xml"/><Relationship Id="rId125" Type="http://schemas.openxmlformats.org/officeDocument/2006/relationships/tags" Target="../tags/tag248.xml"/><Relationship Id="rId141" Type="http://schemas.openxmlformats.org/officeDocument/2006/relationships/tags" Target="../tags/tag264.xml"/><Relationship Id="rId146" Type="http://schemas.openxmlformats.org/officeDocument/2006/relationships/tags" Target="../tags/tag269.xml"/><Relationship Id="rId7" Type="http://schemas.openxmlformats.org/officeDocument/2006/relationships/tags" Target="../tags/tag130.xml"/><Relationship Id="rId71" Type="http://schemas.openxmlformats.org/officeDocument/2006/relationships/tags" Target="../tags/tag194.xml"/><Relationship Id="rId92" Type="http://schemas.openxmlformats.org/officeDocument/2006/relationships/tags" Target="../tags/tag215.xml"/><Relationship Id="rId162" Type="http://schemas.openxmlformats.org/officeDocument/2006/relationships/image" Target="../media/image1.emf"/><Relationship Id="rId2" Type="http://schemas.openxmlformats.org/officeDocument/2006/relationships/tags" Target="../tags/tag125.xml"/><Relationship Id="rId29" Type="http://schemas.openxmlformats.org/officeDocument/2006/relationships/tags" Target="../tags/tag152.xml"/><Relationship Id="rId24" Type="http://schemas.openxmlformats.org/officeDocument/2006/relationships/tags" Target="../tags/tag147.xml"/><Relationship Id="rId40" Type="http://schemas.openxmlformats.org/officeDocument/2006/relationships/tags" Target="../tags/tag163.xml"/><Relationship Id="rId45" Type="http://schemas.openxmlformats.org/officeDocument/2006/relationships/tags" Target="../tags/tag168.xml"/><Relationship Id="rId66" Type="http://schemas.openxmlformats.org/officeDocument/2006/relationships/tags" Target="../tags/tag189.xml"/><Relationship Id="rId87" Type="http://schemas.openxmlformats.org/officeDocument/2006/relationships/tags" Target="../tags/tag210.xml"/><Relationship Id="rId110" Type="http://schemas.openxmlformats.org/officeDocument/2006/relationships/tags" Target="../tags/tag233.xml"/><Relationship Id="rId115" Type="http://schemas.openxmlformats.org/officeDocument/2006/relationships/tags" Target="../tags/tag238.xml"/><Relationship Id="rId131" Type="http://schemas.openxmlformats.org/officeDocument/2006/relationships/tags" Target="../tags/tag254.xml"/><Relationship Id="rId136" Type="http://schemas.openxmlformats.org/officeDocument/2006/relationships/tags" Target="../tags/tag259.xml"/><Relationship Id="rId157" Type="http://schemas.openxmlformats.org/officeDocument/2006/relationships/tags" Target="../tags/tag280.xml"/><Relationship Id="rId61" Type="http://schemas.openxmlformats.org/officeDocument/2006/relationships/tags" Target="../tags/tag184.xml"/><Relationship Id="rId82" Type="http://schemas.openxmlformats.org/officeDocument/2006/relationships/tags" Target="../tags/tag205.xml"/><Relationship Id="rId152" Type="http://schemas.openxmlformats.org/officeDocument/2006/relationships/tags" Target="../tags/tag275.xml"/><Relationship Id="rId19" Type="http://schemas.openxmlformats.org/officeDocument/2006/relationships/tags" Target="../tags/tag142.xml"/><Relationship Id="rId14" Type="http://schemas.openxmlformats.org/officeDocument/2006/relationships/tags" Target="../tags/tag137.xml"/><Relationship Id="rId30" Type="http://schemas.openxmlformats.org/officeDocument/2006/relationships/tags" Target="../tags/tag153.xml"/><Relationship Id="rId35" Type="http://schemas.openxmlformats.org/officeDocument/2006/relationships/tags" Target="../tags/tag158.xml"/><Relationship Id="rId56" Type="http://schemas.openxmlformats.org/officeDocument/2006/relationships/tags" Target="../tags/tag179.xml"/><Relationship Id="rId77" Type="http://schemas.openxmlformats.org/officeDocument/2006/relationships/tags" Target="../tags/tag200.xml"/><Relationship Id="rId100" Type="http://schemas.openxmlformats.org/officeDocument/2006/relationships/tags" Target="../tags/tag223.xml"/><Relationship Id="rId105" Type="http://schemas.openxmlformats.org/officeDocument/2006/relationships/tags" Target="../tags/tag228.xml"/><Relationship Id="rId126" Type="http://schemas.openxmlformats.org/officeDocument/2006/relationships/tags" Target="../tags/tag249.xml"/><Relationship Id="rId147" Type="http://schemas.openxmlformats.org/officeDocument/2006/relationships/tags" Target="../tags/tag270.xml"/><Relationship Id="rId8" Type="http://schemas.openxmlformats.org/officeDocument/2006/relationships/tags" Target="../tags/tag131.xml"/><Relationship Id="rId51" Type="http://schemas.openxmlformats.org/officeDocument/2006/relationships/tags" Target="../tags/tag174.xml"/><Relationship Id="rId72" Type="http://schemas.openxmlformats.org/officeDocument/2006/relationships/tags" Target="../tags/tag195.xml"/><Relationship Id="rId93" Type="http://schemas.openxmlformats.org/officeDocument/2006/relationships/tags" Target="../tags/tag216.xml"/><Relationship Id="rId98" Type="http://schemas.openxmlformats.org/officeDocument/2006/relationships/tags" Target="../tags/tag221.xml"/><Relationship Id="rId121" Type="http://schemas.openxmlformats.org/officeDocument/2006/relationships/tags" Target="../tags/tag244.xml"/><Relationship Id="rId142" Type="http://schemas.openxmlformats.org/officeDocument/2006/relationships/tags" Target="../tags/tag265.xml"/><Relationship Id="rId163" Type="http://schemas.openxmlformats.org/officeDocument/2006/relationships/chart" Target="../charts/chart9.xml"/><Relationship Id="rId3" Type="http://schemas.openxmlformats.org/officeDocument/2006/relationships/tags" Target="../tags/tag126.xml"/><Relationship Id="rId25" Type="http://schemas.openxmlformats.org/officeDocument/2006/relationships/tags" Target="../tags/tag148.xml"/><Relationship Id="rId46" Type="http://schemas.openxmlformats.org/officeDocument/2006/relationships/tags" Target="../tags/tag169.xml"/><Relationship Id="rId67" Type="http://schemas.openxmlformats.org/officeDocument/2006/relationships/tags" Target="../tags/tag190.xml"/><Relationship Id="rId116" Type="http://schemas.openxmlformats.org/officeDocument/2006/relationships/tags" Target="../tags/tag239.xml"/><Relationship Id="rId137" Type="http://schemas.openxmlformats.org/officeDocument/2006/relationships/tags" Target="../tags/tag260.xml"/><Relationship Id="rId158" Type="http://schemas.openxmlformats.org/officeDocument/2006/relationships/tags" Target="../tags/tag281.xml"/><Relationship Id="rId20" Type="http://schemas.openxmlformats.org/officeDocument/2006/relationships/tags" Target="../tags/tag143.xml"/><Relationship Id="rId41" Type="http://schemas.openxmlformats.org/officeDocument/2006/relationships/tags" Target="../tags/tag164.xml"/><Relationship Id="rId62" Type="http://schemas.openxmlformats.org/officeDocument/2006/relationships/tags" Target="../tags/tag185.xml"/><Relationship Id="rId83" Type="http://schemas.openxmlformats.org/officeDocument/2006/relationships/tags" Target="../tags/tag206.xml"/><Relationship Id="rId88" Type="http://schemas.openxmlformats.org/officeDocument/2006/relationships/tags" Target="../tags/tag211.xml"/><Relationship Id="rId111" Type="http://schemas.openxmlformats.org/officeDocument/2006/relationships/tags" Target="../tags/tag234.xml"/><Relationship Id="rId132" Type="http://schemas.openxmlformats.org/officeDocument/2006/relationships/tags" Target="../tags/tag255.xml"/><Relationship Id="rId153" Type="http://schemas.openxmlformats.org/officeDocument/2006/relationships/tags" Target="../tags/tag276.xml"/><Relationship Id="rId15" Type="http://schemas.openxmlformats.org/officeDocument/2006/relationships/tags" Target="../tags/tag138.xml"/><Relationship Id="rId36" Type="http://schemas.openxmlformats.org/officeDocument/2006/relationships/tags" Target="../tags/tag159.xml"/><Relationship Id="rId57" Type="http://schemas.openxmlformats.org/officeDocument/2006/relationships/tags" Target="../tags/tag180.xml"/><Relationship Id="rId106" Type="http://schemas.openxmlformats.org/officeDocument/2006/relationships/tags" Target="../tags/tag229.xml"/><Relationship Id="rId127" Type="http://schemas.openxmlformats.org/officeDocument/2006/relationships/tags" Target="../tags/tag250.xml"/><Relationship Id="rId10" Type="http://schemas.openxmlformats.org/officeDocument/2006/relationships/tags" Target="../tags/tag133.xml"/><Relationship Id="rId31" Type="http://schemas.openxmlformats.org/officeDocument/2006/relationships/tags" Target="../tags/tag154.xml"/><Relationship Id="rId52" Type="http://schemas.openxmlformats.org/officeDocument/2006/relationships/tags" Target="../tags/tag175.xml"/><Relationship Id="rId73" Type="http://schemas.openxmlformats.org/officeDocument/2006/relationships/tags" Target="../tags/tag196.xml"/><Relationship Id="rId78" Type="http://schemas.openxmlformats.org/officeDocument/2006/relationships/tags" Target="../tags/tag201.xml"/><Relationship Id="rId94" Type="http://schemas.openxmlformats.org/officeDocument/2006/relationships/tags" Target="../tags/tag217.xml"/><Relationship Id="rId99" Type="http://schemas.openxmlformats.org/officeDocument/2006/relationships/tags" Target="../tags/tag222.xml"/><Relationship Id="rId101" Type="http://schemas.openxmlformats.org/officeDocument/2006/relationships/tags" Target="../tags/tag224.xml"/><Relationship Id="rId122" Type="http://schemas.openxmlformats.org/officeDocument/2006/relationships/tags" Target="../tags/tag245.xml"/><Relationship Id="rId143" Type="http://schemas.openxmlformats.org/officeDocument/2006/relationships/tags" Target="../tags/tag266.xml"/><Relationship Id="rId148" Type="http://schemas.openxmlformats.org/officeDocument/2006/relationships/tags" Target="../tags/tag271.xml"/><Relationship Id="rId4" Type="http://schemas.openxmlformats.org/officeDocument/2006/relationships/tags" Target="../tags/tag127.xml"/><Relationship Id="rId9" Type="http://schemas.openxmlformats.org/officeDocument/2006/relationships/tags" Target="../tags/tag132.xml"/><Relationship Id="rId26" Type="http://schemas.openxmlformats.org/officeDocument/2006/relationships/tags" Target="../tags/tag149.xml"/><Relationship Id="rId47" Type="http://schemas.openxmlformats.org/officeDocument/2006/relationships/tags" Target="../tags/tag170.xml"/><Relationship Id="rId68" Type="http://schemas.openxmlformats.org/officeDocument/2006/relationships/tags" Target="../tags/tag191.xml"/><Relationship Id="rId89" Type="http://schemas.openxmlformats.org/officeDocument/2006/relationships/tags" Target="../tags/tag212.xml"/><Relationship Id="rId112" Type="http://schemas.openxmlformats.org/officeDocument/2006/relationships/tags" Target="../tags/tag235.xml"/><Relationship Id="rId133" Type="http://schemas.openxmlformats.org/officeDocument/2006/relationships/tags" Target="../tags/tag256.xml"/><Relationship Id="rId154" Type="http://schemas.openxmlformats.org/officeDocument/2006/relationships/tags" Target="../tags/tag277.xml"/><Relationship Id="rId16" Type="http://schemas.openxmlformats.org/officeDocument/2006/relationships/tags" Target="../tags/tag139.xml"/><Relationship Id="rId37" Type="http://schemas.openxmlformats.org/officeDocument/2006/relationships/tags" Target="../tags/tag160.xml"/><Relationship Id="rId58" Type="http://schemas.openxmlformats.org/officeDocument/2006/relationships/tags" Target="../tags/tag181.xml"/><Relationship Id="rId79" Type="http://schemas.openxmlformats.org/officeDocument/2006/relationships/tags" Target="../tags/tag202.xml"/><Relationship Id="rId102" Type="http://schemas.openxmlformats.org/officeDocument/2006/relationships/tags" Target="../tags/tag225.xml"/><Relationship Id="rId123" Type="http://schemas.openxmlformats.org/officeDocument/2006/relationships/tags" Target="../tags/tag246.xml"/><Relationship Id="rId144" Type="http://schemas.openxmlformats.org/officeDocument/2006/relationships/tags" Target="../tags/tag267.xml"/><Relationship Id="rId90" Type="http://schemas.openxmlformats.org/officeDocument/2006/relationships/tags" Target="../tags/tag213.xml"/><Relationship Id="rId27" Type="http://schemas.openxmlformats.org/officeDocument/2006/relationships/tags" Target="../tags/tag150.xml"/><Relationship Id="rId48" Type="http://schemas.openxmlformats.org/officeDocument/2006/relationships/tags" Target="../tags/tag171.xml"/><Relationship Id="rId69" Type="http://schemas.openxmlformats.org/officeDocument/2006/relationships/tags" Target="../tags/tag192.xml"/><Relationship Id="rId113" Type="http://schemas.openxmlformats.org/officeDocument/2006/relationships/tags" Target="../tags/tag236.xml"/><Relationship Id="rId134" Type="http://schemas.openxmlformats.org/officeDocument/2006/relationships/tags" Target="../tags/tag257.xml"/><Relationship Id="rId80" Type="http://schemas.openxmlformats.org/officeDocument/2006/relationships/tags" Target="../tags/tag203.xml"/><Relationship Id="rId155" Type="http://schemas.openxmlformats.org/officeDocument/2006/relationships/tags" Target="../tags/tag2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33497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4919156-24E1-4292-AB2A-1606EDFE15A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36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QVIA Consulting Deliverable</a:t>
            </a: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Market Trends</a:t>
            </a:r>
            <a:br>
              <a:rPr lang="en-US" dirty="0"/>
            </a:br>
            <a:r>
              <a:rPr lang="en-US" dirty="0"/>
              <a:t>Q1/20</a:t>
            </a:r>
            <a:r>
              <a:rPr lang="el-GR" dirty="0"/>
              <a:t>2</a:t>
            </a:r>
            <a:r>
              <a:rPr lang="en-US" dirty="0"/>
              <a:t>3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thens, May 2023</a:t>
            </a:r>
          </a:p>
        </p:txBody>
      </p:sp>
      <p:pic>
        <p:nvPicPr>
          <p:cNvPr id="9" name="Picture 2" descr="Αποτέλεσμα εικόνας για sfee">
            <a:extLst>
              <a:ext uri="{FF2B5EF4-FFF2-40B4-BE49-F238E27FC236}">
                <a16:creationId xmlns:a16="http://schemas.microsoft.com/office/drawing/2014/main" id="{715BB7AC-14ED-4457-87B1-CC703A16C9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0762" y="486661"/>
            <a:ext cx="2076486" cy="784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5732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248764A-8947-426D-9B8F-679FB0D21B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91060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2" imgW="592" imgH="591" progId="TCLayout.ActiveDocument.1">
                  <p:embed/>
                </p:oleObj>
              </mc:Choice>
              <mc:Fallback>
                <p:oleObj name="think-cell Slide" r:id="rId192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248764A-8947-426D-9B8F-679FB0D21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900" dirty="0" err="1"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4007C1-D739-4EE8-AA67-4EADBBFE009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Reimbursable marke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C2F8F7-85C5-496F-8D0F-A4F6F6E7E5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7012" y="6118280"/>
            <a:ext cx="11246241" cy="110800"/>
          </a:xfrm>
        </p:spPr>
        <p:txBody>
          <a:bodyPr/>
          <a:lstStyle/>
          <a:p>
            <a:r>
              <a:rPr lang="en-US" dirty="0"/>
              <a:t>Note: Excluding all L.3816 products; Total market figures (2015-2017) have been adjusted subject to IQVIA market restatement in 2018; Classification by On patent, Off patent, Generics and Others is based on </a:t>
            </a:r>
            <a:r>
              <a:rPr lang="en-US" dirty="0" err="1"/>
              <a:t>Sfee</a:t>
            </a:r>
            <a:r>
              <a:rPr lang="en-US" dirty="0"/>
              <a:t>/IQVIA flag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arket size in values (PSP) – Reimbursable only – By patent status – Quarterly</a:t>
            </a:r>
            <a:endParaRPr lang="el-GR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ales in the Reimbursable market increased by ~8.1% in Q1/23 vs. Q1/22</a:t>
            </a: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6BE58EA7-EB76-FD70-03BF-E28352429BA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99987084"/>
              </p:ext>
            </p:extLst>
          </p:nvPr>
        </p:nvGraphicFramePr>
        <p:xfrm>
          <a:off x="-33338" y="2282825"/>
          <a:ext cx="11839575" cy="3184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4"/>
          </a:graphicData>
        </a:graphic>
      </p:graphicFrame>
      <p:cxnSp>
        <p:nvCxnSpPr>
          <p:cNvPr id="290" name="Straight Connector 289"/>
          <p:cNvCxnSpPr/>
          <p:nvPr>
            <p:custDataLst>
              <p:tags r:id="rId4"/>
            </p:custDataLst>
          </p:nvPr>
        </p:nvCxnSpPr>
        <p:spPr bwMode="gray">
          <a:xfrm flipV="1">
            <a:off x="9955213" y="2462213"/>
            <a:ext cx="0" cy="344488"/>
          </a:xfrm>
          <a:prstGeom prst="line">
            <a:avLst/>
          </a:prstGeom>
          <a:noFill/>
          <a:ln w="12700" algn="ctr">
            <a:solidFill>
              <a:schemeClr val="hlink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92" name="Straight Connector 291"/>
          <p:cNvCxnSpPr/>
          <p:nvPr>
            <p:custDataLst>
              <p:tags r:id="rId5"/>
            </p:custDataLst>
          </p:nvPr>
        </p:nvCxnSpPr>
        <p:spPr bwMode="gray">
          <a:xfrm>
            <a:off x="9955214" y="2462213"/>
            <a:ext cx="1571625" cy="0"/>
          </a:xfrm>
          <a:prstGeom prst="line">
            <a:avLst/>
          </a:prstGeom>
          <a:noFill/>
          <a:ln w="12700" algn="ctr">
            <a:solidFill>
              <a:schemeClr val="hlink"/>
            </a:solidFill>
            <a:prstDash val="solid"/>
            <a:round/>
            <a:headEnd type="none"/>
            <a:tailEnd type="none"/>
          </a:ln>
          <a:effectLst/>
        </p:spPr>
      </p:cxnSp>
      <p:cxnSp>
        <p:nvCxnSpPr>
          <p:cNvPr id="291" name="Straight Connector 290"/>
          <p:cNvCxnSpPr/>
          <p:nvPr>
            <p:custDataLst>
              <p:tags r:id="rId6"/>
            </p:custDataLst>
          </p:nvPr>
        </p:nvCxnSpPr>
        <p:spPr bwMode="gray">
          <a:xfrm>
            <a:off x="11526838" y="2462213"/>
            <a:ext cx="0" cy="152400"/>
          </a:xfrm>
          <a:prstGeom prst="line">
            <a:avLst/>
          </a:prstGeom>
          <a:noFill/>
          <a:ln w="12700" algn="ctr">
            <a:solidFill>
              <a:schemeClr val="hlink"/>
            </a:solidFill>
            <a:prstDash val="solid"/>
            <a:round/>
            <a:headEnd type="none"/>
            <a:tailEnd type="triangle" w="med" len="med"/>
          </a:ln>
          <a:effectLst/>
        </p:spPr>
      </p:cxnSp>
      <p:sp>
        <p:nvSpPr>
          <p:cNvPr id="320" name="Rectangle 319">
            <a:extLst>
              <a:ext uri="{FF2B5EF4-FFF2-40B4-BE49-F238E27FC236}">
                <a16:creationId xmlns:a16="http://schemas.microsoft.com/office/drawing/2014/main" id="{3D24160B-EE6F-4ADD-BF87-07EE059B76D6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2365375" y="3762375"/>
            <a:ext cx="254000" cy="1365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D96AF8B-78EA-42FD-B8CD-AC20DD048F2F}" type="datetime'''0''''''''.18''''''''''''''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8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68569D2A-1E0A-4609-A24A-99A80AC0E6B2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8256588" y="4348163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B501775-A655-426E-8561-10A11B53BC48}" type="datetime'''''''''''0''''''''''.''''''''''''''''''2''''''''''9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0.29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7" name="Rectangle 336">
            <a:extLst>
              <a:ext uri="{FF2B5EF4-FFF2-40B4-BE49-F238E27FC236}">
                <a16:creationId xmlns:a16="http://schemas.microsoft.com/office/drawing/2014/main" id="{A2017EDA-B54B-4ECB-9ABC-064A22779142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3543300" y="4311650"/>
            <a:ext cx="25400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9290EB0-9732-40BA-B04D-4BDC0436E9E0}" type="datetime'''''''''''''''0.''''''''''''''''''''''2''6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6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44" name="Rectangle 343">
            <a:extLst>
              <a:ext uri="{FF2B5EF4-FFF2-40B4-BE49-F238E27FC236}">
                <a16:creationId xmlns:a16="http://schemas.microsoft.com/office/drawing/2014/main" id="{9E14A410-527F-45A0-B44A-0E5EEE89063D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3935413" y="3805238"/>
            <a:ext cx="254000" cy="1365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96D1A2-89C4-4EF5-A410-0542368369F8}" type="datetime'''0.''''''''''''''1''''''''''''''''''''''''''7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7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433" name="Text Placeholder 19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722563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6C53A94D-9045-4211-BDA5-6C8007D7FC0F}" type="datetime'''''''''''''''Q''''''''''3''''''''''/''''17''''''''''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Q3/17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045AFD59-8C3D-4594-9B1B-3D7801090F4D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8650288" y="2892425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A18B0C0-8707-4933-9A14-EF099FD1B08C}" type="datetime'''''''0''''''''''.''9''''''''3''''''''''''''''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sym typeface="Arial" panose="020B0604020202020204" pitchFamily="34" charset="0"/>
              </a:rPr>
              <a:pPr/>
              <a:t>0.9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D9A8C377-7BB3-4882-86A0-FA129C4A5401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3151188" y="3341688"/>
            <a:ext cx="25400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C117E06-11A0-4A46-80D6-4B5442D3471F}" type="datetime'''''''''''0''''''''''''''''''.''''''1''''8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8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27" name="Rectangle 326">
            <a:extLst>
              <a:ext uri="{FF2B5EF4-FFF2-40B4-BE49-F238E27FC236}">
                <a16:creationId xmlns:a16="http://schemas.microsoft.com/office/drawing/2014/main" id="{9DB36D10-E22D-4EDC-89B2-000990BB5472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2757488" y="3471863"/>
            <a:ext cx="25400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C998CCF-0F95-46BE-9342-CE6197F32D82}" type="datetime'''0''''''''.''''''''1''''''''''''''''''''''''4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4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824CA5C9-7786-4D5A-8BE5-ABD6420FD372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9436100" y="4251325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4AFF647-D72D-4B65-A456-BB89C79CFFC0}" type="datetime'''''''''''''''''''0''''''''''.''''''3''''''1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31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326" name="Rectangle 325">
            <a:extLst>
              <a:ext uri="{FF2B5EF4-FFF2-40B4-BE49-F238E27FC236}">
                <a16:creationId xmlns:a16="http://schemas.microsoft.com/office/drawing/2014/main" id="{A14FAFC1-CAC6-4212-9758-91D7F0CF9EFB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2757488" y="3856038"/>
            <a:ext cx="254000" cy="1365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FC92DF1-6658-495A-BC8E-FAE6B80FA9E2}" type="datetime'0.''''''''''''''''''''''''''''''1''7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7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E0029F8-0A27-468A-A4A0-69F7523FFA5B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1185863" y="4352925"/>
            <a:ext cx="25400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A1CA6AD-9494-4DA6-BB29-50FE4514D911}" type="datetime'''''''''''''''''''''''''''0''.''''''''''''''''''2''''4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4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93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757488" y="3205163"/>
            <a:ext cx="2540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0779A83-A21C-477F-91C4-A365A24D2F76}" type="datetime'''0''''''''''''''''''''''''''''''''''''.8''''''''''''''0'">
              <a:rPr lang="el-GR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0.80</a:t>
            </a:fld>
            <a:endParaRPr lang="el-GR" sz="900" dirty="0">
              <a:solidFill>
                <a:schemeClr val="tx1"/>
              </a:solidFill>
              <a:latin typeface="+mn-lt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431" name="Rectangle 430"/>
          <p:cNvSpPr/>
          <p:nvPr>
            <p:custDataLst>
              <p:tags r:id="rId19"/>
            </p:custDataLst>
          </p:nvPr>
        </p:nvSpPr>
        <p:spPr bwMode="auto">
          <a:xfrm>
            <a:off x="261938" y="2139950"/>
            <a:ext cx="1397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ctr"/>
            <a:r>
              <a:rPr lang="el-GR" sz="900" dirty="0">
                <a:latin typeface="Arial"/>
                <a:ea typeface="Verdana"/>
                <a:cs typeface="Arial"/>
                <a:sym typeface="Arial"/>
              </a:rPr>
              <a:t>Β€</a:t>
            </a:r>
            <a:endParaRPr kumimoji="0" lang="en-US" sz="900" strike="noStrike" cap="none" normalizeH="0" dirty="0">
              <a:ln>
                <a:noFill/>
              </a:ln>
              <a:effectLst/>
              <a:latin typeface="Arial"/>
              <a:ea typeface="Verdana"/>
              <a:cs typeface="Arial"/>
              <a:sym typeface="Arial"/>
            </a:endParaRPr>
          </a:p>
        </p:txBody>
      </p:sp>
      <p:sp>
        <p:nvSpPr>
          <p:cNvPr id="310" name="Text Placeholder 19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544638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814BA1E-3C39-438C-9B66-C09A72DB3DC5}" type="datetime'''''''''''''''''''Q''4''/''''''''''''''''''''''1''''''''''''6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Q4/16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44FEDCCA-BA17-4E0A-8C1F-4ED7791A79F0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400050" y="3313113"/>
            <a:ext cx="25400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454906E-3937-40B0-AA64-2E5F536F6808}" type="datetime'''''''''''0''''''''''''.''''''''''''''1''''''''3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30" name="Rectangle 329">
            <a:extLst>
              <a:ext uri="{FF2B5EF4-FFF2-40B4-BE49-F238E27FC236}">
                <a16:creationId xmlns:a16="http://schemas.microsoft.com/office/drawing/2014/main" id="{34648706-74E9-491C-A34E-E86C44AA86EE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3151188" y="4962525"/>
            <a:ext cx="25400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11F34AD-EE6E-41E9-A3E3-7F8F317AF19D}" type="datetime'''''''0''''''''''''.''''''''''''''2''''8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8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14" name="Rectangle 313">
            <a:extLst>
              <a:ext uri="{FF2B5EF4-FFF2-40B4-BE49-F238E27FC236}">
                <a16:creationId xmlns:a16="http://schemas.microsoft.com/office/drawing/2014/main" id="{B2827B27-59C0-4F70-9C8E-F74C0DA2C9A0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400050" y="3729038"/>
            <a:ext cx="254000" cy="1365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09AE16A-9A35-4DC2-B253-6C2BFB3D1C8F}" type="datetime'''''''''''''''''''''''''0''''''''''''''''.2''''''''0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0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12" name="Rectangle 311">
            <a:extLst>
              <a:ext uri="{FF2B5EF4-FFF2-40B4-BE49-F238E27FC236}">
                <a16:creationId xmlns:a16="http://schemas.microsoft.com/office/drawing/2014/main" id="{BC9D80DE-EBD6-4BDE-BE58-FB2B93A3EF0C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400050" y="4992688"/>
            <a:ext cx="25400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2287480-BABD-4B64-8E0A-119967407421}" type="datetime'''''0''''''''''''''.''''2''''''''''''''''''''''5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5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48" name="Rectangle 347">
            <a:extLst>
              <a:ext uri="{FF2B5EF4-FFF2-40B4-BE49-F238E27FC236}">
                <a16:creationId xmlns:a16="http://schemas.microsoft.com/office/drawing/2014/main" id="{412A9B0F-3BEE-4D49-AE7E-D7D3F9629448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4329113" y="4986338"/>
            <a:ext cx="25400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9B707D2-0BFE-477D-BBBD-0A0FB0EA57D6}" type="datetime'''''0''''''''''.''''''''''''''''''''''''''''''''2''''6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6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34" name="Text Placeholder 19">
            <a:extLst>
              <a:ext uri="{FF2B5EF4-FFF2-40B4-BE49-F238E27FC236}">
                <a16:creationId xmlns:a16="http://schemas.microsoft.com/office/drawing/2014/main" id="{C68EDD67-ED3B-4977-A6EA-E2079407A65C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0579100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DE16718-89D0-4F01-B98C-3AFC1A380F63}" type="datetime'Q''3''''''''''''/''''''''2''''''''''''''2''''''''''''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ea typeface="Verdana" panose="020B0604030504040204" pitchFamily="34" charset="0"/>
                <a:cs typeface="+mn-cs"/>
              </a:rPr>
              <a:pPr/>
              <a:t>Q3/22</a:t>
            </a:fld>
            <a:endParaRPr lang="el-GR" sz="900">
              <a:solidFill>
                <a:schemeClr val="tx1"/>
              </a:solidFill>
              <a:latin typeface="+mn-lt"/>
              <a:ea typeface="Verdana" panose="020B0604030504040204" pitchFamily="34" charset="0"/>
              <a:cs typeface="+mn-cs"/>
              <a:sym typeface="Arial"/>
            </a:endParaRPr>
          </a:p>
        </p:txBody>
      </p:sp>
      <p:sp>
        <p:nvSpPr>
          <p:cNvPr id="313" name="Rectangle 312">
            <a:extLst>
              <a:ext uri="{FF2B5EF4-FFF2-40B4-BE49-F238E27FC236}">
                <a16:creationId xmlns:a16="http://schemas.microsoft.com/office/drawing/2014/main" id="{E62557E9-0DDA-4B2F-B6AD-F77CEF4849EC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400050" y="4327525"/>
            <a:ext cx="25400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C0FA18A-AA0C-4C70-B326-383A09D430D8}" type="datetime'''''''''''''''''''''0''''''.''''2''''''''''''''''''8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8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F6251CD7-951E-422F-80F7-D42419394450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9042400" y="3205163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70E9523-22CB-4E95-BDF5-ADF2CA2AE2C8}" type="datetime'''''''''''''''''''0''''''''''''''''''''''.''''''1''''''6'''">
              <a:rPr lang="en-US" altLang="en-US" sz="900" smtClean="0">
                <a:solidFill>
                  <a:schemeClr val="tx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16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357" name="Rectangle 356">
            <a:extLst>
              <a:ext uri="{FF2B5EF4-FFF2-40B4-BE49-F238E27FC236}">
                <a16:creationId xmlns:a16="http://schemas.microsoft.com/office/drawing/2014/main" id="{BDB5F56E-81F4-4A1A-87B8-561C0BA730FB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4721225" y="3294063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C3AB6D1-0046-4888-8AB9-256FE9366767}" type="datetime'''''''''''0''''.''''''20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0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28" name="Text Placeholder 19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65125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C72472F-E639-41D4-844E-7764B23A31F9}" type="datetime'''Q''''''1''''''''/''1''6'''''''''''''''''''''''''''''''">
              <a:rPr lang="en-US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Q1/16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9CA1EF34-8178-4A3A-B90A-6D243686B2FB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793750" y="3324225"/>
            <a:ext cx="25400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B49339E-0FD6-445D-BAA4-4CD82BEE2865}" type="datetime'''''''''''''''''''0.''''''''''''''''''1''''''3''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543E180-A3D2-423C-A517-AD93342C0994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793750" y="3735388"/>
            <a:ext cx="254000" cy="1365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54845D1-2F36-4680-B964-1D287AF1C824}" type="datetime'''''''''''''0''''''''''''''''''.''''''1''''''''''''''9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9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45277D2D-0461-4305-8717-7A62B9BBCB4F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793750" y="4313238"/>
            <a:ext cx="25400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48C31F6-0B50-4904-ADFB-01C60622C0A1}" type="datetime'''''''''''0''''''''''.2''''''''''''''''7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7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E7F822B0-EC1E-4245-92EE-B57F52B34CD4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793750" y="4978400"/>
            <a:ext cx="25400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531A8C-6CAD-4411-85F1-6EC022DF9699}" type="datetime'0''''''''''''''''''''''''''''''''''''''''.''''''2''6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6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66" name="Text Placeholder 19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3900488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4831574-249D-433A-9228-939C2633D615}" type="datetime'''''''''''''''''''''''''''''Q''''''''''2''''''''''/''1''''8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Q2/18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7DE3BE7C-E268-4280-8735-9558F3A777D0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8256588" y="2989263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234497B-1087-4151-8D9C-23A7E4B5BD19}" type="datetime'''''''''''0.''''''''''''''8''''''''''''9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0.89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33E5196-2068-43E7-9696-27F5B13AD290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5900738" y="3090863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61C64EE-CAAE-40D3-8514-C557CCAC6379}" type="datetime'''0''''''''''''''''''''''''.''''''''''''''8''''''5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</a:rPr>
              <a:pPr/>
              <a:t>0.85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22" name="Text Placeholder 19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58825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95B73FF-9EEC-426C-9D6F-594508FC3167}" type="datetime'''''''''''''''''''Q''''''''''''2''/''''''''''''1''''''''''6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Q2/16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8702A9BC-12DD-4ACF-A57F-E11D601CDED1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1185863" y="3427413"/>
            <a:ext cx="25400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404AF43-6C39-4789-80CE-7D9E4EABD6B5}" type="datetime'0''.''1''''''''''''''''''''''''''''''''''''''''''''3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D344E80-D039-4F91-8FF1-0F8A6AFD6544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1185863" y="3819525"/>
            <a:ext cx="254000" cy="1365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07C0D5C-46AB-47CC-AB0E-EF37482D575B}" type="datetime'0''''''''''''''.''''''''''''1''''''''''''''''''''''''''''8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8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61B4F2A-C758-4CA3-A154-EA7E6929735B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1579563" y="3313113"/>
            <a:ext cx="25400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28406A3-0A51-4EC9-95DB-7029127BD7C0}" type="datetime'0.''''''''''16''''''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6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0D81FA9-7790-4E52-9AD2-AF1D10ADA9D2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1185863" y="4983163"/>
            <a:ext cx="25400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EAAF703-00C0-4475-A998-F002B6E8905D}" type="datetime'''''''''''''0''''''.2''''''''''''''''''''''''6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6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16" name="Text Placeholder 19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150938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2DF81CC-EEBB-4C45-9E8F-46E4912B1C59}" type="datetime'''''''Q3/''''''''''''''''''''1''''''''''6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Q3/16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091A1B19-FFEE-450C-BECC-C5730A3C6DD8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1971675" y="4295775"/>
            <a:ext cx="25400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3517E58-493B-413E-B7C1-FFD7720B1F40}" type="datetime'''''''''0''''.''2''''''6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6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F2FF3EA8-A49C-4131-A848-FDF3E691A30F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1579563" y="3748088"/>
            <a:ext cx="254000" cy="1365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25855D1-0803-425B-B355-360613A3A521}" type="datetime'''''''0''''.1''''''''9''''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9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7F4C6C40-4440-4EC3-8AA4-35268DC7A037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1579563" y="4305300"/>
            <a:ext cx="25400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C80A379-1477-4602-9B6B-219D6A5A6229}" type="datetime'''0''''.''''''''''''''''''''''''''2''''''6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6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8AC05D70-E213-46B5-B134-D5A6263BE007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9042400" y="4306888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6CF4DDC-6820-48A6-9D3F-A86332937D45}" type="datetime'''''''''''''''''''''''''''''''''''''0.''''''2''9''''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9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8423CCBC-640E-4275-879B-A4E576CFE2C2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1579563" y="4967288"/>
            <a:ext cx="25400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169BDEB-F95A-4FE0-85D8-815C1427625D}" type="datetime'''''''''0''''''''''''''''''.''2''''7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7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69FED48-2DDA-4E72-B280-A1A4A579DA04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1971675" y="3324225"/>
            <a:ext cx="25400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74A5A83-7B4B-4E25-BA9D-8FCB78A998EE}" type="datetime'''''''''''''''''0''''''.''''''''''''''''1''''''''''''''3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55BB9EBB-9D56-4657-8126-ED1388D624F4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1971675" y="3730625"/>
            <a:ext cx="254000" cy="1365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4FA8C34-2EFC-4B4A-ABC5-F09179FA838A}" type="datetime'''''''''0.''''''''''''''''''''''''''19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9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04" name="Text Placeholder 19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1936750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971E4B4B-B3CA-4D09-B04E-86A779D4562E}" type="datetime'''''''''''''''Q1''''''''''/''''''1''''''''7''''''''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Q1/17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170" name="Text Placeholder 19">
            <a:extLst>
              <a:ext uri="{FF2B5EF4-FFF2-40B4-BE49-F238E27FC236}">
                <a16:creationId xmlns:a16="http://schemas.microsoft.com/office/drawing/2014/main" id="{486057A3-2E0F-4E7A-AA62-46823A4FEFFE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6257925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B2E1D15-1025-4ABB-812C-8429AAC08570}" type="datetime'''''''''''''Q4''''''''''''''''/''''''1''9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Q4/19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0FC599D-CD08-40CB-B7D9-0349600BDF6B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1971675" y="4965700"/>
            <a:ext cx="25400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E502FE2-4F82-45BD-A5E7-AB5966054EF5}" type="datetime'''''''''''''''''0''''''.''''''''''''''''27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7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45" name="Rectangle 344">
            <a:extLst>
              <a:ext uri="{FF2B5EF4-FFF2-40B4-BE49-F238E27FC236}">
                <a16:creationId xmlns:a16="http://schemas.microsoft.com/office/drawing/2014/main" id="{DBBC434B-6A70-4026-AA16-05C92B3730F9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3935413" y="3394075"/>
            <a:ext cx="25400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4E063F9-BBF5-4A14-AB12-1EE651C33D81}" type="datetime'''''''''''''''0''''''''''''''''''''''.1''''''''5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5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324720C-BCD5-4CA7-AD0E-83F18E18C625}"/>
              </a:ext>
            </a:extLst>
          </p:cNvPr>
          <p:cNvSpPr/>
          <p:nvPr>
            <p:custDataLst>
              <p:tags r:id="rId55"/>
            </p:custDataLst>
          </p:nvPr>
        </p:nvSpPr>
        <p:spPr bwMode="gray">
          <a:xfrm>
            <a:off x="2365375" y="4308475"/>
            <a:ext cx="25400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15B18F2-460B-4EDB-94C0-4771958D5D98}" type="datetime'''''0''.''2''''''''''''''''''''''''''''''''5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5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719CC5D4-E4AE-4934-A956-0F8D8C083516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10614025" y="4964113"/>
            <a:ext cx="25400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FEFAADC-4CE7-4898-AC77-D25EA11085B2}" type="datetime'0''''''''''''''''.''''''''''''''''''''''''28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8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04EBE862-4872-4A96-A0FF-22F8D262B014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8650288" y="4302125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AD9184B-9EA5-4D9A-9582-144DF40BC772}" type="datetime'''''0''''''''''''''''.''''''''3''''''0''''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sym typeface="Arial" panose="020B0604020202020204" pitchFamily="34" charset="0"/>
              </a:rPr>
              <a:pPr/>
              <a:t>0.30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381" name="Rectangle 380">
            <a:extLst>
              <a:ext uri="{FF2B5EF4-FFF2-40B4-BE49-F238E27FC236}">
                <a16:creationId xmlns:a16="http://schemas.microsoft.com/office/drawing/2014/main" id="{3C729EAE-9A65-47A5-BB1F-16E131F1AD73}"/>
              </a:ext>
            </a:extLst>
          </p:cNvPr>
          <p:cNvSpPr/>
          <p:nvPr>
            <p:custDataLst>
              <p:tags r:id="rId58"/>
            </p:custDataLst>
          </p:nvPr>
        </p:nvSpPr>
        <p:spPr bwMode="gray">
          <a:xfrm>
            <a:off x="6292850" y="3192463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DF84B44-3DD0-47A3-BC56-5189254DCB95}" type="datetime'''''''''''0''''''''''.''''''''''''''''''''''2''2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2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21" name="Rectangle 320">
            <a:extLst>
              <a:ext uri="{FF2B5EF4-FFF2-40B4-BE49-F238E27FC236}">
                <a16:creationId xmlns:a16="http://schemas.microsoft.com/office/drawing/2014/main" id="{4FF92B92-E79E-4C19-BBA5-F73E9F965F7F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2365375" y="3363913"/>
            <a:ext cx="25400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CB4144-4557-470B-97F7-F1A48C571593}" type="datetime'''0''.''''''''''''''1''''''''4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4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3A67B38-5588-497B-ABF5-D34264A8EF31}"/>
              </a:ext>
            </a:extLst>
          </p:cNvPr>
          <p:cNvSpPr/>
          <p:nvPr>
            <p:custDataLst>
              <p:tags r:id="rId60"/>
            </p:custDataLst>
          </p:nvPr>
        </p:nvSpPr>
        <p:spPr bwMode="gray">
          <a:xfrm>
            <a:off x="2365375" y="4967288"/>
            <a:ext cx="25400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99CAFFA-3036-4F12-AA0F-445AB2B9C4A8}" type="datetime'''0''''''''''.''''''''''2''''7''''''''''''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7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50" name="Rectangle 349">
            <a:extLst>
              <a:ext uri="{FF2B5EF4-FFF2-40B4-BE49-F238E27FC236}">
                <a16:creationId xmlns:a16="http://schemas.microsoft.com/office/drawing/2014/main" id="{8185AD25-A55C-4D9A-A9E1-ED7F45CC9184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4329113" y="3860800"/>
            <a:ext cx="254000" cy="1365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8BC1DEA-436F-48F3-AF76-08C43554DF28}" type="datetime'0''.''''''''''''''''1''''''''''''''''''''''''''7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7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98" name="Text Placeholder 19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2330450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5B04D74-FCB7-4847-B811-1B7A67D47244}" type="datetime'Q''2''''''''''''''''''''''''''/1''7''''''''''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Q2/17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325" name="Rectangle 324">
            <a:extLst>
              <a:ext uri="{FF2B5EF4-FFF2-40B4-BE49-F238E27FC236}">
                <a16:creationId xmlns:a16="http://schemas.microsoft.com/office/drawing/2014/main" id="{59AB3AA2-4A21-44FA-B3E6-8B4A8DA64265}"/>
              </a:ext>
            </a:extLst>
          </p:cNvPr>
          <p:cNvSpPr/>
          <p:nvPr>
            <p:custDataLst>
              <p:tags r:id="rId63"/>
            </p:custDataLst>
          </p:nvPr>
        </p:nvSpPr>
        <p:spPr bwMode="gray">
          <a:xfrm>
            <a:off x="2757488" y="4360863"/>
            <a:ext cx="25400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890D3A6-8E01-4A00-98BF-A55BBAAD549E}" type="datetime'''''0''''''.''''''''''''''2''''''''''''''3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3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24" name="Rectangle 323">
            <a:extLst>
              <a:ext uri="{FF2B5EF4-FFF2-40B4-BE49-F238E27FC236}">
                <a16:creationId xmlns:a16="http://schemas.microsoft.com/office/drawing/2014/main" id="{0A3CE8F5-8AC7-43F9-8232-1B2711DD5182}"/>
              </a:ext>
            </a:extLst>
          </p:cNvPr>
          <p:cNvSpPr/>
          <p:nvPr>
            <p:custDataLst>
              <p:tags r:id="rId64"/>
            </p:custDataLst>
          </p:nvPr>
        </p:nvSpPr>
        <p:spPr bwMode="gray">
          <a:xfrm>
            <a:off x="2757488" y="4981575"/>
            <a:ext cx="25400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0B0E382-C285-4979-A02D-F420C41A9842}" type="datetime'''0''.''''''2''6''''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6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9FFF2B63-2FFE-4E46-A3F3-01B040EF80F5}"/>
              </a:ext>
            </a:extLst>
          </p:cNvPr>
          <p:cNvSpPr/>
          <p:nvPr>
            <p:custDataLst>
              <p:tags r:id="rId65"/>
            </p:custDataLst>
          </p:nvPr>
        </p:nvSpPr>
        <p:spPr bwMode="gray">
          <a:xfrm>
            <a:off x="3151188" y="3786188"/>
            <a:ext cx="254000" cy="1365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A2705AC-BEB3-4B9D-AB69-FAFC1EC8AD53}" type="datetime'''''''0''''''''''.''''1''''''''''8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8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31" name="Rectangle 330">
            <a:extLst>
              <a:ext uri="{FF2B5EF4-FFF2-40B4-BE49-F238E27FC236}">
                <a16:creationId xmlns:a16="http://schemas.microsoft.com/office/drawing/2014/main" id="{217D9B23-D6B0-4B12-B254-6B6BE5D0474A}"/>
              </a:ext>
            </a:extLst>
          </p:cNvPr>
          <p:cNvSpPr/>
          <p:nvPr>
            <p:custDataLst>
              <p:tags r:id="rId66"/>
            </p:custDataLst>
          </p:nvPr>
        </p:nvSpPr>
        <p:spPr bwMode="gray">
          <a:xfrm>
            <a:off x="3151188" y="4313238"/>
            <a:ext cx="25400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1AA6CC0-33B1-4A1F-93EB-DD5BB11CB187}" type="datetime'''0''''''''''''''''''''''''''.''''''''''2''''''''4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4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72" name="Text Placeholder 19">
            <a:extLst>
              <a:ext uri="{FF2B5EF4-FFF2-40B4-BE49-F238E27FC236}">
                <a16:creationId xmlns:a16="http://schemas.microsoft.com/office/drawing/2014/main" id="{5103C998-1A55-4B8B-870A-A02872AD03EC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5080000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E32A840-240C-49B9-83AD-0E061A260A0C}" type="datetime'''Q1''''''''''''''''''''''/''''''''1''''''''''9'''''">
              <a:rPr lang="el-GR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Q1/19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430" name="Text Placeholder 19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3116263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AF83A9B4-09A9-4B62-8F4B-2C92AFA3FAB5}" type="datetime'''''''''''''''''Q''4''''''''''''''''''/''1''''''7''''''''''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Q4/17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339" name="Rectangle 338">
            <a:extLst>
              <a:ext uri="{FF2B5EF4-FFF2-40B4-BE49-F238E27FC236}">
                <a16:creationId xmlns:a16="http://schemas.microsoft.com/office/drawing/2014/main" id="{62D3ABEF-3F7B-4B43-B45F-78F2817FE092}"/>
              </a:ext>
            </a:extLst>
          </p:cNvPr>
          <p:cNvSpPr/>
          <p:nvPr>
            <p:custDataLst>
              <p:tags r:id="rId69"/>
            </p:custDataLst>
          </p:nvPr>
        </p:nvSpPr>
        <p:spPr bwMode="gray">
          <a:xfrm>
            <a:off x="3543300" y="3341688"/>
            <a:ext cx="25400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66A713D-E0C3-4BCB-BA01-BEB690D1A544}" type="datetime'''''''''''''''''0''''''''''.''''''''''''''1''''''5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5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38" name="Rectangle 337">
            <a:extLst>
              <a:ext uri="{FF2B5EF4-FFF2-40B4-BE49-F238E27FC236}">
                <a16:creationId xmlns:a16="http://schemas.microsoft.com/office/drawing/2014/main" id="{D3DFDE9F-C97F-4491-8D7A-FEBD557ECE7C}"/>
              </a:ext>
            </a:extLst>
          </p:cNvPr>
          <p:cNvSpPr/>
          <p:nvPr>
            <p:custDataLst>
              <p:tags r:id="rId70"/>
            </p:custDataLst>
          </p:nvPr>
        </p:nvSpPr>
        <p:spPr bwMode="gray">
          <a:xfrm>
            <a:off x="3543300" y="3760788"/>
            <a:ext cx="254000" cy="1365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1B3504F-D686-4AEB-9DFB-7F7B662B1EEA}" type="datetime'''''''0''''''''''''''''''.''''1''''8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8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36" name="Rectangle 335">
            <a:extLst>
              <a:ext uri="{FF2B5EF4-FFF2-40B4-BE49-F238E27FC236}">
                <a16:creationId xmlns:a16="http://schemas.microsoft.com/office/drawing/2014/main" id="{99A196D1-CE47-45C4-8A55-BB3C196F9C79}"/>
              </a:ext>
            </a:extLst>
          </p:cNvPr>
          <p:cNvSpPr/>
          <p:nvPr>
            <p:custDataLst>
              <p:tags r:id="rId71"/>
            </p:custDataLst>
          </p:nvPr>
        </p:nvSpPr>
        <p:spPr bwMode="gray">
          <a:xfrm>
            <a:off x="3543300" y="4970463"/>
            <a:ext cx="25400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713807F-45D0-454F-BC1B-4223B9EEA349}" type="datetime'''''''''''0''''.''''''''''''''''''''''''''2''''''''''''7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7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62" name="Rectangle 361">
            <a:extLst>
              <a:ext uri="{FF2B5EF4-FFF2-40B4-BE49-F238E27FC236}">
                <a16:creationId xmlns:a16="http://schemas.microsoft.com/office/drawing/2014/main" id="{9B3628A8-F58D-4D8E-954F-0765F816A4AF}"/>
              </a:ext>
            </a:extLst>
          </p:cNvPr>
          <p:cNvSpPr/>
          <p:nvPr>
            <p:custDataLst>
              <p:tags r:id="rId72"/>
            </p:custDataLst>
          </p:nvPr>
        </p:nvSpPr>
        <p:spPr bwMode="gray">
          <a:xfrm>
            <a:off x="5114925" y="3770313"/>
            <a:ext cx="254000" cy="1238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DA45CB0-CF7D-433D-9DD6-1BB8F555A94C}" type="datetime'''''0''.''''''1''''''''''''9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19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49" name="Rectangle 348">
            <a:extLst>
              <a:ext uri="{FF2B5EF4-FFF2-40B4-BE49-F238E27FC236}">
                <a16:creationId xmlns:a16="http://schemas.microsoft.com/office/drawing/2014/main" id="{5BAE799F-90D3-4335-8FF1-196D37AC4047}"/>
              </a:ext>
            </a:extLst>
          </p:cNvPr>
          <p:cNvSpPr/>
          <p:nvPr>
            <p:custDataLst>
              <p:tags r:id="rId73"/>
            </p:custDataLst>
          </p:nvPr>
        </p:nvSpPr>
        <p:spPr bwMode="gray">
          <a:xfrm>
            <a:off x="4329113" y="4368800"/>
            <a:ext cx="25400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852BEB5-EBB6-42A1-AE37-0665E037C4AB}" type="datetime'''''''''''0''.''''''''''''''''''''2''''''''''''''''''4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4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76" name="Text Placeholder 19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3508375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BC8B996E-4BA6-4F42-A6B0-31C7F8410055}" type="datetime'''''''''Q''''1''''''''''''''''''''/''''''''''''''''18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Q1/18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AA1C68D0-7DCD-4457-BE63-D5DA50BEAD8B}"/>
              </a:ext>
            </a:extLst>
          </p:cNvPr>
          <p:cNvSpPr/>
          <p:nvPr>
            <p:custDataLst>
              <p:tags r:id="rId75"/>
            </p:custDataLst>
          </p:nvPr>
        </p:nvSpPr>
        <p:spPr bwMode="gray">
          <a:xfrm>
            <a:off x="3935413" y="4330700"/>
            <a:ext cx="25400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7FF31BB-FFD1-4DF7-9F45-3CE7CB1A5EC8}" type="datetime'''''''''''0''''''.2''''''''''''''''''''''''''''''''''5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5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749AFFE7-B38D-43FC-8F2F-7228BBB092B7}"/>
              </a:ext>
            </a:extLst>
          </p:cNvPr>
          <p:cNvSpPr/>
          <p:nvPr>
            <p:custDataLst>
              <p:tags r:id="rId76"/>
            </p:custDataLst>
          </p:nvPr>
        </p:nvSpPr>
        <p:spPr bwMode="gray">
          <a:xfrm>
            <a:off x="3935413" y="4973638"/>
            <a:ext cx="25400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40EA8FA-54D4-4F59-A5F1-88AAB87C1384}" type="datetime'''''''''''''''''0''''''''.''''''''''''''''2''''7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7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54" name="Rectangle 353">
            <a:extLst>
              <a:ext uri="{FF2B5EF4-FFF2-40B4-BE49-F238E27FC236}">
                <a16:creationId xmlns:a16="http://schemas.microsoft.com/office/drawing/2014/main" id="{0EAD1137-2322-419C-8BE0-62D183A81AFC}"/>
              </a:ext>
            </a:extLst>
          </p:cNvPr>
          <p:cNvSpPr/>
          <p:nvPr>
            <p:custDataLst>
              <p:tags r:id="rId77"/>
            </p:custDataLst>
          </p:nvPr>
        </p:nvSpPr>
        <p:spPr bwMode="gray">
          <a:xfrm>
            <a:off x="4721225" y="4968875"/>
            <a:ext cx="25400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F3468AC-03BF-4E03-ABFB-3C23BBE22758}" type="datetime'''''''''''''''''''''''''0.''''''''2''''''8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8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51" name="Rectangle 350">
            <a:extLst>
              <a:ext uri="{FF2B5EF4-FFF2-40B4-BE49-F238E27FC236}">
                <a16:creationId xmlns:a16="http://schemas.microsoft.com/office/drawing/2014/main" id="{B582FE72-B15F-4224-8813-23E926615024}"/>
              </a:ext>
            </a:extLst>
          </p:cNvPr>
          <p:cNvSpPr/>
          <p:nvPr>
            <p:custDataLst>
              <p:tags r:id="rId78"/>
            </p:custDataLst>
          </p:nvPr>
        </p:nvSpPr>
        <p:spPr bwMode="gray">
          <a:xfrm>
            <a:off x="4329113" y="3462338"/>
            <a:ext cx="25400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C16CE81-B4BF-4684-83A8-453A372A2DB2}" type="datetime'''''''''''''''''''''0''''.1''''''''''5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5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56" name="Rectangle 355">
            <a:extLst>
              <a:ext uri="{FF2B5EF4-FFF2-40B4-BE49-F238E27FC236}">
                <a16:creationId xmlns:a16="http://schemas.microsoft.com/office/drawing/2014/main" id="{47DF0722-64B4-40F4-9696-A00258E8BA24}"/>
              </a:ext>
            </a:extLst>
          </p:cNvPr>
          <p:cNvSpPr/>
          <p:nvPr>
            <p:custDataLst>
              <p:tags r:id="rId79"/>
            </p:custDataLst>
          </p:nvPr>
        </p:nvSpPr>
        <p:spPr bwMode="gray">
          <a:xfrm>
            <a:off x="4721225" y="3771900"/>
            <a:ext cx="254000" cy="1238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D2EF8FB-FD6F-48CF-ADD5-63A8DAE37C28}" type="datetime'''''''''''''0''''.''''''''''''''''1''''''''''''''8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18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55" name="Rectangle 354">
            <a:extLst>
              <a:ext uri="{FF2B5EF4-FFF2-40B4-BE49-F238E27FC236}">
                <a16:creationId xmlns:a16="http://schemas.microsoft.com/office/drawing/2014/main" id="{EE517820-CF82-4641-B435-5DB0B9915F09}"/>
              </a:ext>
            </a:extLst>
          </p:cNvPr>
          <p:cNvSpPr/>
          <p:nvPr>
            <p:custDataLst>
              <p:tags r:id="rId80"/>
            </p:custDataLst>
          </p:nvPr>
        </p:nvSpPr>
        <p:spPr bwMode="gray">
          <a:xfrm>
            <a:off x="4721225" y="4311650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59D50AD-8841-4C58-BF21-7D6DEB14EC59}" type="datetime'''''''''''''''0''''.''''''''''''''25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5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70" name="Text Placeholder 19">
            <a:extLst>
              <a:ext uri="{FF2B5EF4-FFF2-40B4-BE49-F238E27FC236}">
                <a16:creationId xmlns:a16="http://schemas.microsoft.com/office/drawing/2014/main" id="{19AA8099-1275-423A-A591-E4672DBA9F6F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4686300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A000EF4E-C34A-4E88-BDD5-057F5986F7E2}" type="datetime'''''Q''4''''/''''''''''''''''''''''18'''''''''''''''">
              <a:rPr lang="el-GR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Q4/18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ABAB0BB1-096A-431A-A3AF-5C41B583DC28}"/>
              </a:ext>
            </a:extLst>
          </p:cNvPr>
          <p:cNvSpPr/>
          <p:nvPr>
            <p:custDataLst>
              <p:tags r:id="rId82"/>
            </p:custDataLst>
          </p:nvPr>
        </p:nvSpPr>
        <p:spPr bwMode="gray">
          <a:xfrm>
            <a:off x="7472363" y="4362450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B7BFC29-68D0-481C-8C7F-E66DD7BBB41D}" type="datetime'''''''''''''''0''''''''''''''''''''.''''''''2''''''8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8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8325B741-2F67-4C94-812B-E113A92D6134}"/>
              </a:ext>
            </a:extLst>
          </p:cNvPr>
          <p:cNvSpPr/>
          <p:nvPr>
            <p:custDataLst>
              <p:tags r:id="rId83"/>
            </p:custDataLst>
          </p:nvPr>
        </p:nvSpPr>
        <p:spPr bwMode="gray">
          <a:xfrm>
            <a:off x="5114925" y="3328988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5160531-5156-45B2-8ECE-153AC0887E41}" type="datetime'''''''''0.''''''''''''17''''''''''''''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17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61" name="Rectangle 360">
            <a:extLst>
              <a:ext uri="{FF2B5EF4-FFF2-40B4-BE49-F238E27FC236}">
                <a16:creationId xmlns:a16="http://schemas.microsoft.com/office/drawing/2014/main" id="{0D7BBE59-FC48-4762-8498-D1031391FCC3}"/>
              </a:ext>
            </a:extLst>
          </p:cNvPr>
          <p:cNvSpPr/>
          <p:nvPr>
            <p:custDataLst>
              <p:tags r:id="rId84"/>
            </p:custDataLst>
          </p:nvPr>
        </p:nvSpPr>
        <p:spPr bwMode="gray">
          <a:xfrm>
            <a:off x="5114925" y="4314825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7FC131A-55FA-44B3-81BA-0A8F9A29A7A9}" type="datetime'''''0''''''''''''''''''.''''''''''''''''''''''25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5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60" name="Rectangle 359">
            <a:extLst>
              <a:ext uri="{FF2B5EF4-FFF2-40B4-BE49-F238E27FC236}">
                <a16:creationId xmlns:a16="http://schemas.microsoft.com/office/drawing/2014/main" id="{012F1352-4D6A-471F-B998-10749DE1712B}"/>
              </a:ext>
            </a:extLst>
          </p:cNvPr>
          <p:cNvSpPr/>
          <p:nvPr>
            <p:custDataLst>
              <p:tags r:id="rId85"/>
            </p:custDataLst>
          </p:nvPr>
        </p:nvSpPr>
        <p:spPr bwMode="gray">
          <a:xfrm>
            <a:off x="5114925" y="4970463"/>
            <a:ext cx="25400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99AC3E6-28F0-4616-B16D-E171BCC7ACE8}" type="datetime'''''''''''''''''''''''''0.''2''7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7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69" name="Rectangle 368">
            <a:extLst>
              <a:ext uri="{FF2B5EF4-FFF2-40B4-BE49-F238E27FC236}">
                <a16:creationId xmlns:a16="http://schemas.microsoft.com/office/drawing/2014/main" id="{CFCEE4CF-CC95-4B4A-9061-596AB882164A}"/>
              </a:ext>
            </a:extLst>
          </p:cNvPr>
          <p:cNvSpPr/>
          <p:nvPr>
            <p:custDataLst>
              <p:tags r:id="rId86"/>
            </p:custDataLst>
          </p:nvPr>
        </p:nvSpPr>
        <p:spPr bwMode="gray">
          <a:xfrm>
            <a:off x="5507038" y="3308350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6E06382-C3C7-4C1C-8643-37BE7E01AF5E}" type="datetime'''''0''''''''''''.''''''''''''1''''7''''''''''''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17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68" name="Rectangle 367">
            <a:extLst>
              <a:ext uri="{FF2B5EF4-FFF2-40B4-BE49-F238E27FC236}">
                <a16:creationId xmlns:a16="http://schemas.microsoft.com/office/drawing/2014/main" id="{EAFF4C76-7478-40F5-AD04-EB527F4A6977}"/>
              </a:ext>
            </a:extLst>
          </p:cNvPr>
          <p:cNvSpPr/>
          <p:nvPr>
            <p:custDataLst>
              <p:tags r:id="rId87"/>
            </p:custDataLst>
          </p:nvPr>
        </p:nvSpPr>
        <p:spPr bwMode="gray">
          <a:xfrm>
            <a:off x="5507038" y="3754438"/>
            <a:ext cx="254000" cy="1238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764B1E8-3B72-4C33-90F5-D61B591320F3}" type="datetime'''0''''''.''''''1''''''''''''''''''9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19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67" name="Rectangle 366">
            <a:extLst>
              <a:ext uri="{FF2B5EF4-FFF2-40B4-BE49-F238E27FC236}">
                <a16:creationId xmlns:a16="http://schemas.microsoft.com/office/drawing/2014/main" id="{38459F6C-2400-4DF2-B25B-D1E094208C4D}"/>
              </a:ext>
            </a:extLst>
          </p:cNvPr>
          <p:cNvSpPr/>
          <p:nvPr>
            <p:custDataLst>
              <p:tags r:id="rId88"/>
            </p:custDataLst>
          </p:nvPr>
        </p:nvSpPr>
        <p:spPr bwMode="gray">
          <a:xfrm>
            <a:off x="5507038" y="4338638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B9045C3-7363-42DE-8B6F-B6CDFB53B1F4}" type="datetime'''0''''''''.2''''''''''''''''8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8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5FC3DD66-542C-453E-B111-CAA9D12E6323}"/>
              </a:ext>
            </a:extLst>
          </p:cNvPr>
          <p:cNvSpPr/>
          <p:nvPr>
            <p:custDataLst>
              <p:tags r:id="rId89"/>
            </p:custDataLst>
          </p:nvPr>
        </p:nvSpPr>
        <p:spPr bwMode="gray">
          <a:xfrm>
            <a:off x="7472363" y="3765550"/>
            <a:ext cx="254000" cy="1238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595FD3F-7BD9-4F19-8C4F-B3313C81D273}" type="datetime'''''''''''''''''0''''''.''''''''''2''0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0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66" name="Rectangle 365">
            <a:extLst>
              <a:ext uri="{FF2B5EF4-FFF2-40B4-BE49-F238E27FC236}">
                <a16:creationId xmlns:a16="http://schemas.microsoft.com/office/drawing/2014/main" id="{7823EF07-8346-47BF-9D06-C7C67662F309}"/>
              </a:ext>
            </a:extLst>
          </p:cNvPr>
          <p:cNvSpPr/>
          <p:nvPr>
            <p:custDataLst>
              <p:tags r:id="rId90"/>
            </p:custDataLst>
          </p:nvPr>
        </p:nvSpPr>
        <p:spPr bwMode="gray">
          <a:xfrm>
            <a:off x="5507038" y="5000625"/>
            <a:ext cx="25400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6B84879-6C3F-448D-BD88-FE4EDFFB20F2}" type="datetime'''''''''''''''0''''''''''.''''''''''''''2''5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5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20551FF5-15F3-4A3E-909F-F6DB31F84BF0}"/>
              </a:ext>
            </a:extLst>
          </p:cNvPr>
          <p:cNvSpPr/>
          <p:nvPr>
            <p:custDataLst>
              <p:tags r:id="rId91"/>
            </p:custDataLst>
          </p:nvPr>
        </p:nvSpPr>
        <p:spPr bwMode="gray">
          <a:xfrm>
            <a:off x="6686550" y="2887663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A801F2B-719E-43DF-94AC-89C4A9015B15}" type="datetime'0''''''''.''9''''''''''''''''''''''''''''''''3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/>
              <a:t>0.9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75" name="Text Placeholder 19">
            <a:extLst>
              <a:ext uri="{FF2B5EF4-FFF2-40B4-BE49-F238E27FC236}">
                <a16:creationId xmlns:a16="http://schemas.microsoft.com/office/drawing/2014/main" id="{D26116F5-9B32-47E4-BCDD-CF481A99FE2A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5472113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1CAE9D6-5D74-424E-9364-6E85DA65D6DD}" type="datetime'''''''''''''''''''''''''Q2''''''''''''''/''''''''''''19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Q2/19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375" name="Rectangle 374">
            <a:extLst>
              <a:ext uri="{FF2B5EF4-FFF2-40B4-BE49-F238E27FC236}">
                <a16:creationId xmlns:a16="http://schemas.microsoft.com/office/drawing/2014/main" id="{ADEBF889-0FCC-4B63-B4BE-71C022D3CA10}"/>
              </a:ext>
            </a:extLst>
          </p:cNvPr>
          <p:cNvSpPr/>
          <p:nvPr>
            <p:custDataLst>
              <p:tags r:id="rId93"/>
            </p:custDataLst>
          </p:nvPr>
        </p:nvSpPr>
        <p:spPr bwMode="gray">
          <a:xfrm>
            <a:off x="5900738" y="3376613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22824B5-3F66-46DE-A219-36AB0E87E1DB}" type="datetime'0''''''.''1''''''''''''''''''6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16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74" name="Rectangle 373">
            <a:extLst>
              <a:ext uri="{FF2B5EF4-FFF2-40B4-BE49-F238E27FC236}">
                <a16:creationId xmlns:a16="http://schemas.microsoft.com/office/drawing/2014/main" id="{539A875B-E7B4-460C-9C77-1802D50D1E74}"/>
              </a:ext>
            </a:extLst>
          </p:cNvPr>
          <p:cNvSpPr/>
          <p:nvPr>
            <p:custDataLst>
              <p:tags r:id="rId94"/>
            </p:custDataLst>
          </p:nvPr>
        </p:nvSpPr>
        <p:spPr bwMode="gray">
          <a:xfrm>
            <a:off x="5900738" y="3806825"/>
            <a:ext cx="254000" cy="1238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16A485D-238E-4D31-BAD7-8EE89EEA4112}" type="datetime'''''''''0''''.''''1''''''''''''''''''9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19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73" name="Rectangle 372">
            <a:extLst>
              <a:ext uri="{FF2B5EF4-FFF2-40B4-BE49-F238E27FC236}">
                <a16:creationId xmlns:a16="http://schemas.microsoft.com/office/drawing/2014/main" id="{6F1680F2-D950-4CA7-B0C9-48E19E5BE94E}"/>
              </a:ext>
            </a:extLst>
          </p:cNvPr>
          <p:cNvSpPr/>
          <p:nvPr>
            <p:custDataLst>
              <p:tags r:id="rId95"/>
            </p:custDataLst>
          </p:nvPr>
        </p:nvSpPr>
        <p:spPr bwMode="gray">
          <a:xfrm>
            <a:off x="5900738" y="4371975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F183BC6-D360-422E-9171-AC5AAA15FCC2}" type="datetime'''0''''''''.''''''''2''''''''7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7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72" name="Rectangle 371">
            <a:extLst>
              <a:ext uri="{FF2B5EF4-FFF2-40B4-BE49-F238E27FC236}">
                <a16:creationId xmlns:a16="http://schemas.microsoft.com/office/drawing/2014/main" id="{FE1B6C82-DD8A-4192-8578-E4745281A877}"/>
              </a:ext>
            </a:extLst>
          </p:cNvPr>
          <p:cNvSpPr/>
          <p:nvPr>
            <p:custDataLst>
              <p:tags r:id="rId96"/>
            </p:custDataLst>
          </p:nvPr>
        </p:nvSpPr>
        <p:spPr bwMode="gray">
          <a:xfrm>
            <a:off x="5900738" y="5008563"/>
            <a:ext cx="25400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5761944-538B-4A6F-A227-15D19E7BDE77}" type="datetime'''''''''''''''''''''0''''.''''''''''''24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4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67" name="Text Placeholder 19">
            <a:extLst>
              <a:ext uri="{FF2B5EF4-FFF2-40B4-BE49-F238E27FC236}">
                <a16:creationId xmlns:a16="http://schemas.microsoft.com/office/drawing/2014/main" id="{DFA923CB-D4C1-4764-9F49-4933F31EA8E8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5865813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BCF3BB71-94B9-453A-AC12-CE73A9BF0481}" type="datetime'''''''''''Q''''3''''/''''1''''''''''''''9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Q3/19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380" name="Rectangle 379">
            <a:extLst>
              <a:ext uri="{FF2B5EF4-FFF2-40B4-BE49-F238E27FC236}">
                <a16:creationId xmlns:a16="http://schemas.microsoft.com/office/drawing/2014/main" id="{BD8C36AB-52A5-4F14-A62C-FCE48AD10D55}"/>
              </a:ext>
            </a:extLst>
          </p:cNvPr>
          <p:cNvSpPr/>
          <p:nvPr>
            <p:custDataLst>
              <p:tags r:id="rId98"/>
            </p:custDataLst>
          </p:nvPr>
        </p:nvSpPr>
        <p:spPr bwMode="gray">
          <a:xfrm>
            <a:off x="6292850" y="3724275"/>
            <a:ext cx="254000" cy="1238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DB9F829-9581-4AA8-87EC-099B004DAB28}" type="datetime'''''''''''0''''''''''''''''''''.''''''''20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0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79" name="Rectangle 378">
            <a:extLst>
              <a:ext uri="{FF2B5EF4-FFF2-40B4-BE49-F238E27FC236}">
                <a16:creationId xmlns:a16="http://schemas.microsoft.com/office/drawing/2014/main" id="{A849B345-0AD9-4739-9970-DF5B2085BC65}"/>
              </a:ext>
            </a:extLst>
          </p:cNvPr>
          <p:cNvSpPr/>
          <p:nvPr>
            <p:custDataLst>
              <p:tags r:id="rId99"/>
            </p:custDataLst>
          </p:nvPr>
        </p:nvSpPr>
        <p:spPr bwMode="gray">
          <a:xfrm>
            <a:off x="6292850" y="4329113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5C70E72-6A1C-4E5F-867A-D8D1BBF55714}" type="datetime'''''''''''0''''''''''''''''''.''''''''2''''''''''8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8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78" name="Rectangle 377">
            <a:extLst>
              <a:ext uri="{FF2B5EF4-FFF2-40B4-BE49-F238E27FC236}">
                <a16:creationId xmlns:a16="http://schemas.microsoft.com/office/drawing/2014/main" id="{C418D779-85AE-448F-9CA0-46B10180EF20}"/>
              </a:ext>
            </a:extLst>
          </p:cNvPr>
          <p:cNvSpPr/>
          <p:nvPr>
            <p:custDataLst>
              <p:tags r:id="rId100"/>
            </p:custDataLst>
          </p:nvPr>
        </p:nvSpPr>
        <p:spPr bwMode="gray">
          <a:xfrm>
            <a:off x="6292850" y="4999038"/>
            <a:ext cx="25400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AC194EB-CF1A-484F-9F78-60191DA63CE8}" type="datetime'''0''''.''''''''''''''''''''''''''''''''''''''''''2''''5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5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D21680E7-9759-4F2A-8282-A2C33F2CD8A0}"/>
              </a:ext>
            </a:extLst>
          </p:cNvPr>
          <p:cNvSpPr/>
          <p:nvPr>
            <p:custDataLst>
              <p:tags r:id="rId101"/>
            </p:custDataLst>
          </p:nvPr>
        </p:nvSpPr>
        <p:spPr bwMode="gray">
          <a:xfrm>
            <a:off x="6686550" y="3189288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BD6D6FC-3E61-4372-A6D9-7605698A06A2}" type="datetime'''''''''0''''.''''''''''''''''1''''''''''''''''''''7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17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9" name="Rectangle 8"/>
          <p:cNvSpPr/>
          <p:nvPr>
            <p:custDataLst>
              <p:tags r:id="rId102"/>
            </p:custDataLst>
          </p:nvPr>
        </p:nvSpPr>
        <p:spPr bwMode="gray">
          <a:xfrm>
            <a:off x="3543300" y="3057525"/>
            <a:ext cx="254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rtlCol="0" anchor="b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3AAFF8F-CB5F-4521-81C8-D1598CCD0379}" type="datetime'''''''''0''''''''''''''''.86''''''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</a:rPr>
              <a:pPr/>
              <a:t>0.86</a:t>
            </a:fld>
            <a:endParaRPr lang="el-GR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89F0A9BA-A41F-44F5-8B09-ECBF43A14BFE}"/>
              </a:ext>
            </a:extLst>
          </p:cNvPr>
          <p:cNvSpPr/>
          <p:nvPr>
            <p:custDataLst>
              <p:tags r:id="rId103"/>
            </p:custDataLst>
          </p:nvPr>
        </p:nvSpPr>
        <p:spPr bwMode="gray">
          <a:xfrm>
            <a:off x="6686550" y="3665538"/>
            <a:ext cx="254000" cy="1238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5A48B71-FEA5-4705-A4E5-ECBA96ACD858}" type="datetime'0''''.''''''''''2''''''''''''''''''''''''1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1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83" name="Rectangle 382">
            <a:extLst>
              <a:ext uri="{FF2B5EF4-FFF2-40B4-BE49-F238E27FC236}">
                <a16:creationId xmlns:a16="http://schemas.microsoft.com/office/drawing/2014/main" id="{ECE9A355-C814-4E1E-98A7-218943F7D8A1}"/>
              </a:ext>
            </a:extLst>
          </p:cNvPr>
          <p:cNvSpPr/>
          <p:nvPr>
            <p:custDataLst>
              <p:tags r:id="rId104"/>
            </p:custDataLst>
          </p:nvPr>
        </p:nvSpPr>
        <p:spPr bwMode="gray">
          <a:xfrm>
            <a:off x="6686550" y="4302125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4006B16-99FB-425B-A7A2-8DDBFFA55F4A}" type="datetime'''''''0''''''''.''''''''''3''''''''''''''''''''''''''0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30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82" name="Rectangle 381">
            <a:extLst>
              <a:ext uri="{FF2B5EF4-FFF2-40B4-BE49-F238E27FC236}">
                <a16:creationId xmlns:a16="http://schemas.microsoft.com/office/drawing/2014/main" id="{A3EDBE59-8F1C-4997-A3DD-89BFCB1C3E19}"/>
              </a:ext>
            </a:extLst>
          </p:cNvPr>
          <p:cNvSpPr/>
          <p:nvPr>
            <p:custDataLst>
              <p:tags r:id="rId105"/>
            </p:custDataLst>
          </p:nvPr>
        </p:nvSpPr>
        <p:spPr bwMode="gray">
          <a:xfrm>
            <a:off x="6686550" y="4995863"/>
            <a:ext cx="25400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E0E03DF-1E3D-45CE-883C-22BC190ED8EB}" type="datetime'''''''''''0''''''''''''.''''''''2''''''''''6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6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78" name="Text Placeholder 19">
            <a:extLst>
              <a:ext uri="{FF2B5EF4-FFF2-40B4-BE49-F238E27FC236}">
                <a16:creationId xmlns:a16="http://schemas.microsoft.com/office/drawing/2014/main" id="{C0437F82-6EED-4F2E-9587-EEF4B3C37542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6651625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7E781608-6053-4D72-BB21-3780CC53CC5D}" type="datetime'''''''Q''1''''''''''''/''''''2''''''''''''0''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Q1/20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8DF5360C-F0A1-4D0F-ABF0-530A3432FAC3}"/>
              </a:ext>
            </a:extLst>
          </p:cNvPr>
          <p:cNvSpPr/>
          <p:nvPr>
            <p:custDataLst>
              <p:tags r:id="rId107"/>
            </p:custDataLst>
          </p:nvPr>
        </p:nvSpPr>
        <p:spPr bwMode="gray">
          <a:xfrm>
            <a:off x="7078663" y="3325813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35FD4C3-2E9F-4ED1-A7FC-ACDBD282252C}" type="datetime'''''''''''''''''0''''''''''.''''''''''''''''''16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16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8B7CB9A1-F1C1-47BE-A0C8-F6006DC97FA9}"/>
              </a:ext>
            </a:extLst>
          </p:cNvPr>
          <p:cNvSpPr/>
          <p:nvPr>
            <p:custDataLst>
              <p:tags r:id="rId108"/>
            </p:custDataLst>
          </p:nvPr>
        </p:nvSpPr>
        <p:spPr bwMode="gray">
          <a:xfrm>
            <a:off x="7078663" y="3762375"/>
            <a:ext cx="254000" cy="1238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E81AB65-BB0C-4B13-800B-E8DF2DF762BA}" type="datetime'''''''''''''''''''''''''0.1''''9''''''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19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68" name="Text Placeholder 19"/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4294188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BB1E49E0-A698-4ED1-B268-C2894DBE1C75}" type="datetime'''''Q''''''''''''''''3''/''''''''''''1''''''8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Q3/18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30FD613B-C1BC-4ACD-BCFC-2496C9E616F6}"/>
              </a:ext>
            </a:extLst>
          </p:cNvPr>
          <p:cNvSpPr/>
          <p:nvPr>
            <p:custDataLst>
              <p:tags r:id="rId110"/>
            </p:custDataLst>
          </p:nvPr>
        </p:nvSpPr>
        <p:spPr bwMode="gray">
          <a:xfrm>
            <a:off x="7078663" y="4351338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DDF0A30-FFD4-4465-9DA9-8433C260725A}" type="datetime'''''''''0''''.''''''''''''28''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8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FD370EF3-52F2-4838-AA4D-03FDC20B0D72}"/>
              </a:ext>
            </a:extLst>
          </p:cNvPr>
          <p:cNvSpPr/>
          <p:nvPr>
            <p:custDataLst>
              <p:tags r:id="rId111"/>
            </p:custDataLst>
          </p:nvPr>
        </p:nvSpPr>
        <p:spPr bwMode="gray">
          <a:xfrm>
            <a:off x="7078663" y="5006975"/>
            <a:ext cx="25400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6984EB1-CC4B-4A4C-BE99-69CC8346706F}" type="datetime'0''''''.''''''''2''''''''''''''''''''''''''5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5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73" name="Text Placeholder 19">
            <a:extLst>
              <a:ext uri="{FF2B5EF4-FFF2-40B4-BE49-F238E27FC236}">
                <a16:creationId xmlns:a16="http://schemas.microsoft.com/office/drawing/2014/main" id="{CF6521F7-899C-401F-9924-1F9FD2BEA985}"/>
              </a:ext>
            </a:extLst>
          </p:cNvPr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7043738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473FE22-75BE-4AAC-B440-E32F7ED88A37}" type="datetime'''''''''''''''''''''''''''Q''''''''2''''''''/''2''''''''''0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Q2/20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C6AE69A1-0FF4-48AC-A6F0-25E3D63E32FA}"/>
              </a:ext>
            </a:extLst>
          </p:cNvPr>
          <p:cNvSpPr/>
          <p:nvPr>
            <p:custDataLst>
              <p:tags r:id="rId113"/>
            </p:custDataLst>
          </p:nvPr>
        </p:nvSpPr>
        <p:spPr bwMode="gray">
          <a:xfrm>
            <a:off x="7472363" y="3297238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BA0F26B-592B-444B-8421-FB99ECEA425E}" type="datetime'''''''''''''''''''''''''''0.''1''''''''''''''''''''8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18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13B40F26-00A6-4BC2-B889-78AB425C78FF}"/>
              </a:ext>
            </a:extLst>
          </p:cNvPr>
          <p:cNvSpPr/>
          <p:nvPr>
            <p:custDataLst>
              <p:tags r:id="rId114"/>
            </p:custDataLst>
          </p:nvPr>
        </p:nvSpPr>
        <p:spPr bwMode="gray">
          <a:xfrm>
            <a:off x="7472363" y="5014913"/>
            <a:ext cx="25400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6823108-EC00-45CC-A682-150CBFC27714}" type="datetime'''''''''''''''''''''''0.''''2''''''''''''''''''4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4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78" name="Text Placeholder 19">
            <a:extLst>
              <a:ext uri="{FF2B5EF4-FFF2-40B4-BE49-F238E27FC236}">
                <a16:creationId xmlns:a16="http://schemas.microsoft.com/office/drawing/2014/main" id="{685EF56A-8F88-402A-9FA6-F35B23F56ED1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7437438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6CE44CF-33FE-4DCB-92C2-10FCDE01E329}" type="datetime'''''''''Q''''3''''/2''''''''''''0''''''''''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Q3/20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814F3854-9662-42FC-988F-81F21AE41E0D}"/>
              </a:ext>
            </a:extLst>
          </p:cNvPr>
          <p:cNvSpPr/>
          <p:nvPr>
            <p:custDataLst>
              <p:tags r:id="rId116"/>
            </p:custDataLst>
          </p:nvPr>
        </p:nvSpPr>
        <p:spPr bwMode="gray">
          <a:xfrm>
            <a:off x="7864475" y="3084513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F6D903C-4A45-428C-A3C5-906ABA0256F4}" type="datetime'0''''''''''''''.''''''2''''''''6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0.26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6900FA77-9940-4B18-93C4-3FA62DB4E57D}"/>
              </a:ext>
            </a:extLst>
          </p:cNvPr>
          <p:cNvSpPr/>
          <p:nvPr>
            <p:custDataLst>
              <p:tags r:id="rId117"/>
            </p:custDataLst>
          </p:nvPr>
        </p:nvSpPr>
        <p:spPr bwMode="gray">
          <a:xfrm>
            <a:off x="7864475" y="3678238"/>
            <a:ext cx="254000" cy="1238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99F3057-2B94-4DB7-A814-B5E1C07089A9}" type="datetime'0''''''''''''''''''.''2''''''''''''''''1''''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0.21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3" name="Text Placeholder 19">
            <a:extLst>
              <a:ext uri="{FF2B5EF4-FFF2-40B4-BE49-F238E27FC236}">
                <a16:creationId xmlns:a16="http://schemas.microsoft.com/office/drawing/2014/main" id="{018E0299-0F27-4D3E-A598-E1BEB8517A63}"/>
              </a:ext>
            </a:extLst>
          </p:cNvPr>
          <p:cNvSpPr>
            <a:spLocks noGrp="1"/>
          </p:cNvSpPr>
          <p:nvPr>
            <p:custDataLst>
              <p:tags r:id="rId118"/>
            </p:custDataLst>
          </p:nvPr>
        </p:nvSpPr>
        <p:spPr bwMode="auto">
          <a:xfrm>
            <a:off x="9401175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181E261-0421-42FB-BF75-66C3DA0B2245}" type="datetime'Q''4''/''''''''2''''''''''''''''''''1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ea typeface="Verdana" panose="020B0604030504040204" pitchFamily="34" charset="0"/>
                <a:cs typeface="+mn-cs"/>
              </a:rPr>
              <a:pPr/>
              <a:t>Q4/21</a:t>
            </a:fld>
            <a:endParaRPr lang="el-GR" sz="900">
              <a:solidFill>
                <a:schemeClr val="tx1"/>
              </a:solidFill>
              <a:latin typeface="+mn-lt"/>
              <a:ea typeface="Verdana" panose="020B0604030504040204" pitchFamily="34" charset="0"/>
              <a:cs typeface="+mn-cs"/>
              <a:sym typeface="Arial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C3808DC1-9A23-4972-A1A1-2B48EBAD7580}"/>
              </a:ext>
            </a:extLst>
          </p:cNvPr>
          <p:cNvSpPr/>
          <p:nvPr>
            <p:custDataLst>
              <p:tags r:id="rId119"/>
            </p:custDataLst>
          </p:nvPr>
        </p:nvSpPr>
        <p:spPr bwMode="gray">
          <a:xfrm>
            <a:off x="7864475" y="4310063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2EF8DFC-C028-4346-95D9-1D0AE7FD90F8}" type="datetime'0.''''''''''''''''''''''''3''''''''''''''''''''''''''''''0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0.30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D731CF63-098A-4A78-8E41-452D750E1B9B}"/>
              </a:ext>
            </a:extLst>
          </p:cNvPr>
          <p:cNvSpPr/>
          <p:nvPr>
            <p:custDataLst>
              <p:tags r:id="rId120"/>
            </p:custDataLst>
          </p:nvPr>
        </p:nvSpPr>
        <p:spPr bwMode="gray">
          <a:xfrm>
            <a:off x="9828213" y="4983163"/>
            <a:ext cx="25400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B379B0D-051C-4936-A557-137193BAF4D1}" type="datetime'''0''''''''''''''.''''''''''''''''''''''''''27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7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237A76A2-891E-4997-93D8-9B33BF944319}"/>
              </a:ext>
            </a:extLst>
          </p:cNvPr>
          <p:cNvSpPr/>
          <p:nvPr>
            <p:custDataLst>
              <p:tags r:id="rId121"/>
            </p:custDataLst>
          </p:nvPr>
        </p:nvSpPr>
        <p:spPr bwMode="gray">
          <a:xfrm>
            <a:off x="7864475" y="4997450"/>
            <a:ext cx="25400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6C29BBA-07F1-444F-97AE-D41C6A4EC715}" type="datetime'''''''''0''.''2''''''''''''''''''''''5''''''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0.25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5" name="Text Placeholder 19">
            <a:extLst>
              <a:ext uri="{FF2B5EF4-FFF2-40B4-BE49-F238E27FC236}">
                <a16:creationId xmlns:a16="http://schemas.microsoft.com/office/drawing/2014/main" id="{07098BBB-051B-4905-B939-CA4925B570E9}"/>
              </a:ext>
            </a:extLst>
          </p:cNvPr>
          <p:cNvSpPr>
            <a:spLocks noGrp="1"/>
          </p:cNvSpPr>
          <p:nvPr>
            <p:custDataLst>
              <p:tags r:id="rId122"/>
            </p:custDataLst>
          </p:nvPr>
        </p:nvSpPr>
        <p:spPr bwMode="auto">
          <a:xfrm>
            <a:off x="7829550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75085F15-1A45-4854-A7D3-6F29C8AE34F8}" type="datetime'''Q''''''''4''''''''/2''''''0''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Q4/20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650FC294-5554-4155-83E0-FA22F3531B83}"/>
              </a:ext>
            </a:extLst>
          </p:cNvPr>
          <p:cNvSpPr/>
          <p:nvPr>
            <p:custDataLst>
              <p:tags r:id="rId123"/>
            </p:custDataLst>
          </p:nvPr>
        </p:nvSpPr>
        <p:spPr bwMode="gray">
          <a:xfrm>
            <a:off x="8256588" y="3282950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F6ABD91-E980-43B1-AD08-4136654EEC0F}" type="datetime'''''''''0''''''''''''.''1''''''7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0.17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CA711D9C-0BF5-434A-BBBF-AC74EF0421AC}"/>
              </a:ext>
            </a:extLst>
          </p:cNvPr>
          <p:cNvSpPr/>
          <p:nvPr>
            <p:custDataLst>
              <p:tags r:id="rId124"/>
            </p:custDataLst>
          </p:nvPr>
        </p:nvSpPr>
        <p:spPr bwMode="gray">
          <a:xfrm>
            <a:off x="8256588" y="3740150"/>
            <a:ext cx="254000" cy="1238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4400A77-41C9-4EFA-919A-835D2F55F63E}" type="datetime'''0''''.''''''''''''''''''2''''''0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0.20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C07B20BA-B456-423F-A240-ADFEE7020727}"/>
              </a:ext>
            </a:extLst>
          </p:cNvPr>
          <p:cNvSpPr/>
          <p:nvPr>
            <p:custDataLst>
              <p:tags r:id="rId125"/>
            </p:custDataLst>
          </p:nvPr>
        </p:nvSpPr>
        <p:spPr bwMode="gray">
          <a:xfrm>
            <a:off x="8256588" y="5010150"/>
            <a:ext cx="25400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A9098E8-6B8E-4F89-84FE-C757A02075BE}" type="datetime'''0''''.''''''2''''''''''''''''4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0.24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1" name="Text Placeholder 19">
            <a:extLst>
              <a:ext uri="{FF2B5EF4-FFF2-40B4-BE49-F238E27FC236}">
                <a16:creationId xmlns:a16="http://schemas.microsoft.com/office/drawing/2014/main" id="{E43C3AA9-2A30-4CF9-8DE2-A163C73747C5}"/>
              </a:ext>
            </a:extLst>
          </p:cNvPr>
          <p:cNvSpPr>
            <a:spLocks noGrp="1"/>
          </p:cNvSpPr>
          <p:nvPr>
            <p:custDataLst>
              <p:tags r:id="rId126"/>
            </p:custDataLst>
          </p:nvPr>
        </p:nvSpPr>
        <p:spPr bwMode="auto">
          <a:xfrm>
            <a:off x="8221663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2BAF9BA-FED1-4D29-9344-E79B92940159}" type="datetime'Q1''''''''/''''''''''''''''''''''''''21''''''''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Q1/21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6BEA6F16-848A-4CB8-A36E-D2E6D9A478A9}"/>
              </a:ext>
            </a:extLst>
          </p:cNvPr>
          <p:cNvSpPr/>
          <p:nvPr>
            <p:custDataLst>
              <p:tags r:id="rId127"/>
            </p:custDataLst>
          </p:nvPr>
        </p:nvSpPr>
        <p:spPr bwMode="gray">
          <a:xfrm>
            <a:off x="8650288" y="3192463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B77D90A-1B56-4E2C-A706-82DFFB224868}" type="datetime'''''''''''''''0''.''''''''''17''''''''''''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sym typeface="Arial" panose="020B0604020202020204" pitchFamily="34" charset="0"/>
              </a:rPr>
              <a:pPr/>
              <a:t>0.17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90B75367-0EBC-4108-8A89-821889C83D33}"/>
              </a:ext>
            </a:extLst>
          </p:cNvPr>
          <p:cNvSpPr/>
          <p:nvPr>
            <p:custDataLst>
              <p:tags r:id="rId128"/>
            </p:custDataLst>
          </p:nvPr>
        </p:nvSpPr>
        <p:spPr bwMode="gray">
          <a:xfrm>
            <a:off x="8650288" y="3668713"/>
            <a:ext cx="254000" cy="1238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A298316-00C6-4965-8841-6BCA81B07C28}" type="datetime'0''''.''''''''''''''''''''''''''2''1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sym typeface="Arial" panose="020B0604020202020204" pitchFamily="34" charset="0"/>
              </a:rPr>
              <a:pPr/>
              <a:t>0.21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97BF40C2-443F-4C9C-96FF-B67A97AAC1F2}"/>
              </a:ext>
            </a:extLst>
          </p:cNvPr>
          <p:cNvSpPr/>
          <p:nvPr>
            <p:custDataLst>
              <p:tags r:id="rId129"/>
            </p:custDataLst>
          </p:nvPr>
        </p:nvSpPr>
        <p:spPr bwMode="gray">
          <a:xfrm>
            <a:off x="8650288" y="4992688"/>
            <a:ext cx="25400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80904A8-A609-404B-A799-B9894E3EA46C}" type="datetime'''''0''''''''''''''''.''2''''''''''6''''''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sym typeface="Arial" panose="020B0604020202020204" pitchFamily="34" charset="0"/>
              </a:rPr>
              <a:pPr/>
              <a:t>0.26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199" name="Text Placeholder 19">
            <a:extLst>
              <a:ext uri="{FF2B5EF4-FFF2-40B4-BE49-F238E27FC236}">
                <a16:creationId xmlns:a16="http://schemas.microsoft.com/office/drawing/2014/main" id="{ECBB00A2-030C-4BE3-B9F4-E9EF475FA4D1}"/>
              </a:ext>
            </a:extLst>
          </p:cNvPr>
          <p:cNvSpPr>
            <a:spLocks noGrp="1"/>
          </p:cNvSpPr>
          <p:nvPr>
            <p:custDataLst>
              <p:tags r:id="rId130"/>
            </p:custDataLst>
          </p:nvPr>
        </p:nvSpPr>
        <p:spPr bwMode="auto">
          <a:xfrm>
            <a:off x="8615363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21F8323-F49E-4E1C-A669-C6DCC935CEFA}" type="datetime'''''''Q''2''''''''''''''/''''''''21'''''''''''''''''''''''">
              <a:rPr lang="en-US" altLang="en-US" sz="900" smtClean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+mn-cs"/>
              </a:rPr>
              <a:pPr/>
              <a:t>Q2/21</a:t>
            </a:fld>
            <a:endParaRPr lang="el-GR" sz="900">
              <a:solidFill>
                <a:schemeClr val="tx1"/>
              </a:solidFill>
              <a:latin typeface="+mn-lt"/>
              <a:ea typeface="Verdana" panose="020B0604030504040204" pitchFamily="34" charset="0"/>
              <a:cs typeface="+mn-cs"/>
              <a:sym typeface="Arial"/>
            </a:endParaRP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9FAF4E0D-8708-4A2E-B53C-58F712E57353}"/>
              </a:ext>
            </a:extLst>
          </p:cNvPr>
          <p:cNvSpPr/>
          <p:nvPr>
            <p:custDataLst>
              <p:tags r:id="rId131"/>
            </p:custDataLst>
          </p:nvPr>
        </p:nvSpPr>
        <p:spPr bwMode="gray">
          <a:xfrm>
            <a:off x="9042400" y="3675063"/>
            <a:ext cx="254000" cy="1238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9DC54C7-0B73-4B42-B180-59103645B898}" type="datetime'''''''0''''''''.''2''''1''''''''''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1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175C57CE-1354-4DF2-9E89-69372406AEB5}"/>
              </a:ext>
            </a:extLst>
          </p:cNvPr>
          <p:cNvSpPr/>
          <p:nvPr>
            <p:custDataLst>
              <p:tags r:id="rId132"/>
            </p:custDataLst>
          </p:nvPr>
        </p:nvSpPr>
        <p:spPr bwMode="gray">
          <a:xfrm>
            <a:off x="9042400" y="4994275"/>
            <a:ext cx="25400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55950A2-B1C5-4184-AF78-769746CCB182}" type="datetime'''''0''''.''''''''''''''''''''2''6''''''''''''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6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05" name="Text Placeholder 19">
            <a:extLst>
              <a:ext uri="{FF2B5EF4-FFF2-40B4-BE49-F238E27FC236}">
                <a16:creationId xmlns:a16="http://schemas.microsoft.com/office/drawing/2014/main" id="{CDC8BBE8-F80F-4E9B-8566-C78030C1181D}"/>
              </a:ext>
            </a:extLst>
          </p:cNvPr>
          <p:cNvSpPr>
            <a:spLocks noGrp="1"/>
          </p:cNvSpPr>
          <p:nvPr>
            <p:custDataLst>
              <p:tags r:id="rId133"/>
            </p:custDataLst>
          </p:nvPr>
        </p:nvSpPr>
        <p:spPr bwMode="auto">
          <a:xfrm>
            <a:off x="9007475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9450148-BA6F-416A-80A9-0DC93A8A446F}" type="datetime'Q''3/2''''''''''''''''''''''''''''''''''''''''''''''1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ea typeface="Verdana" panose="020B0604030504040204" pitchFamily="34" charset="0"/>
                <a:cs typeface="+mn-cs"/>
              </a:rPr>
              <a:pPr/>
              <a:t>Q3/21</a:t>
            </a:fld>
            <a:endParaRPr lang="el-GR" sz="900">
              <a:solidFill>
                <a:schemeClr val="tx1"/>
              </a:solidFill>
              <a:latin typeface="+mn-lt"/>
              <a:ea typeface="Verdana" panose="020B0604030504040204" pitchFamily="34" charset="0"/>
              <a:cs typeface="+mn-cs"/>
              <a:sym typeface="Arial"/>
            </a:endParaRP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0CEAB209-8FC6-4ED9-918D-345EB7D8B4C1}"/>
              </a:ext>
            </a:extLst>
          </p:cNvPr>
          <p:cNvSpPr/>
          <p:nvPr>
            <p:custDataLst>
              <p:tags r:id="rId134"/>
            </p:custDataLst>
          </p:nvPr>
        </p:nvSpPr>
        <p:spPr bwMode="gray">
          <a:xfrm>
            <a:off x="9436100" y="3014663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B602A54-6507-4AAC-A2DB-42398F1359A2}" type="datetime'''''''''''''0.''''''''''''''''''''''2''''''''''''''3'''''''''">
              <a:rPr lang="en-US" altLang="en-US" sz="900" smtClean="0">
                <a:solidFill>
                  <a:schemeClr val="tx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0E80ECA7-64A0-429A-8CF4-3051B24ABF74}"/>
              </a:ext>
            </a:extLst>
          </p:cNvPr>
          <p:cNvSpPr/>
          <p:nvPr>
            <p:custDataLst>
              <p:tags r:id="rId135"/>
            </p:custDataLst>
          </p:nvPr>
        </p:nvSpPr>
        <p:spPr bwMode="gray">
          <a:xfrm>
            <a:off x="9436100" y="3579813"/>
            <a:ext cx="254000" cy="1238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D40AE83-CD49-4274-A321-A09D15CBF0AE}" type="datetime'''0''''''''''''.''''''''''''''2''''''''''''3''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3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30DF54DA-2E10-4943-8E54-34A2B4195FCE}"/>
              </a:ext>
            </a:extLst>
          </p:cNvPr>
          <p:cNvSpPr/>
          <p:nvPr>
            <p:custDataLst>
              <p:tags r:id="rId136"/>
            </p:custDataLst>
          </p:nvPr>
        </p:nvSpPr>
        <p:spPr bwMode="gray">
          <a:xfrm>
            <a:off x="9436100" y="4976813"/>
            <a:ext cx="25400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EDDF399-6B97-4523-AC3F-6DED2FFF7179}" type="datetime'''''''''''0''''''''''''.''''''''''''''2''''''''''''''''7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7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20DF6D10-EF71-4BBA-9C65-5C8FA79F2FC4}"/>
              </a:ext>
            </a:extLst>
          </p:cNvPr>
          <p:cNvSpPr/>
          <p:nvPr>
            <p:custDataLst>
              <p:tags r:id="rId137"/>
            </p:custDataLst>
          </p:nvPr>
        </p:nvSpPr>
        <p:spPr bwMode="gray">
          <a:xfrm>
            <a:off x="9828213" y="3144838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2B18AEC-189F-4B4A-BD14-9FBF997F691F}" type="datetime'''''''''''''''0''''''''''''''.1''7'''''''''''">
              <a:rPr lang="en-US" altLang="en-US" sz="900" smtClean="0">
                <a:solidFill>
                  <a:schemeClr val="tx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17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37E42273-B1B9-4C3F-9DF9-CF4966293E61}"/>
              </a:ext>
            </a:extLst>
          </p:cNvPr>
          <p:cNvSpPr/>
          <p:nvPr>
            <p:custDataLst>
              <p:tags r:id="rId138"/>
            </p:custDataLst>
          </p:nvPr>
        </p:nvSpPr>
        <p:spPr bwMode="gray">
          <a:xfrm>
            <a:off x="9828213" y="3636963"/>
            <a:ext cx="254000" cy="1238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E586E65-3C98-43D7-BA1C-5354A8B0E8D0}" type="datetime'''''0''''''''''.''''''''2''''''''''''''''''''''''''2''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2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22" name="Text Placeholder 19">
            <a:extLst>
              <a:ext uri="{FF2B5EF4-FFF2-40B4-BE49-F238E27FC236}">
                <a16:creationId xmlns:a16="http://schemas.microsoft.com/office/drawing/2014/main" id="{F686D702-26AD-4177-A1D5-1FACBDF8B44F}"/>
              </a:ext>
            </a:extLst>
          </p:cNvPr>
          <p:cNvSpPr>
            <a:spLocks noGrp="1"/>
          </p:cNvSpPr>
          <p:nvPr>
            <p:custDataLst>
              <p:tags r:id="rId139"/>
            </p:custDataLst>
          </p:nvPr>
        </p:nvSpPr>
        <p:spPr bwMode="auto">
          <a:xfrm>
            <a:off x="9793288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94F01F6-E359-433F-AEEB-DB2C346AFBB6}" type="datetime'Q''''''''''1''''''''/''''''''2''''''''''''''2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ea typeface="Verdana" panose="020B0604030504040204" pitchFamily="34" charset="0"/>
                <a:cs typeface="+mn-cs"/>
              </a:rPr>
              <a:pPr/>
              <a:t>Q1/22</a:t>
            </a:fld>
            <a:endParaRPr lang="el-GR" sz="900">
              <a:solidFill>
                <a:schemeClr val="tx1"/>
              </a:solidFill>
              <a:latin typeface="+mn-lt"/>
              <a:ea typeface="Verdana" panose="020B0604030504040204" pitchFamily="34" charset="0"/>
              <a:cs typeface="+mn-cs"/>
              <a:sym typeface="Arial"/>
            </a:endParaRP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8BEA1B38-16BD-4845-BA9B-2A8146E5404F}"/>
              </a:ext>
            </a:extLst>
          </p:cNvPr>
          <p:cNvSpPr/>
          <p:nvPr>
            <p:custDataLst>
              <p:tags r:id="rId140"/>
            </p:custDataLst>
          </p:nvPr>
        </p:nvSpPr>
        <p:spPr bwMode="gray">
          <a:xfrm>
            <a:off x="10221913" y="3082925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7B1C787-D8A1-45AE-8DD3-AA8E289FCF24}" type="datetime'0''.''''1''''''''''''''7'''''''''''''">
              <a:rPr lang="en-US" altLang="en-US" sz="900" smtClean="0">
                <a:solidFill>
                  <a:schemeClr val="tx1"/>
                </a:solidFill>
                <a:effectLst/>
                <a:ea typeface="Verdana" panose="020B0604030504040204" pitchFamily="34" charset="0"/>
              </a:rPr>
              <a:pPr/>
              <a:t>0.17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9A3A7683-BEEA-448E-B0FA-14C0E84B8D1C}"/>
              </a:ext>
            </a:extLst>
          </p:cNvPr>
          <p:cNvSpPr/>
          <p:nvPr>
            <p:custDataLst>
              <p:tags r:id="rId141"/>
            </p:custDataLst>
          </p:nvPr>
        </p:nvSpPr>
        <p:spPr bwMode="gray">
          <a:xfrm>
            <a:off x="11007725" y="4200525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F767018-CCC0-474A-8528-13FF454C3B12}" type="datetime'''''''''''''0''''''.''3''''''2''''''''''''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32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8A0CF35D-3694-45FE-AB2F-42573A42C192}"/>
              </a:ext>
            </a:extLst>
          </p:cNvPr>
          <p:cNvSpPr/>
          <p:nvPr>
            <p:custDataLst>
              <p:tags r:id="rId142"/>
            </p:custDataLst>
          </p:nvPr>
        </p:nvSpPr>
        <p:spPr bwMode="gray">
          <a:xfrm>
            <a:off x="10221913" y="3586163"/>
            <a:ext cx="254000" cy="1238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ABFCC26-203F-4B90-BF89-8BB0817F44D7}" type="datetime'''''''''0''''''.''''''''''''''''2''''''3''''''''''''''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</a:rPr>
              <a:pPr/>
              <a:t>0.23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7B563604-746D-49E0-9AA2-F5C13A106A60}"/>
              </a:ext>
            </a:extLst>
          </p:cNvPr>
          <p:cNvSpPr/>
          <p:nvPr>
            <p:custDataLst>
              <p:tags r:id="rId143"/>
            </p:custDataLst>
          </p:nvPr>
        </p:nvSpPr>
        <p:spPr bwMode="gray">
          <a:xfrm>
            <a:off x="10221913" y="4244975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5C222ED-8BF3-43E3-8FCF-29CAAAC6AFD7}" type="datetime'''''''''''''''''''0''''''''''.''''''''3''''''''0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30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5C7ECEF5-6255-419A-8E07-8C450F950233}"/>
              </a:ext>
            </a:extLst>
          </p:cNvPr>
          <p:cNvSpPr/>
          <p:nvPr>
            <p:custDataLst>
              <p:tags r:id="rId144"/>
            </p:custDataLst>
          </p:nvPr>
        </p:nvSpPr>
        <p:spPr bwMode="gray">
          <a:xfrm>
            <a:off x="10221913" y="4965700"/>
            <a:ext cx="25400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B2AE641-409C-41BE-9B65-097A6F90ED7F}" type="datetime'''''''''0''''''''''.''''''''''2''''8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</a:rPr>
              <a:pPr/>
              <a:t>0.28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21" name="Text Placeholder 19">
            <a:extLst>
              <a:ext uri="{FF2B5EF4-FFF2-40B4-BE49-F238E27FC236}">
                <a16:creationId xmlns:a16="http://schemas.microsoft.com/office/drawing/2014/main" id="{77405A76-40D1-4187-B2A5-22D81DEA716F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auto">
          <a:xfrm>
            <a:off x="10186988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D74E9D6-5822-4A78-A666-DA70A1BC6ADE}" type="datetime'''''''''''''Q''2''''''''''''''''''''''/''2''''''2'''">
              <a:rPr lang="en-US" altLang="en-US" sz="900" smtClean="0">
                <a:solidFill>
                  <a:schemeClr val="tx1"/>
                </a:solidFill>
                <a:effectLst/>
                <a:latin typeface="+mn-lt"/>
                <a:ea typeface="Verdana" panose="020B0604030504040204" pitchFamily="34" charset="0"/>
                <a:cs typeface="+mn-cs"/>
              </a:rPr>
              <a:pPr/>
              <a:t>Q2/22</a:t>
            </a:fld>
            <a:endParaRPr lang="el-GR" sz="900">
              <a:solidFill>
                <a:schemeClr val="tx1"/>
              </a:solidFill>
              <a:latin typeface="+mn-lt"/>
              <a:ea typeface="Verdana" panose="020B0604030504040204" pitchFamily="34" charset="0"/>
              <a:cs typeface="+mn-cs"/>
              <a:sym typeface="Arial"/>
            </a:endParaRP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CBFEC7C7-9BC8-4B40-8838-D8D51FFA40D1}"/>
              </a:ext>
            </a:extLst>
          </p:cNvPr>
          <p:cNvSpPr/>
          <p:nvPr>
            <p:custDataLst>
              <p:tags r:id="rId146"/>
            </p:custDataLst>
          </p:nvPr>
        </p:nvSpPr>
        <p:spPr bwMode="gray">
          <a:xfrm>
            <a:off x="10614025" y="3117850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6CFBB58-0B70-42E1-B343-09A88EA406DA}" type="datetime'''''''''''0''''''.''''''''''''''1''''''''''7'''''">
              <a:rPr lang="en-US" altLang="en-US" sz="900" smtClean="0">
                <a:solidFill>
                  <a:schemeClr val="tx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17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05A2C9DE-D2BE-46B8-9BBE-349C2939BA24}"/>
              </a:ext>
            </a:extLst>
          </p:cNvPr>
          <p:cNvSpPr/>
          <p:nvPr>
            <p:custDataLst>
              <p:tags r:id="rId147"/>
            </p:custDataLst>
          </p:nvPr>
        </p:nvSpPr>
        <p:spPr bwMode="gray">
          <a:xfrm>
            <a:off x="10614025" y="3611563"/>
            <a:ext cx="254000" cy="1238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14FD7C7-CA62-4F24-9386-1FD26495A214}" type="datetime'''0''''''''''''''''.''''2''3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3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B381B8A1-CF80-440C-9C79-28DE7B61085C}"/>
              </a:ext>
            </a:extLst>
          </p:cNvPr>
          <p:cNvSpPr/>
          <p:nvPr>
            <p:custDataLst>
              <p:tags r:id="rId148"/>
            </p:custDataLst>
          </p:nvPr>
        </p:nvSpPr>
        <p:spPr bwMode="gray">
          <a:xfrm>
            <a:off x="10614025" y="4252913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122121E-1F5D-410C-80BD-8F6B8349561D}" type="datetime'''''''''''0''''''''''.''''''''''''''''''''''''''''29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9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7176F2E3-2949-4E5B-A7DA-28CE5DB10ECF}"/>
              </a:ext>
            </a:extLst>
          </p:cNvPr>
          <p:cNvSpPr/>
          <p:nvPr>
            <p:custDataLst>
              <p:tags r:id="rId149"/>
            </p:custDataLst>
          </p:nvPr>
        </p:nvSpPr>
        <p:spPr bwMode="gray">
          <a:xfrm>
            <a:off x="11007725" y="2911475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44E6B1E-D326-40D2-BCE5-2A8DE770A285}" type="datetime'0''''''''''''''''''''''''''''.''''2''''''2'''''''''''">
              <a:rPr lang="en-US" altLang="en-US" sz="900" smtClean="0">
                <a:solidFill>
                  <a:schemeClr val="tx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2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267A018E-E1DD-43D8-A213-08D351150DC0}"/>
              </a:ext>
            </a:extLst>
          </p:cNvPr>
          <p:cNvSpPr/>
          <p:nvPr>
            <p:custDataLst>
              <p:tags r:id="rId150"/>
            </p:custDataLst>
          </p:nvPr>
        </p:nvSpPr>
        <p:spPr bwMode="gray">
          <a:xfrm>
            <a:off x="11007725" y="3497263"/>
            <a:ext cx="254000" cy="1238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7B126DB-AF6D-4449-8B3A-DF0831A34683}" type="datetime'0''.''''''''''''''''2''''''''''''''''''''''5''''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5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6A4948F3-EF58-4592-A555-9F4B0E27E62E}"/>
              </a:ext>
            </a:extLst>
          </p:cNvPr>
          <p:cNvSpPr/>
          <p:nvPr>
            <p:custDataLst>
              <p:tags r:id="rId151"/>
            </p:custDataLst>
          </p:nvPr>
        </p:nvSpPr>
        <p:spPr bwMode="gray">
          <a:xfrm>
            <a:off x="11007725" y="4954588"/>
            <a:ext cx="25400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970509E-9EB9-4EA5-8064-58C11B539C47}" type="datetime'''''''''''''''''''''''''0''.''''''''''2''''''''''''9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9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35" name="Text Placeholder 19">
            <a:extLst>
              <a:ext uri="{FF2B5EF4-FFF2-40B4-BE49-F238E27FC236}">
                <a16:creationId xmlns:a16="http://schemas.microsoft.com/office/drawing/2014/main" id="{52C1782C-6CBC-42C0-9FD0-2CA4123789A2}"/>
              </a:ext>
            </a:extLst>
          </p:cNvPr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10972800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C2D832A-65D2-49E0-9682-EAF35600F1BB}" type="datetime'''''''''''''''''Q''''4''''''/''''''''''2''''''''''''2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ea typeface="Verdana" panose="020B0604030504040204" pitchFamily="34" charset="0"/>
                <a:cs typeface="+mn-cs"/>
              </a:rPr>
              <a:pPr/>
              <a:t>Q4/22</a:t>
            </a:fld>
            <a:endParaRPr lang="el-GR" sz="900">
              <a:solidFill>
                <a:schemeClr val="tx1"/>
              </a:solidFill>
              <a:latin typeface="+mn-lt"/>
              <a:ea typeface="Verdana" panose="020B0604030504040204" pitchFamily="34" charset="0"/>
              <a:cs typeface="+mn-cs"/>
              <a:sym typeface="Arial"/>
            </a:endParaRP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E489D01C-2C17-AFE9-7773-58D5B3F34E24}"/>
              </a:ext>
            </a:extLst>
          </p:cNvPr>
          <p:cNvSpPr/>
          <p:nvPr>
            <p:custDataLst>
              <p:tags r:id="rId153"/>
            </p:custDataLst>
          </p:nvPr>
        </p:nvSpPr>
        <p:spPr bwMode="gray">
          <a:xfrm>
            <a:off x="11399838" y="2965450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84AAC45-6CF8-44B0-A33C-23C754448EC9}" type="datetime'0''''''''''''.''''''''''''''''''''''''1''8'''''''">
              <a:rPr lang="en-US" altLang="en-US" sz="900" smtClean="0">
                <a:solidFill>
                  <a:schemeClr val="tx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18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ED9BB32B-EB5B-749F-2B9F-FA5802FE61ED}"/>
              </a:ext>
            </a:extLst>
          </p:cNvPr>
          <p:cNvSpPr/>
          <p:nvPr>
            <p:custDataLst>
              <p:tags r:id="rId154"/>
            </p:custDataLst>
          </p:nvPr>
        </p:nvSpPr>
        <p:spPr bwMode="gray">
          <a:xfrm>
            <a:off x="11399838" y="3505200"/>
            <a:ext cx="254000" cy="1238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4D3BF22-B717-4686-ABAD-991683992851}" type="datetime'''''''''''''''0.''''''''''2''''5''''''''''''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5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AE891A41-2D6A-D4F6-6A7B-87CAD318B171}"/>
              </a:ext>
            </a:extLst>
          </p:cNvPr>
          <p:cNvSpPr/>
          <p:nvPr>
            <p:custDataLst>
              <p:tags r:id="rId155"/>
            </p:custDataLst>
          </p:nvPr>
        </p:nvSpPr>
        <p:spPr bwMode="gray">
          <a:xfrm>
            <a:off x="11399838" y="4214813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42D98C2-E54E-4280-8C67-F0C5F93D2488}" type="datetime'''''0.''''''''''''''''''''3''''''''''''''''''''''2''''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32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39B9C7D6-483D-F629-AAFC-6A748AEECC1A}"/>
              </a:ext>
            </a:extLst>
          </p:cNvPr>
          <p:cNvSpPr/>
          <p:nvPr>
            <p:custDataLst>
              <p:tags r:id="rId156"/>
            </p:custDataLst>
          </p:nvPr>
        </p:nvSpPr>
        <p:spPr bwMode="gray">
          <a:xfrm>
            <a:off x="11399838" y="4962525"/>
            <a:ext cx="25400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5760A94-98DE-4BD7-8F57-500645120659}" type="datetime'''''''''''''''''0''''''''''.''''''''''''''2''''''''8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8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55" name="Text Placeholder 19">
            <a:extLst>
              <a:ext uri="{FF2B5EF4-FFF2-40B4-BE49-F238E27FC236}">
                <a16:creationId xmlns:a16="http://schemas.microsoft.com/office/drawing/2014/main" id="{20B7630B-2BAF-5AEA-B036-4803E047DBD4}"/>
              </a:ext>
            </a:extLst>
          </p:cNvPr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11364913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4CA6E2E-0B8A-4AE2-BCAA-5F1F8E17FF48}" type="datetime'Q1''''''''''''''''''''''''''''''/''''2''''''''''''''3'''">
              <a:rPr lang="en-US" altLang="en-US" sz="900" smtClean="0">
                <a:solidFill>
                  <a:schemeClr val="tx1"/>
                </a:solidFill>
                <a:effectLst/>
                <a:latin typeface="+mn-lt"/>
                <a:ea typeface="Verdana" panose="020B0604030504040204" pitchFamily="34" charset="0"/>
                <a:cs typeface="+mn-cs"/>
              </a:rPr>
              <a:pPr/>
              <a:t>Q1/23</a:t>
            </a:fld>
            <a:endParaRPr lang="el-GR" sz="900">
              <a:solidFill>
                <a:schemeClr val="tx1"/>
              </a:solidFill>
              <a:latin typeface="+mn-lt"/>
              <a:ea typeface="Verdana" panose="020B0604030504040204" pitchFamily="34" charset="0"/>
              <a:cs typeface="+mn-cs"/>
              <a:sym typeface="Arial"/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2B31EF29-C242-46B2-A846-D356EF829C94}"/>
              </a:ext>
            </a:extLst>
          </p:cNvPr>
          <p:cNvSpPr/>
          <p:nvPr>
            <p:custDataLst>
              <p:tags r:id="rId158"/>
            </p:custDataLst>
          </p:nvPr>
        </p:nvSpPr>
        <p:spPr bwMode="gray">
          <a:xfrm>
            <a:off x="9828213" y="4283075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365756F-571D-4E0B-98EE-A4CE36180BA2}" type="datetime'''0''''''''''.''''2''''''''9''''''''''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9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329" name="Text Placeholder 20"/>
          <p:cNvSpPr>
            <a:spLocks noGrp="1"/>
          </p:cNvSpPr>
          <p:nvPr>
            <p:custDataLst>
              <p:tags r:id="rId159"/>
            </p:custDataLst>
          </p:nvPr>
        </p:nvSpPr>
        <p:spPr bwMode="gray">
          <a:xfrm>
            <a:off x="400050" y="3051175"/>
            <a:ext cx="25400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6E35314-0F92-43D2-94B0-BEEF8EE6718D}" type="datetime'0''''''''.''''''''''8''''''''6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0.86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323" name="Text Placeholder 2"/>
          <p:cNvSpPr>
            <a:spLocks noGrp="1"/>
          </p:cNvSpPr>
          <p:nvPr>
            <p:custDataLst>
              <p:tags r:id="rId160"/>
            </p:custDataLst>
          </p:nvPr>
        </p:nvSpPr>
        <p:spPr bwMode="gray">
          <a:xfrm>
            <a:off x="793750" y="3062288"/>
            <a:ext cx="2540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60BA7D50-E367-4320-8251-F6714C99F4DB}" type="datetime'''''''''0''''''.''''''''8''''''''''''''6'">
              <a:rPr lang="el-GR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0.86</a:t>
            </a:fld>
            <a:endParaRPr lang="el-GR" sz="900" dirty="0">
              <a:solidFill>
                <a:schemeClr val="tx1"/>
              </a:solidFill>
              <a:latin typeface="+mn-lt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17" name="Text Placeholder 2"/>
          <p:cNvSpPr>
            <a:spLocks noGrp="1"/>
          </p:cNvSpPr>
          <p:nvPr>
            <p:custDataLst>
              <p:tags r:id="rId161"/>
            </p:custDataLst>
          </p:nvPr>
        </p:nvSpPr>
        <p:spPr bwMode="gray">
          <a:xfrm>
            <a:off x="1185863" y="3168650"/>
            <a:ext cx="2540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7E6C33DB-9E56-4434-BC41-81E3284CB75F}" type="datetime'''''''''''''''''''''''''''''0''''''''''.8''''''''''''2'''">
              <a:rPr lang="el-GR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0.82</a:t>
            </a:fld>
            <a:endParaRPr lang="el-GR" sz="900" dirty="0">
              <a:solidFill>
                <a:schemeClr val="tx1"/>
              </a:solidFill>
              <a:latin typeface="+mn-lt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11" name="Text Placeholder 2"/>
          <p:cNvSpPr>
            <a:spLocks noGrp="1"/>
          </p:cNvSpPr>
          <p:nvPr>
            <p:custDataLst>
              <p:tags r:id="rId162"/>
            </p:custDataLst>
          </p:nvPr>
        </p:nvSpPr>
        <p:spPr bwMode="gray">
          <a:xfrm>
            <a:off x="1579563" y="3021013"/>
            <a:ext cx="2540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32A486D-9239-4200-991A-C5A767F8A8AB}" type="datetime'''''''''''''''''''''0''''''''''''''''''''''''''''''.8''''8'''">
              <a:rPr lang="el-GR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0.88</a:t>
            </a:fld>
            <a:endParaRPr lang="el-GR" sz="900" dirty="0">
              <a:solidFill>
                <a:schemeClr val="tx1"/>
              </a:solidFill>
              <a:latin typeface="+mn-lt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05" name="Text Placeholder 2"/>
          <p:cNvSpPr>
            <a:spLocks noGrp="1"/>
          </p:cNvSpPr>
          <p:nvPr>
            <p:custDataLst>
              <p:tags r:id="rId163"/>
            </p:custDataLst>
          </p:nvPr>
        </p:nvSpPr>
        <p:spPr bwMode="gray">
          <a:xfrm>
            <a:off x="1971675" y="3062288"/>
            <a:ext cx="2540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1F1D1F2-624D-4120-AD9D-9821F68EADB3}" type="datetime'0.''''''''''''''''''8''6'''''''''''''''''''''''''''''''''''">
              <a:rPr lang="el-GR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0.86</a:t>
            </a:fld>
            <a:endParaRPr lang="el-GR" sz="900" dirty="0">
              <a:solidFill>
                <a:schemeClr val="tx1"/>
              </a:solidFill>
              <a:latin typeface="+mn-lt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99" name="Text Placeholder 2"/>
          <p:cNvSpPr>
            <a:spLocks noGrp="1"/>
          </p:cNvSpPr>
          <p:nvPr>
            <p:custDataLst>
              <p:tags r:id="rId164"/>
            </p:custDataLst>
          </p:nvPr>
        </p:nvSpPr>
        <p:spPr bwMode="gray">
          <a:xfrm>
            <a:off x="2365375" y="3098800"/>
            <a:ext cx="2540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97FE7FC-437F-4163-A37C-BF9602481013}" type="datetime'''''''''0''''''''.''''''8''5'''''''''''''''''''''''''">
              <a:rPr lang="el-GR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0.85</a:t>
            </a:fld>
            <a:endParaRPr lang="el-GR" sz="900" dirty="0">
              <a:solidFill>
                <a:schemeClr val="tx1"/>
              </a:solidFill>
              <a:latin typeface="+mn-lt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434" name="Text Placeholder 2"/>
          <p:cNvSpPr>
            <a:spLocks noGrp="1"/>
          </p:cNvSpPr>
          <p:nvPr>
            <p:custDataLst>
              <p:tags r:id="rId165"/>
            </p:custDataLst>
          </p:nvPr>
        </p:nvSpPr>
        <p:spPr bwMode="gray">
          <a:xfrm>
            <a:off x="3151188" y="3025775"/>
            <a:ext cx="2540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C8216F9-0235-4A15-86BC-804D16DB4F8B}" type="datetime'''''''''''''''''''''''''0''.''''''''''''''''''''''''87'''">
              <a:rPr lang="el-GR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0.87</a:t>
            </a:fld>
            <a:endParaRPr lang="el-GR" sz="900" dirty="0">
              <a:solidFill>
                <a:schemeClr val="tx1"/>
              </a:solidFill>
              <a:latin typeface="+mn-lt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" name="Rectangle 2"/>
          <p:cNvSpPr/>
          <p:nvPr>
            <p:custDataLst>
              <p:tags r:id="rId166"/>
            </p:custDataLst>
          </p:nvPr>
        </p:nvSpPr>
        <p:spPr bwMode="gray">
          <a:xfrm>
            <a:off x="3935413" y="3106738"/>
            <a:ext cx="254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rtlCol="0" anchor="b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DF1D65E-CB9B-47C8-8128-985AC896A46C}" type="datetime'''''''''0''''''''''''''.8''''''''''''4''''''''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</a:rPr>
              <a:pPr/>
              <a:t>0.84</a:t>
            </a:fld>
            <a:endParaRPr lang="el-GR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1" name="Rectangle 10"/>
          <p:cNvSpPr/>
          <p:nvPr>
            <p:custDataLst>
              <p:tags r:id="rId167"/>
            </p:custDataLst>
          </p:nvPr>
        </p:nvSpPr>
        <p:spPr bwMode="gray">
          <a:xfrm>
            <a:off x="4329113" y="3179763"/>
            <a:ext cx="254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rtlCol="0" anchor="b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F25EB62-E21E-41CF-8748-BBFBF4B09DB4}" type="datetime'''''''''0''''''''''.''''''''''''''''8''''''''''''''''1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</a:rPr>
              <a:pPr/>
              <a:t>0.81</a:t>
            </a:fld>
            <a:endParaRPr lang="el-GR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17F88CF-AB1C-4355-8B1C-AFC007FE6C7E}"/>
              </a:ext>
            </a:extLst>
          </p:cNvPr>
          <p:cNvSpPr/>
          <p:nvPr>
            <p:custDataLst>
              <p:tags r:id="rId168"/>
            </p:custDataLst>
          </p:nvPr>
        </p:nvSpPr>
        <p:spPr bwMode="gray">
          <a:xfrm>
            <a:off x="4721225" y="2955925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AB9ACF1-17EF-4DF7-A006-2DAAF772AF09}" type="datetime'''''''''''''''''''''0''.''9''''1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91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877425A-5D1B-4484-B382-785ACCF23B0F}"/>
              </a:ext>
            </a:extLst>
          </p:cNvPr>
          <p:cNvSpPr/>
          <p:nvPr>
            <p:custDataLst>
              <p:tags r:id="rId169"/>
            </p:custDataLst>
          </p:nvPr>
        </p:nvSpPr>
        <p:spPr bwMode="gray">
          <a:xfrm>
            <a:off x="5114925" y="3033713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14483D0-F34A-4F25-9071-6879D677AD18}" type="datetime'''''''''''''0''''.''''''8''''8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88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E2195EC2-E539-4CFE-9517-C3B1D0140192}"/>
              </a:ext>
            </a:extLst>
          </p:cNvPr>
          <p:cNvSpPr/>
          <p:nvPr>
            <p:custDataLst>
              <p:tags r:id="rId170"/>
            </p:custDataLst>
          </p:nvPr>
        </p:nvSpPr>
        <p:spPr bwMode="gray">
          <a:xfrm>
            <a:off x="5507038" y="3013075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3C3AC31-C55E-4BD9-B844-7BA24353F19A}" type="datetime'''''''''''''''0''.''''''''''''''''''''''''''8''''''''''''''8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/>
              <a:t>0.88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1E7D7EC1-D504-430C-A764-DE6C011AA135}"/>
              </a:ext>
            </a:extLst>
          </p:cNvPr>
          <p:cNvSpPr/>
          <p:nvPr>
            <p:custDataLst>
              <p:tags r:id="rId171"/>
            </p:custDataLst>
          </p:nvPr>
        </p:nvSpPr>
        <p:spPr bwMode="gray">
          <a:xfrm>
            <a:off x="6292850" y="2824163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4A47DD1-615E-4D32-8F55-DBC9D3E85665}" type="datetime'''''''''''''''0''''''''''''''''''''''''''''''''''.''96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</a:rPr>
              <a:pPr/>
              <a:t>0.96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D1226CE-6CB8-4720-A4E8-F6546091080D}"/>
              </a:ext>
            </a:extLst>
          </p:cNvPr>
          <p:cNvSpPr/>
          <p:nvPr>
            <p:custDataLst>
              <p:tags r:id="rId172"/>
            </p:custDataLst>
          </p:nvPr>
        </p:nvSpPr>
        <p:spPr bwMode="gray">
          <a:xfrm>
            <a:off x="7078663" y="3041650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76515A9-5449-45A2-950B-FFD41BD6CE17}" type="datetime'''''''''''''''0''''''''''''''''.''8''''''''''''''''7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/>
              <a:t>0.87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84ADC466-E36F-4E72-89F6-756131BABD8D}"/>
              </a:ext>
            </a:extLst>
          </p:cNvPr>
          <p:cNvSpPr/>
          <p:nvPr>
            <p:custDataLst>
              <p:tags r:id="rId173"/>
            </p:custDataLst>
          </p:nvPr>
        </p:nvSpPr>
        <p:spPr bwMode="gray">
          <a:xfrm>
            <a:off x="7472363" y="2987675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EAB28F9-3005-4B77-9B77-53D9D813B60D}" type="datetime'''''''''0.''''''''''''''''''''''''''''89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/>
              <a:t>0.89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52294444-8A6C-44D7-B650-E527F53A10FE}"/>
              </a:ext>
            </a:extLst>
          </p:cNvPr>
          <p:cNvSpPr/>
          <p:nvPr>
            <p:custDataLst>
              <p:tags r:id="rId174"/>
            </p:custDataLst>
          </p:nvPr>
        </p:nvSpPr>
        <p:spPr bwMode="gray">
          <a:xfrm>
            <a:off x="7864475" y="2667000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FB9B372-AF7E-4497-9DF0-2237940005E2}" type="datetime'''''1''''''''''.''''''''0''''''''''''''''2''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1.02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82B47003-E890-4CD3-BFCB-068C546651DE}"/>
              </a:ext>
            </a:extLst>
          </p:cNvPr>
          <p:cNvSpPr/>
          <p:nvPr>
            <p:custDataLst>
              <p:tags r:id="rId175"/>
            </p:custDataLst>
          </p:nvPr>
        </p:nvSpPr>
        <p:spPr bwMode="gray">
          <a:xfrm>
            <a:off x="9042400" y="2913063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8635BA5-D752-4C87-A619-BB1441C262A2}" type="datetime'0''''''''''.''''''''''''''''''''''9''''2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sym typeface="Arial" panose="020B0604020202020204" pitchFamily="34" charset="0"/>
              </a:rPr>
              <a:pPr/>
              <a:t>0.92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2F38F091-FC78-4F28-B139-D913650FF13D}"/>
              </a:ext>
            </a:extLst>
          </p:cNvPr>
          <p:cNvSpPr/>
          <p:nvPr>
            <p:custDataLst>
              <p:tags r:id="rId176"/>
            </p:custDataLst>
          </p:nvPr>
        </p:nvSpPr>
        <p:spPr bwMode="gray">
          <a:xfrm>
            <a:off x="9436100" y="2646363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A45A294-265E-44DB-A6C0-B08E55E44969}" type="datetime'''1''''''''''''.''''0''''''''''''''''3''''''''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sym typeface="Arial" panose="020B0604020202020204" pitchFamily="34" charset="0"/>
              </a:rPr>
              <a:pPr/>
              <a:t>1.0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36B9D479-B587-4F73-AE4B-19AF1EAE6FA0}"/>
              </a:ext>
            </a:extLst>
          </p:cNvPr>
          <p:cNvSpPr/>
          <p:nvPr>
            <p:custDataLst>
              <p:tags r:id="rId177"/>
            </p:custDataLst>
          </p:nvPr>
        </p:nvSpPr>
        <p:spPr bwMode="gray">
          <a:xfrm>
            <a:off x="9828213" y="2844800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3C38AC3-0B7C-46D7-AA7C-C505D09280E4}" type="datetime'''0''''''''.''''''''''''''''''''''''''''''''''''9''5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0.95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2D325BAB-89AC-4E1E-81F6-35DF1B5052FC}"/>
              </a:ext>
            </a:extLst>
          </p:cNvPr>
          <p:cNvSpPr/>
          <p:nvPr>
            <p:custDataLst>
              <p:tags r:id="rId178"/>
            </p:custDataLst>
          </p:nvPr>
        </p:nvSpPr>
        <p:spPr bwMode="gray">
          <a:xfrm>
            <a:off x="10221913" y="2778125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4047917-E8B0-4B11-B421-EC8D09AFE1E7}" type="datetime'''0''''''''''''.''''''9''''''''''''8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0.98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5335417A-4744-455F-BEFC-8EF4B57496D4}"/>
              </a:ext>
            </a:extLst>
          </p:cNvPr>
          <p:cNvSpPr/>
          <p:nvPr>
            <p:custDataLst>
              <p:tags r:id="rId179"/>
            </p:custDataLst>
          </p:nvPr>
        </p:nvSpPr>
        <p:spPr bwMode="gray">
          <a:xfrm>
            <a:off x="10614025" y="2819400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B1EA50E-A772-465C-8CFD-6BCD7C81F4F4}" type="datetime'''''''''''''0''''''''''''.''96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0.96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5119FAB2-F134-42A4-ABA4-D61B657BA19C}"/>
              </a:ext>
            </a:extLst>
          </p:cNvPr>
          <p:cNvSpPr/>
          <p:nvPr>
            <p:custDataLst>
              <p:tags r:id="rId180"/>
            </p:custDataLst>
          </p:nvPr>
        </p:nvSpPr>
        <p:spPr bwMode="gray">
          <a:xfrm>
            <a:off x="11007725" y="2544763"/>
            <a:ext cx="254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A643E02-7C1D-45C5-8DD0-BCCF16E69D52}" type="datetime'1''''''''''''''''''''''.0''''''''7''''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1.07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F63750A3-B470-27E6-2A81-FA52C62E4E87}"/>
              </a:ext>
            </a:extLst>
          </p:cNvPr>
          <p:cNvSpPr/>
          <p:nvPr>
            <p:custDataLst>
              <p:tags r:id="rId181"/>
            </p:custDataLst>
          </p:nvPr>
        </p:nvSpPr>
        <p:spPr bwMode="gray">
          <a:xfrm>
            <a:off x="11399838" y="2652713"/>
            <a:ext cx="254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95319A1-AB2B-4825-8FB1-D13E25FB981E}" type="datetime'''''''''''''''''''''''''''1.''''''''03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1.0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432" name="Text Placeholder 2"/>
          <p:cNvSpPr>
            <a:spLocks noGrp="1"/>
          </p:cNvSpPr>
          <p:nvPr>
            <p:custDataLst>
              <p:tags r:id="rId182"/>
            </p:custDataLst>
          </p:nvPr>
        </p:nvSpPr>
        <p:spPr bwMode="auto">
          <a:xfrm>
            <a:off x="10509249" y="2374900"/>
            <a:ext cx="463550" cy="176213"/>
          </a:xfrm>
          <a:prstGeom prst="ellipse">
            <a:avLst/>
          </a:prstGeom>
          <a:solidFill>
            <a:srgbClr val="007770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0A4B32C3-A091-4A68-A6FF-36B92B16FD8F}" type="datetime'+8''''''''''''.''''''''''''''''''''1''''''''''%'''">
              <a:rPr lang="el-GR" altLang="en-US" sz="900" b="1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+8.1%</a:t>
            </a:fld>
            <a:endParaRPr lang="el-GR" sz="900" b="1" dirty="0">
              <a:solidFill>
                <a:schemeClr val="bg1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440" name="Rectangle 439"/>
          <p:cNvSpPr/>
          <p:nvPr>
            <p:custDataLst>
              <p:tags r:id="rId183"/>
            </p:custDataLst>
          </p:nvPr>
        </p:nvSpPr>
        <p:spPr bwMode="auto">
          <a:xfrm>
            <a:off x="1573213" y="5751513"/>
            <a:ext cx="160338" cy="1206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400" dirty="0">
              <a:latin typeface="Arial"/>
            </a:endParaRPr>
          </a:p>
        </p:txBody>
      </p:sp>
      <p:sp>
        <p:nvSpPr>
          <p:cNvPr id="441" name="Rectangle 440"/>
          <p:cNvSpPr/>
          <p:nvPr>
            <p:custDataLst>
              <p:tags r:id="rId184"/>
            </p:custDataLst>
          </p:nvPr>
        </p:nvSpPr>
        <p:spPr bwMode="auto">
          <a:xfrm>
            <a:off x="803275" y="5751513"/>
            <a:ext cx="160338" cy="120650"/>
          </a:xfrm>
          <a:prstGeom prst="rect">
            <a:avLst/>
          </a:prstGeom>
          <a:solidFill>
            <a:srgbClr val="25B4F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42" name="Rectangle 441"/>
          <p:cNvSpPr/>
          <p:nvPr>
            <p:custDataLst>
              <p:tags r:id="rId185"/>
            </p:custDataLst>
          </p:nvPr>
        </p:nvSpPr>
        <p:spPr bwMode="auto">
          <a:xfrm>
            <a:off x="204788" y="5751513"/>
            <a:ext cx="160338" cy="120650"/>
          </a:xfrm>
          <a:prstGeom prst="rect">
            <a:avLst/>
          </a:prstGeom>
          <a:solidFill>
            <a:srgbClr val="CAE3F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39" name="Rectangle 438"/>
          <p:cNvSpPr/>
          <p:nvPr>
            <p:custDataLst>
              <p:tags r:id="rId186"/>
            </p:custDataLst>
          </p:nvPr>
        </p:nvSpPr>
        <p:spPr bwMode="auto">
          <a:xfrm>
            <a:off x="2387600" y="5751513"/>
            <a:ext cx="160338" cy="120650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400" dirty="0">
              <a:latin typeface="Arial"/>
            </a:endParaRPr>
          </a:p>
        </p:txBody>
      </p:sp>
      <p:sp>
        <p:nvSpPr>
          <p:cNvPr id="446" name="Rectangle 445"/>
          <p:cNvSpPr/>
          <p:nvPr>
            <p:custDataLst>
              <p:tags r:id="rId187"/>
            </p:custDataLst>
          </p:nvPr>
        </p:nvSpPr>
        <p:spPr bwMode="auto">
          <a:xfrm>
            <a:off x="415925" y="5748338"/>
            <a:ext cx="2857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12A5CFAA-9743-4668-8919-C5829AC7DB10}" type="datetime'''''''''''''O''''''''''''''''t''''he''''''''''''''''''''r'''">
              <a:rPr lang="en-US" altLang="en-US" sz="900">
                <a:ea typeface="Verdana" panose="020B0604030504040204" pitchFamily="34" charset="0"/>
                <a:cs typeface="Arial" panose="020B0604020202020204" pitchFamily="34" charset="0"/>
              </a:rPr>
              <a:pPr/>
              <a:t>Other</a:t>
            </a:fld>
            <a:endParaRPr kumimoji="0" lang="el-GR" sz="900" strike="noStrike" cap="none" normalizeH="0" dirty="0">
              <a:ln>
                <a:noFill/>
              </a:ln>
              <a:effectLst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445" name="Rectangle 444"/>
          <p:cNvSpPr/>
          <p:nvPr>
            <p:custDataLst>
              <p:tags r:id="rId188"/>
            </p:custDataLst>
          </p:nvPr>
        </p:nvSpPr>
        <p:spPr bwMode="auto">
          <a:xfrm>
            <a:off x="1014413" y="5748338"/>
            <a:ext cx="4572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C017DEE9-3241-4793-96DD-E191A7D3D217}" type="datetime'''''Ge''n''''''e''''''''''''ri''''''''''''''''''''''''c''''s'">
              <a:rPr lang="en-US" altLang="en-US" sz="900">
                <a:ea typeface="Verdana" panose="020B0604030504040204" pitchFamily="34" charset="0"/>
                <a:cs typeface="Arial" panose="020B0604020202020204" pitchFamily="34" charset="0"/>
              </a:rPr>
              <a:pPr/>
              <a:t>Generics</a:t>
            </a:fld>
            <a:endParaRPr kumimoji="0" lang="el-GR" sz="900" strike="noStrike" cap="none" normalizeH="0">
              <a:ln>
                <a:noFill/>
              </a:ln>
              <a:effectLst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443" name="Text Placeholder 60"/>
          <p:cNvSpPr>
            <a:spLocks noGrp="1"/>
          </p:cNvSpPr>
          <p:nvPr>
            <p:custDataLst>
              <p:tags r:id="rId189"/>
            </p:custDataLst>
          </p:nvPr>
        </p:nvSpPr>
        <p:spPr bwMode="auto">
          <a:xfrm>
            <a:off x="1784350" y="5748338"/>
            <a:ext cx="5016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39BE0714-C860-4FFA-919B-B36B01F942B0}" type="datetime'''O''''f''''''''''f ''''pa''''''''''''''ten''''''''''''''''t'">
              <a:rPr lang="el-GR" altLang="en-US" sz="900" b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</a:rPr>
              <a:pPr/>
              <a:t>Off patent</a:t>
            </a:fld>
            <a:endParaRPr lang="el-GR" sz="900" b="0">
              <a:solidFill>
                <a:schemeClr val="tx1"/>
              </a:solidFill>
              <a:latin typeface="Arial"/>
              <a:ea typeface="Verdana" panose="020B060403050404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44" name="Text Placeholder 60"/>
          <p:cNvSpPr>
            <a:spLocks noGrp="1"/>
          </p:cNvSpPr>
          <p:nvPr>
            <p:custDataLst>
              <p:tags r:id="rId190"/>
            </p:custDataLst>
          </p:nvPr>
        </p:nvSpPr>
        <p:spPr bwMode="auto">
          <a:xfrm>
            <a:off x="2598738" y="5748338"/>
            <a:ext cx="5016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2BF13354-63F3-4C56-A042-8A19FDCF86F7}" type="datetime'''''O''''''''''''''n'' p''''''''''a''''t''e''''''''n''''t'''''">
              <a:rPr lang="el-GR" altLang="en-US" sz="900" b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</a:rPr>
              <a:pPr/>
              <a:t>On patent</a:t>
            </a:fld>
            <a:endParaRPr lang="el-GR" sz="900" b="0">
              <a:solidFill>
                <a:schemeClr val="tx1"/>
              </a:solidFill>
              <a:latin typeface="Arial"/>
              <a:ea typeface="Verdana" panose="020B060403050404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80" name="Text Placeholder 1">
            <a:extLst>
              <a:ext uri="{FF2B5EF4-FFF2-40B4-BE49-F238E27FC236}">
                <a16:creationId xmlns:a16="http://schemas.microsoft.com/office/drawing/2014/main" id="{F8BC3904-4F92-BB11-AB90-28282BAD49E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013" y="6397157"/>
            <a:ext cx="7560000" cy="110800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</p:spTree>
    <p:extLst>
      <p:ext uri="{BB962C8B-B14F-4D97-AF65-F5344CB8AC3E}">
        <p14:creationId xmlns:p14="http://schemas.microsoft.com/office/powerpoint/2010/main" val="912921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248764A-8947-426D-9B8F-679FB0D21B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54067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592" imgH="591" progId="TCLayout.ActiveDocument.1">
                  <p:embed/>
                </p:oleObj>
              </mc:Choice>
              <mc:Fallback>
                <p:oleObj name="think-cell Slide" r:id="rId27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248764A-8947-426D-9B8F-679FB0D21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4007C1-D739-4EE8-AA67-4EADBBFE009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Total MARKE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C2F8F7-85C5-496F-8D0F-A4F6F6E7E5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7012" y="6007481"/>
            <a:ext cx="11246241" cy="221599"/>
          </a:xfrm>
        </p:spPr>
        <p:txBody>
          <a:bodyPr/>
          <a:lstStyle/>
          <a:p>
            <a:r>
              <a:rPr lang="en-US" dirty="0"/>
              <a:t>1. Out of pocket values have been calculated based on the estimated units sold without a prescription (IQVIA Reimbursed/ Non-Reimbursed database)</a:t>
            </a:r>
          </a:p>
          <a:p>
            <a:r>
              <a:rPr lang="en-US" dirty="0"/>
              <a:t>Note: Excluding all L.3816 produc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stimated Value of Reimbursed &amp; Non-Reimbursed Units – PSP values – MAT/03/23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estimated value of the Reimbursed units is reaching ~€3.5B (PSP) in MAT/03/23</a:t>
            </a:r>
          </a:p>
        </p:txBody>
      </p: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7A392201-BF04-48EE-8A4E-8EA47BE9B65A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5678488" y="3805238"/>
            <a:ext cx="11303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C97DE105-BB6A-4336-9906-5BD636AB9F35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135313" y="3937000"/>
            <a:ext cx="11303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E3F60E2B-661A-9F28-28AA-34F9E83DB1A5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691492919"/>
              </p:ext>
            </p:extLst>
          </p:nvPr>
        </p:nvGraphicFramePr>
        <p:xfrm>
          <a:off x="550863" y="2281238"/>
          <a:ext cx="8320087" cy="2811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106" name="Rectangle 105">
            <a:extLst>
              <a:ext uri="{FF2B5EF4-FFF2-40B4-BE49-F238E27FC236}">
                <a16:creationId xmlns:a16="http://schemas.microsoft.com/office/drawing/2014/main" id="{6373835C-04EE-4992-BA9B-F342C714C52E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7346950" y="3225800"/>
            <a:ext cx="33655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32E1444-2258-4FFE-98CD-3C302B164B3D}" type="datetime'''''''''''''''3'''''''''',''''''''''''''''''48''''2'''">
              <a:rPr lang="el-GR" altLang="en-US" sz="900" smtClean="0">
                <a:solidFill>
                  <a:srgbClr val="FFFFFF"/>
                </a:solidFill>
              </a:rPr>
              <a:pPr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,482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(</a:t>
            </a:r>
            <a:fld id="{FF75E8F9-4C6C-4C8D-8D94-DA5E1BB0EB71}" type="datetime'''''''''''''7''''''''''7''''''''''''''''''''%'''">
              <a:rPr kumimoji="0" lang="el-G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7%</a:t>
            </a:fld>
            <a:r>
              <a:rPr kumimoji="0" lang="el-G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)</a:t>
            </a:r>
            <a:endParaRPr kumimoji="0" lang="el-GR" sz="9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99" name="Rectangle 139">
            <a:extLst>
              <a:ext uri="{FF2B5EF4-FFF2-40B4-BE49-F238E27FC236}">
                <a16:creationId xmlns:a16="http://schemas.microsoft.com/office/drawing/2014/main" id="{2BCE6E7A-4FBD-4FEC-8D07-6A1BB7A2048B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68388" y="2130425"/>
            <a:ext cx="176213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M</a:t>
            </a:r>
            <a:r>
              <a:rPr kumimoji="0" lang="el-GR" sz="10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€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07" name="Rectangle 137">
            <a:extLst>
              <a:ext uri="{FF2B5EF4-FFF2-40B4-BE49-F238E27FC236}">
                <a16:creationId xmlns:a16="http://schemas.microsoft.com/office/drawing/2014/main" id="{520602A2-F0CE-4179-808A-B0F2163E4660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158038" y="5037138"/>
            <a:ext cx="715963" cy="3048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D37B2A-10EE-4AB4-BF12-86EA89032B45}" type="datetime'T''ot''''''''a''''l'' m''''''''''''ark''e''''t&#10;i''n'' PSP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Total market
in PSP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00CE01BD-4429-4913-80A9-38B8631F46B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259013" y="3873500"/>
            <a:ext cx="336550" cy="273050"/>
          </a:xfrm>
          <a:prstGeom prst="rect">
            <a:avLst/>
          </a:prstGeom>
          <a:solidFill>
            <a:srgbClr val="CAE3FF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102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A3E0"/>
              </a:buClr>
              <a:buSzPct val="80000"/>
              <a:buFont typeface="Arial"/>
              <a:buNone/>
              <a:tabLst/>
              <a:defRPr/>
            </a:pPr>
            <a:fld id="{F4612F43-02B6-4931-B884-8A48CED6E952}" type="datetime'''''5''''''''''''5''''''''''''''''9'''''''">
              <a:rPr lang="el-GR" altLang="en-US" sz="900" smtClean="0">
                <a:solidFill>
                  <a:srgbClr val="2B3A42"/>
                </a:solidFill>
                <a:effectLst/>
                <a:latin typeface="+mn-lt"/>
                <a:cs typeface="+mn-cs"/>
              </a:rPr>
              <a:pPr/>
              <a:t>559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2567D23E-5208-41FC-B850-3EC050DB827F}" type="datetime'''''''''''''''''''''''''''''''''''''1''''''''''''4%'''''''''">
              <a:rPr kumimoji="0" lang="el-G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41029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A3E0"/>
                </a:buClr>
                <a:buSzPct val="80000"/>
                <a:buFont typeface="Arial"/>
                <a:buNone/>
                <a:tabLst/>
                <a:defRPr/>
              </a:pPr>
              <a:t>14%</a:t>
            </a:fld>
            <a:r>
              <a:rPr kumimoji="0" lang="el-GR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A1332536-C533-4397-B37E-A9584712C1A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259013" y="4402138"/>
            <a:ext cx="336550" cy="27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6493A58F-A5FF-4272-B520-B564493F00B1}" type="datetime'''''''3'''',''''''''''''''''''4''8''''''''''''''''''''2'''''">
              <a:rPr lang="el-GR" altLang="en-US" sz="900" smtClean="0">
                <a:solidFill>
                  <a:srgbClr val="FFFFFF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3,482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A1BB242E-A517-41FF-8361-7DA1177B8447}" type="datetime'8''''''''''''''''''''''''''''6%'''''">
              <a:rPr kumimoji="0" lang="el-G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86%</a:t>
            </a:fld>
            <a:r>
              <a:rPr kumimoji="0" lang="el-G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BDC8C35-DB05-44CF-B893-4D94E8D18314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5157788" y="3730625"/>
            <a:ext cx="336550" cy="2476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1146B0-8AEA-4487-AEBB-4B0195685C0A}" type="datetime'''''''''''''''''''''''''''''3''''7''8'''''''''''''''''''''''''">
              <a:rPr lang="el-GR" altLang="en-US" sz="900" smtClean="0">
                <a:solidFill>
                  <a:srgbClr val="FFFFFF"/>
                </a:solidFill>
                <a:effectLst/>
              </a:rPr>
              <a:pPr/>
              <a:t>378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(</a:t>
            </a:r>
            <a:fld id="{7891089D-BA09-495C-9ACC-2FE5FD6DB8C6}" type="datetime'''''''''''''''''''''''''''''''''7''''''4''''''''''''%'''''">
              <a:rPr lang="el-GR" altLang="en-US" sz="900" smtClean="0">
                <a:solidFill>
                  <a:srgbClr val="FFFFFF"/>
                </a:solidFill>
                <a:effectLst/>
              </a:rPr>
              <a:pPr/>
              <a:t>74%</a:t>
            </a:fld>
            <a:r>
              <a:rPr kumimoji="0" lang="el-G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)</a:t>
            </a:r>
            <a:endParaRPr kumimoji="0" lang="el-GR" sz="9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98" name="Rectangle 137">
            <a:extLst>
              <a:ext uri="{FF2B5EF4-FFF2-40B4-BE49-F238E27FC236}">
                <a16:creationId xmlns:a16="http://schemas.microsoft.com/office/drawing/2014/main" id="{2687E625-D651-4C65-9CF0-DE51BB54EAEA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030413" y="5037138"/>
            <a:ext cx="793750" cy="3048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20C7FA-C03A-4F56-9CC1-057A6F85632A}" type="datetime'R''e''i''m''''''''''''burs''''''ab''le&#10;m''''''a''''rk''e''''t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Reimbursable
market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FEBCB439-C66E-4E9D-BF05-898817409F70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4451350" y="3795713"/>
            <a:ext cx="336550" cy="247650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051A386-C536-41F6-A332-CC224F606946}" type="datetime'''''''''1''''''''''3''''''''''''1'''''''''''''''''''''''''">
              <a:rPr lang="el-GR" altLang="en-US" sz="900" smtClean="0">
                <a:solidFill>
                  <a:srgbClr val="2B3A42"/>
                </a:solidFill>
                <a:effectLst/>
              </a:rPr>
              <a:pPr/>
              <a:t>131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(</a:t>
            </a:r>
            <a:fld id="{95FA10ED-0B50-4226-895B-06F6500CDE43}" type="datetime'2''''''''''''''''''''''''''''''''''''''6%'''''''''''''''''">
              <a:rPr lang="el-GR" altLang="en-US" sz="900" smtClean="0">
                <a:solidFill>
                  <a:srgbClr val="2B3A42"/>
                </a:solidFill>
                <a:effectLst/>
              </a:rPr>
              <a:pPr/>
              <a:t>26%</a:t>
            </a:fld>
            <a:r>
              <a:rPr kumimoji="0" lang="el-GR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02" name="Rectangle 137">
            <a:extLst>
              <a:ext uri="{FF2B5EF4-FFF2-40B4-BE49-F238E27FC236}">
                <a16:creationId xmlns:a16="http://schemas.microsoft.com/office/drawing/2014/main" id="{FA9AF8AF-21A4-4003-AFB7-7B5C07AC81B0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438650" y="5037138"/>
            <a:ext cx="1068388" cy="3048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05696F-AEA2-449D-B6B1-E45EB28EAC25}" type="datetime'''''''Non''''''''''-''R''''ei''mbu''''''r''sable&#10;mark''et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Non-Reimbursable
market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C8B04DA-D67F-4D39-A59C-0985319EE2AF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7732713" y="2540000"/>
            <a:ext cx="273050" cy="2476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A873122-BFFC-4B32-845B-1B35B7B413AD}" type="datetime'''''''''3''''''''7''''''''''''8'''''''''''''''">
              <a:rPr lang="el-GR" altLang="en-US" sz="900" smtClean="0">
                <a:solidFill>
                  <a:srgbClr val="FFFFFF"/>
                </a:solidFill>
                <a:effectLst/>
              </a:rPr>
              <a:pPr/>
              <a:t>378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(</a:t>
            </a:r>
            <a:fld id="{A8259A05-165A-471A-93C1-583E5395348B}" type="datetime'''''''''''''8''''''''''''%'''">
              <a:rPr kumimoji="0" lang="el-G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%</a:t>
            </a:fld>
            <a:r>
              <a:rPr kumimoji="0" lang="el-G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)</a:t>
            </a:r>
            <a:endParaRPr kumimoji="0" lang="el-GR" sz="9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C8BA847-2DC6-4649-975B-1D4776A69E2C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6994525" y="2679700"/>
            <a:ext cx="336550" cy="247650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6721F8C-5A84-43AD-A3B4-9E6BAC91211E}" type="datetime'''6''''''9''''''''''''''''''0'''''''''''''''''''">
              <a:rPr lang="el-GR" altLang="en-US" sz="900" smtClean="0">
                <a:solidFill>
                  <a:srgbClr val="2B3A42"/>
                </a:solidFill>
                <a:effectLst/>
              </a:rPr>
              <a:pPr/>
              <a:t>690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(</a:t>
            </a:r>
            <a:fld id="{6C804B0E-72A2-4AF9-9CBE-304F1849FB9C}" type="datetime'''''''''''''''''''''''''1''''''''''''''''''''''''''5%'''''''">
              <a:rPr kumimoji="0" lang="el-G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%</a:t>
            </a:fld>
            <a:r>
              <a:rPr kumimoji="0" lang="el-GR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)</a:t>
            </a:r>
            <a:endParaRPr kumimoji="0" lang="el-GR" sz="900" b="0" i="0" u="none" strike="noStrike" kern="1200" cap="none" spc="0" normalizeH="0" baseline="0" noProof="0" dirty="0" err="1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323C568E-F187-441E-9EE9-85ABCC1E353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268538" y="3736975"/>
            <a:ext cx="3175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135EBBE0-8392-4021-942C-826ABAC06005}" type="datetime'''''4'',''''''''''''''''''0''''''''41'''''''''''''''''''''''''">
              <a:rPr lang="en-US" altLang="en-US" sz="900" smtClean="0">
                <a:solidFill>
                  <a:srgbClr val="2B3A42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4,041</a:t>
            </a:fld>
            <a:endParaRPr kumimoji="0" lang="el-GR" sz="900" b="0" i="0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+mn-lt"/>
              <a:cs typeface="+mn-cs"/>
              <a:sym typeface="+mn-lt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372BEE43-36E9-44FC-9FB3-3933CA8A21E6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4860925" y="3606800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DCD16A1-9193-4692-B8DB-0B4D41DB4F45}" type="datetime'''''''''''''5''''''''''''''''''''0''''''''8'''''''''''''''">
              <a:rPr lang="en-US" altLang="en-US" sz="900" smtClean="0">
                <a:solidFill>
                  <a:srgbClr val="2B3A42"/>
                </a:solidFill>
              </a:rPr>
              <a:pPr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08</a:t>
            </a:fld>
            <a:endParaRPr kumimoji="0" lang="el-GR" sz="900" b="0" i="0" strike="noStrike" kern="1200" cap="none" spc="0" normalizeH="0" baseline="0" noProof="0" dirty="0" err="1">
              <a:ln>
                <a:noFill/>
              </a:ln>
              <a:solidFill>
                <a:srgbClr val="2B3A42"/>
              </a:solidFill>
              <a:effectLst/>
              <a:uLnTx/>
              <a:uFillTx/>
              <a:cs typeface="Arial" panose="020B0604020202020204" pitchFamily="34" charset="0"/>
              <a:sym typeface="+mn-lt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DE9BF727-1682-4307-8B4C-D7CCE1DE8D9C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7356475" y="2416175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1482213-9961-4BFF-B601-C92385987ED3}" type="datetime'''''''4,''5''''''''''5''''''''''''''''''''''''''''''''''''''0'">
              <a:rPr lang="en-US" altLang="en-US" sz="900" smtClean="0">
                <a:solidFill>
                  <a:srgbClr val="2B3A42"/>
                </a:solidFill>
              </a:rPr>
              <a:pPr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,550</a:t>
            </a:fld>
            <a:endParaRPr kumimoji="0" lang="el-GR" sz="900" b="0" i="0" strike="noStrike" kern="1200" cap="none" spc="0" normalizeH="0" baseline="0" noProof="0" dirty="0" err="1">
              <a:ln>
                <a:noFill/>
              </a:ln>
              <a:solidFill>
                <a:srgbClr val="2B3A42"/>
              </a:solidFill>
              <a:effectLst/>
              <a:uLnTx/>
              <a:uFillTx/>
              <a:cs typeface="Arial" panose="020B0604020202020204" pitchFamily="34" charset="0"/>
              <a:sym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C9A1650-1B50-43A1-B5B9-86CD02F1424A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8929688" y="4389438"/>
            <a:ext cx="179388" cy="133350"/>
          </a:xfrm>
          <a:prstGeom prst="rect">
            <a:avLst/>
          </a:prstGeom>
          <a:solidFill>
            <a:schemeClr val="accent4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AB99AED1-6F96-421C-9BB3-E0DE7B177AF0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8929688" y="4795838"/>
            <a:ext cx="179388" cy="1333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9AE26FEA-DB01-44DC-9A41-3A2777418C4F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8929688" y="4592638"/>
            <a:ext cx="179388" cy="133350"/>
          </a:xfrm>
          <a:prstGeom prst="rect">
            <a:avLst/>
          </a:prstGeom>
          <a:solidFill>
            <a:srgbClr val="CAE3FF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AA9A14AE-39F5-4367-834E-0E88B3A1529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159875" y="4384675"/>
            <a:ext cx="24860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102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A3E0"/>
              </a:buClr>
              <a:buSzPct val="80000"/>
              <a:buFont typeface="Arial"/>
              <a:buNone/>
              <a:tabLst/>
              <a:defRPr/>
            </a:pPr>
            <a:fld id="{6D3037C7-AA76-4D49-AB4D-BD991A2CEE84}" type="datetime'Es''timated ''''v''alue ''''(PS''P) of the MHS''''YFA un''its'">
              <a:rPr kumimoji="0" lang="el-GR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41029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A3E0"/>
                </a:buClr>
                <a:buSzPct val="80000"/>
                <a:buFont typeface="Arial"/>
                <a:buNone/>
                <a:tabLst/>
                <a:defRPr/>
              </a:pPr>
              <a:t>Estimated value (PSP) of the MHSYFA units</a:t>
            </a:fld>
            <a:endParaRPr kumimoji="0" lang="el-GR" sz="1000" b="0" i="0" u="none" strike="noStrike" kern="1200" cap="none" spc="0" normalizeH="0" baseline="3000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5BCA0D63-A60D-4F7E-BFDE-363225B0115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159875" y="4791075"/>
            <a:ext cx="26400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102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A3E0"/>
              </a:buClr>
              <a:buSzPct val="80000"/>
              <a:buFont typeface="Arial"/>
              <a:buNone/>
              <a:tabLst/>
              <a:defRPr/>
            </a:pPr>
            <a:fld id="{2C847D10-25FF-4297-AC11-8C38C02BA8DC}" type="datetime'Est''imated value'' (''PS''P) of the'' Reimbursed un''its'">
              <a:rPr kumimoji="0" lang="el-GR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41029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A3E0"/>
                </a:buClr>
                <a:buSzPct val="80000"/>
                <a:buFont typeface="Arial"/>
                <a:buNone/>
                <a:tabLst/>
                <a:defRPr/>
              </a:pPr>
              <a:t>Estimated value (PSP) of the Reimbursed units</a:t>
            </a:fld>
            <a:endParaRPr kumimoji="0" lang="el-GR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7C56B7B5-5711-4551-B808-4AFE18576D09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9159875" y="4587875"/>
            <a:ext cx="27543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102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A3E0"/>
              </a:buClr>
              <a:buSzPct val="80000"/>
              <a:buFont typeface="Arial"/>
              <a:buNone/>
              <a:tabLst/>
              <a:defRPr/>
            </a:pPr>
            <a:fld id="{C628EDD7-BF13-4744-A71F-3D64E27DD172}" type="datetime'E''sti''mated value (PSP)'' of ''the Out of pocket un''its'''">
              <a:rPr kumimoji="0" lang="el-GR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41029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A3E0"/>
                </a:buClr>
                <a:buSzPct val="80000"/>
                <a:buFont typeface="Arial"/>
                <a:buNone/>
                <a:tabLst/>
                <a:defRPr/>
              </a:pPr>
              <a:t>Estimated value (PSP) of the Out of pocket units</a:t>
            </a:fld>
            <a:r>
              <a:rPr kumimoji="0" lang="en-US" alt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endParaRPr kumimoji="0" lang="el-GR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 Placeholder 1">
            <a:extLst>
              <a:ext uri="{FF2B5EF4-FFF2-40B4-BE49-F238E27FC236}">
                <a16:creationId xmlns:a16="http://schemas.microsoft.com/office/drawing/2014/main" id="{E2177FA0-1EFB-6E08-F9D8-56B7932575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6250" y="6397625"/>
            <a:ext cx="7561263" cy="111125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99F6546-3FA0-DD4D-0853-CA015EBC58A8}"/>
              </a:ext>
            </a:extLst>
          </p:cNvPr>
          <p:cNvSpPr/>
          <p:nvPr/>
        </p:nvSpPr>
        <p:spPr>
          <a:xfrm>
            <a:off x="625476" y="1925580"/>
            <a:ext cx="646113" cy="32333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</p:spTree>
    <p:extLst>
      <p:ext uri="{BB962C8B-B14F-4D97-AF65-F5344CB8AC3E}">
        <p14:creationId xmlns:p14="http://schemas.microsoft.com/office/powerpoint/2010/main" val="2565001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248764A-8947-426D-9B8F-679FB0D21B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9459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592" imgH="591" progId="TCLayout.ActiveDocument.1">
                  <p:embed/>
                </p:oleObj>
              </mc:Choice>
              <mc:Fallback>
                <p:oleObj name="think-cell Slide" r:id="rId34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248764A-8947-426D-9B8F-679FB0D21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9C80E672-3A07-1867-8877-D6CB1FFE718A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2524124" y="4522788"/>
            <a:ext cx="9223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" name="Straight Connector 167"/>
          <p:cNvCxnSpPr>
            <a:cxnSpLocks noChangeShapeType="1"/>
          </p:cNvCxnSpPr>
          <p:nvPr>
            <p:custDataLst>
              <p:tags r:id="rId3"/>
            </p:custDataLst>
          </p:nvPr>
        </p:nvCxnSpPr>
        <p:spPr bwMode="auto">
          <a:xfrm>
            <a:off x="8753475" y="3622675"/>
            <a:ext cx="922338" cy="0"/>
          </a:xfrm>
          <a:prstGeom prst="line">
            <a:avLst/>
          </a:prstGeom>
          <a:noFill/>
          <a:ln w="3175" algn="ctr">
            <a:solidFill>
              <a:schemeClr val="tx1"/>
            </a:solidFill>
            <a:prstDash val="lgDash"/>
            <a:round/>
            <a:headEnd/>
            <a:tailEnd/>
          </a:ln>
        </p:spPr>
      </p:cxnSp>
      <p:cxnSp>
        <p:nvCxnSpPr>
          <p:cNvPr id="148" name="Straight Connector 146"/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>
            <a:off x="6677025" y="3852863"/>
            <a:ext cx="922338" cy="0"/>
          </a:xfrm>
          <a:prstGeom prst="line">
            <a:avLst/>
          </a:prstGeom>
          <a:noFill/>
          <a:ln w="3175" algn="ctr">
            <a:solidFill>
              <a:schemeClr val="tx1"/>
            </a:solidFill>
            <a:prstDash val="lgDash"/>
            <a:round/>
            <a:headEnd/>
            <a:tailEnd/>
          </a:ln>
        </p:spPr>
      </p:cxnSp>
      <p:cxnSp>
        <p:nvCxnSpPr>
          <p:cNvPr id="150" name="Straight Connector 134"/>
          <p:cNvCxnSpPr>
            <a:cxnSpLocks noChangeShapeType="1"/>
          </p:cNvCxnSpPr>
          <p:nvPr>
            <p:custDataLst>
              <p:tags r:id="rId5"/>
            </p:custDataLst>
          </p:nvPr>
        </p:nvCxnSpPr>
        <p:spPr bwMode="auto">
          <a:xfrm>
            <a:off x="4600575" y="4146550"/>
            <a:ext cx="922338" cy="0"/>
          </a:xfrm>
          <a:prstGeom prst="line">
            <a:avLst/>
          </a:prstGeom>
          <a:noFill/>
          <a:ln w="3175" algn="ctr">
            <a:solidFill>
              <a:schemeClr val="tx1"/>
            </a:solidFill>
            <a:prstDash val="lgDash"/>
            <a:round/>
            <a:headEnd/>
            <a:tailEnd/>
          </a:ln>
        </p:spPr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31B4B71-D9CE-C61A-DDF6-87EB933EE1ED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40738524"/>
              </p:ext>
            </p:extLst>
          </p:nvPr>
        </p:nvGraphicFramePr>
        <p:xfrm>
          <a:off x="374650" y="2144713"/>
          <a:ext cx="10999788" cy="2825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177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787525" y="4262438"/>
            <a:ext cx="3175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53A0F294-2228-4BFB-B468-5D494201E582}" type="datetime'''1'''''''''''''',''''''1''2''''''''''7'''''">
              <a:rPr lang="en-US" altLang="en-US" sz="900" smtClean="0">
                <a:solidFill>
                  <a:srgbClr val="2B3A42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1,127</a:t>
            </a:fld>
            <a:endParaRPr kumimoji="0" lang="el-GR" sz="900" b="0" i="0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+mn-lt"/>
              <a:cs typeface="+mn-cs"/>
              <a:sym typeface="+mn-lt"/>
            </a:endParaRPr>
          </a:p>
        </p:txBody>
      </p:sp>
      <p:sp>
        <p:nvSpPr>
          <p:cNvPr id="162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0083800" y="2946400"/>
            <a:ext cx="336550" cy="27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70C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680CAFDD-F3C2-436B-A3BF-03BA6347A69B}" type="datetime'''''''''3,''''''''''''''4''''''''''''''''''''''''''82'''''">
              <a:rPr lang="el-GR" altLang="en-US" sz="900" smtClean="0">
                <a:solidFill>
                  <a:srgbClr val="FFFFFF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3,482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86FF7A95-7FBA-4CE5-BD38-1BA3DD7747DC}" type="datetime'''''86''''''''''''''''''''''%'''''''''''''''''''''''''''">
              <a:rPr lang="el-GR" altLang="en-US" sz="900" smtClean="0">
                <a:solidFill>
                  <a:srgbClr val="FFFFFF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86%</a:t>
            </a:fld>
            <a:r>
              <a:rPr kumimoji="0" lang="el-G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6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720013" y="3622675"/>
            <a:ext cx="336550" cy="273050"/>
          </a:xfrm>
          <a:prstGeom prst="rect">
            <a:avLst/>
          </a:prstGeom>
          <a:solidFill>
            <a:srgbClr val="0070C0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102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A3E0"/>
              </a:buClr>
              <a:buSzPct val="80000"/>
              <a:buFont typeface="Arial"/>
              <a:buNone/>
              <a:tabLst/>
              <a:defRPr/>
            </a:pPr>
            <a:fld id="{5E33496F-20A2-41B7-A0E1-17E92E2B0B13}" type="datetime'''''''''''''''6''''''''''''''''''''0''''7'''">
              <a:rPr lang="el-GR" altLang="en-US" sz="90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pPr/>
              <a:t>607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(</a:t>
            </a:r>
            <a:fld id="{A7B159AE-469D-4A3B-ABD3-B8B85C352F73}" type="datetime'''''''8''''''''''''''''''''''''''''''1%'''''''''''''">
              <a:rPr lang="el-GR" altLang="en-US" sz="90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pPr/>
              <a:t>81%</a:t>
            </a:fld>
            <a:r>
              <a:rPr kumimoji="0" lang="el-G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59" name="Rectangle 139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22325" y="1993900"/>
            <a:ext cx="176213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M</a:t>
            </a:r>
            <a:r>
              <a:rPr kumimoji="0" lang="el-GR" sz="10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€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1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0093325" y="2184400"/>
            <a:ext cx="3175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C0F62690-136E-459F-9E1B-53D0BC68D40A}" type="datetime'''''4'',''0''''''4''''''''''''''''''1'''''''''''''''''''">
              <a:rPr lang="en-US" altLang="en-US" sz="900" smtClean="0">
                <a:solidFill>
                  <a:srgbClr val="2B3A42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4,041</a:t>
            </a:fld>
            <a:endParaRPr kumimoji="0" lang="el-GR" sz="900" b="0" i="0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+mn-lt"/>
              <a:cs typeface="+mn-cs"/>
              <a:sym typeface="+mn-lt"/>
            </a:endParaRPr>
          </a:p>
        </p:txBody>
      </p:sp>
      <p:sp>
        <p:nvSpPr>
          <p:cNvPr id="179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098675" y="4398963"/>
            <a:ext cx="273050" cy="273050"/>
          </a:xfrm>
          <a:prstGeom prst="rect">
            <a:avLst/>
          </a:prstGeom>
          <a:solidFill>
            <a:srgbClr val="CAE3FF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52BAFB0C-4351-488A-AF3E-6766180D3874}" type="datetime'''''8''''''''''''''''''''''4'''''''''''''''''''">
              <a:rPr lang="el-GR" altLang="en-US" sz="900" smtClean="0">
                <a:solidFill>
                  <a:srgbClr val="2B3A42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84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7C07A643-CF99-465E-ACCF-17D25DDCCD63}" type="datetime'''''''''''''''''''7''''''''%'''''">
              <a:rPr lang="el-GR" altLang="en-US" sz="900" smtClean="0">
                <a:solidFill>
                  <a:srgbClr val="2B3A42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7%</a:t>
            </a:fld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8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490663" y="4573588"/>
            <a:ext cx="336550" cy="27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70C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9269CA48-1A00-459E-88CC-8813FED180B6}" type="datetime'''1'''',''''''0''''''''''''''''''''''43'''''''''''''">
              <a:rPr lang="el-GR" altLang="en-US" sz="90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pPr/>
              <a:t>1,043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(</a:t>
            </a:r>
            <a:fld id="{9C353D94-7040-41DD-A8F4-A4CFD79A82CF}" type="datetime'''''''9''''''3''''''''''''%'''''''''''">
              <a:rPr lang="el-GR" altLang="en-US" sz="90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pPr/>
              <a:t>93%</a:t>
            </a:fld>
            <a:r>
              <a:rPr kumimoji="0" lang="el-G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72" name="Rectangle 136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740150" y="4914900"/>
            <a:ext cx="565150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D7749F-E4CF-4E12-B022-E3D4FE3B8396}" type="datetime'''Of''''''''''f'' ''''p''''''at''''''e''''n''t'''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Off patent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75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143375" y="4040188"/>
            <a:ext cx="336550" cy="273050"/>
          </a:xfrm>
          <a:prstGeom prst="rect">
            <a:avLst/>
          </a:prstGeom>
          <a:solidFill>
            <a:srgbClr val="CAE3FF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33B94FA7-3F0B-4CDC-AE8C-90DFDFFF9926}" type="datetime'''''''''''''''''1''''''9''5'''''''''''''''">
              <a:rPr lang="el-GR" altLang="en-US" sz="900" smtClean="0">
                <a:solidFill>
                  <a:srgbClr val="2B3A42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195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A51033DD-41F6-4BB3-9901-C6CD0EDE6A11}" type="datetime'''''''''''''''''''1''''''''''6''''''''''''''''''''''''''%'">
              <a:rPr lang="el-GR" altLang="en-US" sz="900" smtClean="0">
                <a:solidFill>
                  <a:srgbClr val="2B3A42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16%</a:t>
            </a:fld>
            <a:r>
              <a:rPr kumimoji="0" lang="el-GR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6" name="Rectangle 136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663700" y="4914900"/>
            <a:ext cx="565150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7A93A0-CA24-4E01-B8CD-0E0C3E45650B}" type="datetime'''''''''''On'''''' ''p''''''''a''t''''''e''''n''t'''''''''''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On patent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74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567113" y="4227513"/>
            <a:ext cx="336550" cy="27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70C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9B91B63E-3817-4187-9425-6C93AF647613}" type="datetime'''''''''''''''''1'''',''''''0''''2''3'''''''''''''''''''">
              <a:rPr lang="el-GR" altLang="en-US" sz="90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pPr/>
              <a:t>1,023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575AA27B-EE2C-4D51-9915-DA258B314EB5}" type="datetime'''''''''''''''''8''''''''''''''''''''''4''%'">
              <a:rPr lang="el-GR" altLang="en-US" sz="90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pPr/>
              <a:t>84%</a:t>
            </a:fld>
            <a:r>
              <a:rPr kumimoji="0" lang="el-G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3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863975" y="3903663"/>
            <a:ext cx="3175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7C5791EC-782B-4C3A-8463-614D344F0C6C}" type="datetime'1'''''''''''''',''''''''''''''''''''21''''''''''''''''8'''">
              <a:rPr lang="en-US" altLang="en-US" sz="900" smtClean="0">
                <a:solidFill>
                  <a:srgbClr val="2B3A42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1,218</a:t>
            </a:fld>
            <a:endParaRPr kumimoji="0" lang="el-GR" sz="900" b="0" i="0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+mn-lt"/>
              <a:cs typeface="+mn-cs"/>
              <a:sym typeface="+mn-lt"/>
            </a:endParaRPr>
          </a:p>
        </p:txBody>
      </p:sp>
      <p:sp>
        <p:nvSpPr>
          <p:cNvPr id="17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219825" y="3738563"/>
            <a:ext cx="336550" cy="273050"/>
          </a:xfrm>
          <a:prstGeom prst="rect">
            <a:avLst/>
          </a:prstGeom>
          <a:solidFill>
            <a:srgbClr val="CAE3FF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7BFF9F78-318B-41AD-9BE0-3ABBB6E60912}" type="datetime'''''''''''''''''''''''1''''''''''''''4''''1'''''''''''''''''''">
              <a:rPr lang="el-GR" altLang="en-US" sz="900" smtClean="0">
                <a:solidFill>
                  <a:srgbClr val="2B3A42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141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61ABC0ED-3D38-4467-8850-B38440FF1BD8}" type="datetime'''''''''''''''1''5''''''''%'''''''''">
              <a:rPr lang="el-GR" altLang="en-US" sz="900" smtClean="0">
                <a:solidFill>
                  <a:srgbClr val="2B3A42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15%</a:t>
            </a:fld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0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643563" y="3884613"/>
            <a:ext cx="336550" cy="273050"/>
          </a:xfrm>
          <a:prstGeom prst="rect">
            <a:avLst/>
          </a:prstGeom>
          <a:solidFill>
            <a:srgbClr val="0070C0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102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A3E0"/>
              </a:buClr>
              <a:buSzPct val="80000"/>
              <a:buFont typeface="Arial"/>
              <a:buNone/>
              <a:tabLst/>
              <a:defRPr/>
            </a:pPr>
            <a:fld id="{46DEFBF1-4DC6-4C54-B1CE-BFD18A3306B6}" type="datetime'''''''''''''''''''8''''''''''''''0''''''''8'''''''''''''''''''">
              <a:rPr lang="el-GR" altLang="en-US" sz="90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pPr/>
              <a:t>808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(</a:t>
            </a:r>
            <a:fld id="{D3D94D2F-73B9-4C18-B275-F533495A5AFF}" type="datetime'''''''''''''''8''''''''5''''''''''%'''''''''''''''''''''''''">
              <a:rPr lang="el-GR" altLang="en-US" sz="90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pPr/>
              <a:t>85%</a:t>
            </a:fld>
            <a:r>
              <a:rPr kumimoji="0" lang="el-G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68" name="Rectangle 147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5872163" y="4914900"/>
            <a:ext cx="455613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E92503-11FC-4907-AFAE-0200975B4CC5}" type="datetime'''''''''''''G''''''''''''''en''''''eri''''c'''''''''''''''''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Generic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67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296275" y="3506788"/>
            <a:ext cx="336550" cy="273050"/>
          </a:xfrm>
          <a:prstGeom prst="rect">
            <a:avLst/>
          </a:prstGeom>
          <a:solidFill>
            <a:srgbClr val="CAE3FF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8E495C62-747E-49E1-9E1E-3ABFB14A4E62}" type="datetime'''''''''''''''''''''''''''''1''''''''''''4''''''''''''0'">
              <a:rPr lang="el-GR" altLang="en-US" sz="900" smtClean="0">
                <a:solidFill>
                  <a:srgbClr val="2B3A42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140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7A50E56D-6742-446D-AFAA-F308D7E66898}" type="datetime'''''''''''''''1''''''''9''%'''''''">
              <a:rPr lang="el-GR" altLang="en-US" sz="900" smtClean="0">
                <a:solidFill>
                  <a:srgbClr val="2B3A42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19%</a:t>
            </a:fld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4" name="Rectangle 168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8012113" y="4914900"/>
            <a:ext cx="328613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45B09C-2BD0-429E-8286-949C3080A407}" type="datetime'''O''''''''''''''t''h''''''e''''''''''''''''''''''r'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Other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163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0083800" y="2320925"/>
            <a:ext cx="336550" cy="273050"/>
          </a:xfrm>
          <a:prstGeom prst="rect">
            <a:avLst/>
          </a:prstGeom>
          <a:solidFill>
            <a:srgbClr val="CAE3FF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3DFB254F-543B-471A-9B1A-6EA79E341622}" type="datetime'''''5''''''''''''''''''5''''''''''''''''9'''''''''''''''''''''">
              <a:rPr lang="el-GR" altLang="en-US" sz="900" smtClean="0">
                <a:solidFill>
                  <a:srgbClr val="2B3A42"/>
                </a:solidFill>
                <a:effectLst/>
                <a:latin typeface="+mn-lt"/>
                <a:cs typeface="+mn-cs"/>
              </a:rPr>
              <a:pPr/>
              <a:t>559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095FAC39-9D2D-4146-919B-43CDAA63AFE7}" type="datetime'''''1''''''''''''''''''''''''''''''''''4''''''''''%'''''">
              <a:rPr lang="el-GR" altLang="en-US" sz="900" smtClean="0">
                <a:solidFill>
                  <a:srgbClr val="2B3A42"/>
                </a:solidFill>
                <a:effectLst/>
                <a:latin typeface="+mn-lt"/>
                <a:cs typeface="+mn-cs"/>
              </a:rPr>
              <a:pPr/>
              <a:t>14%</a:t>
            </a:fld>
            <a:r>
              <a:rPr kumimoji="0" lang="el-GR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0" name="Rectangle 137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10106025" y="4914900"/>
            <a:ext cx="293688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826AFA-EFF5-4B31-96DB-CA8A3EC436BB}" type="datetime'''''''''''''''''''''T''''''o''ta''''l'''''''''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Total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169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988050" y="3602038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04607AF7-5985-4602-A621-BBA3234C0AA3}" type="datetime'''''''''''''''''''''''''''''''''''9''''''4''''''''''''9'''''">
              <a:rPr lang="en-US" altLang="en-US" sz="900" smtClean="0">
                <a:solidFill>
                  <a:srgbClr val="2B3A42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949</a:t>
            </a:fld>
            <a:endParaRPr kumimoji="0" lang="el-GR" sz="900" b="0" i="0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+mn-lt"/>
              <a:cs typeface="+mn-cs"/>
              <a:sym typeface="+mn-lt"/>
            </a:endParaRPr>
          </a:p>
        </p:txBody>
      </p:sp>
      <p:sp>
        <p:nvSpPr>
          <p:cNvPr id="165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8064500" y="3370263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EE8A81D5-C27E-447D-B0C0-6A302B019589}" type="datetime'''''''7''''''''''''''''''''''''4''''''''''8'''''''''''''''''">
              <a:rPr lang="en-US" altLang="en-US" sz="900" smtClean="0">
                <a:solidFill>
                  <a:srgbClr val="2B3A42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748</a:t>
            </a:fld>
            <a:endParaRPr kumimoji="0" lang="el-GR" sz="900" b="0" i="0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+mn-lt"/>
              <a:cs typeface="+mn-cs"/>
              <a:sym typeface="+mn-lt"/>
            </a:endParaRPr>
          </a:p>
        </p:txBody>
      </p:sp>
      <p:sp>
        <p:nvSpPr>
          <p:cNvPr id="6" name="Rectangle 5" hidden="1"/>
          <p:cNvSpPr/>
          <p:nvPr>
            <p:custDataLst>
              <p:tags r:id="rId2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4007C1-D739-4EE8-AA67-4EADBBFE009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REIMBURSABLE MARKE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C2F8F7-85C5-496F-8D0F-A4F6F6E7E5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Note: Excluding all L.3816 products; Classification by On patent, Off patent, Generics and Others is based on </a:t>
            </a:r>
            <a:r>
              <a:rPr lang="en-US" dirty="0" err="1"/>
              <a:t>Sfee</a:t>
            </a:r>
            <a:r>
              <a:rPr lang="en-US" dirty="0"/>
              <a:t>/IQVIA flag; Other includes mainly vaccines</a:t>
            </a:r>
            <a:r>
              <a:rPr lang="el-GR" dirty="0"/>
              <a:t>, </a:t>
            </a:r>
            <a:r>
              <a:rPr lang="en-US" dirty="0"/>
              <a:t>supplements</a:t>
            </a:r>
            <a:r>
              <a:rPr lang="el-GR" dirty="0"/>
              <a:t> </a:t>
            </a:r>
            <a:r>
              <a:rPr lang="en-US" dirty="0"/>
              <a:t>and diabetes tes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stimated Value (PSP) of Reimbursed Units –  By patent status – MAT/03/23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estimated value (PSP) of the Reimbursed units is 8</a:t>
            </a:r>
            <a:r>
              <a:rPr lang="el-GR" dirty="0"/>
              <a:t>6</a:t>
            </a:r>
            <a:r>
              <a:rPr lang="en-US" dirty="0"/>
              <a:t>% of the total Reimbursable market value</a:t>
            </a:r>
          </a:p>
        </p:txBody>
      </p:sp>
      <p:sp>
        <p:nvSpPr>
          <p:cNvPr id="180" name="Rectangle 179"/>
          <p:cNvSpPr/>
          <p:nvPr>
            <p:custDataLst>
              <p:tags r:id="rId29"/>
            </p:custDataLst>
          </p:nvPr>
        </p:nvSpPr>
        <p:spPr bwMode="auto">
          <a:xfrm>
            <a:off x="960438" y="5422900"/>
            <a:ext cx="179388" cy="133350"/>
          </a:xfrm>
          <a:prstGeom prst="rect">
            <a:avLst/>
          </a:prstGeom>
          <a:solidFill>
            <a:srgbClr val="CAE3FF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1" name="Rectangle 180"/>
          <p:cNvSpPr/>
          <p:nvPr>
            <p:custDataLst>
              <p:tags r:id="rId30"/>
            </p:custDataLst>
          </p:nvPr>
        </p:nvSpPr>
        <p:spPr bwMode="auto">
          <a:xfrm>
            <a:off x="960438" y="5626100"/>
            <a:ext cx="179388" cy="1333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2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190625" y="5418138"/>
            <a:ext cx="29146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102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A3E0"/>
              </a:buClr>
              <a:buSzPct val="80000"/>
              <a:buFont typeface="Arial"/>
              <a:buNone/>
              <a:tabLst/>
              <a:defRPr/>
            </a:pPr>
            <a:fld id="{D3E04EE3-012B-4499-B42E-61F02223DCE7}" type="datetime'Estimat''ed v''''alue (PSP) of the'' Non-Reimbursed'' un''its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41029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A3E0"/>
                </a:buClr>
                <a:buSzPct val="80000"/>
                <a:buFont typeface="Arial"/>
                <a:buNone/>
                <a:tabLst/>
                <a:defRPr/>
              </a:pPr>
              <a:t>Estimated value (PSP) of the Non-Reimbursed units</a:t>
            </a:fld>
            <a:endParaRPr kumimoji="0" lang="el-GR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3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190625" y="5621338"/>
            <a:ext cx="26400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102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A3E0"/>
              </a:buClr>
              <a:buSzPct val="80000"/>
              <a:buFont typeface="Arial"/>
              <a:buNone/>
              <a:tabLst/>
              <a:defRPr/>
            </a:pPr>
            <a:fld id="{7B12BD67-847D-44C6-93FF-4958CDD03B27}" type="datetime'Esti''mated value (PSP'') ''of the Reimburs''ed'' un''its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41029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A3E0"/>
                </a:buClr>
                <a:buSzPct val="80000"/>
                <a:buFont typeface="Arial"/>
                <a:buNone/>
                <a:tabLst/>
                <a:defRPr/>
              </a:pPr>
              <a:t>Estimated value (PSP) of the Reimbursed units</a:t>
            </a:fld>
            <a:endParaRPr kumimoji="0" lang="el-GR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22B2D039-5D21-212C-F726-A8ABFE559F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6250" y="6397625"/>
            <a:ext cx="7561263" cy="111125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7CC6D01-55BD-D2DE-91A6-44C59141AC64}"/>
              </a:ext>
            </a:extLst>
          </p:cNvPr>
          <p:cNvSpPr/>
          <p:nvPr/>
        </p:nvSpPr>
        <p:spPr>
          <a:xfrm>
            <a:off x="430588" y="1964134"/>
            <a:ext cx="646113" cy="29805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</p:spTree>
    <p:extLst>
      <p:ext uri="{BB962C8B-B14F-4D97-AF65-F5344CB8AC3E}">
        <p14:creationId xmlns:p14="http://schemas.microsoft.com/office/powerpoint/2010/main" val="17877573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248764A-8947-426D-9B8F-679FB0D21B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56346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592" imgH="591" progId="TCLayout.ActiveDocument.1">
                  <p:embed/>
                </p:oleObj>
              </mc:Choice>
              <mc:Fallback>
                <p:oleObj name="think-cell Slide" r:id="rId34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248764A-8947-426D-9B8F-679FB0D21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4007C1-D739-4EE8-AA67-4EADBBFE009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REIMBURSABLE MARKE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C2F8F7-85C5-496F-8D0F-A4F6F6E7E5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Note: Excluding all L.3816 products; Classification by On patent, Off patent, Generics and Others is based on </a:t>
            </a:r>
            <a:r>
              <a:rPr lang="en-US" dirty="0" err="1"/>
              <a:t>Sfee</a:t>
            </a:r>
            <a:r>
              <a:rPr lang="en-US" dirty="0"/>
              <a:t>/IQVIA flag; Other includes mainly vaccines</a:t>
            </a:r>
            <a:r>
              <a:rPr lang="el-GR" dirty="0"/>
              <a:t>, </a:t>
            </a:r>
            <a:r>
              <a:rPr lang="en-US" dirty="0"/>
              <a:t>supplements</a:t>
            </a:r>
            <a:r>
              <a:rPr lang="el-GR" dirty="0"/>
              <a:t> </a:t>
            </a:r>
            <a:r>
              <a:rPr lang="en-US" dirty="0"/>
              <a:t>and diabetes tes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stimated Reimbursed Units –  By patent status – MAT/03/23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n terms of units, ~78% of the total Reimbursable units are estimated to be Reimbursed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8B7EA71-DBAD-C3B5-4A89-E277F46EE72A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524124" y="4781550"/>
            <a:ext cx="9223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134"/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>
            <a:off x="4600575" y="4311650"/>
            <a:ext cx="922338" cy="0"/>
          </a:xfrm>
          <a:prstGeom prst="line">
            <a:avLst/>
          </a:prstGeom>
          <a:noFill/>
          <a:ln w="3175" algn="ctr">
            <a:solidFill>
              <a:schemeClr val="tx1"/>
            </a:solidFill>
            <a:prstDash val="lgDash"/>
            <a:round/>
            <a:headEnd/>
            <a:tailEnd/>
          </a:ln>
        </p:spPr>
      </p:cxnSp>
      <p:cxnSp>
        <p:nvCxnSpPr>
          <p:cNvPr id="49" name="Straight Connector 146"/>
          <p:cNvCxnSpPr>
            <a:cxnSpLocks noChangeShapeType="1"/>
          </p:cNvCxnSpPr>
          <p:nvPr>
            <p:custDataLst>
              <p:tags r:id="rId5"/>
            </p:custDataLst>
          </p:nvPr>
        </p:nvCxnSpPr>
        <p:spPr bwMode="auto">
          <a:xfrm>
            <a:off x="6677025" y="3852863"/>
            <a:ext cx="922338" cy="0"/>
          </a:xfrm>
          <a:prstGeom prst="line">
            <a:avLst/>
          </a:prstGeom>
          <a:noFill/>
          <a:ln w="3175" algn="ctr">
            <a:solidFill>
              <a:schemeClr val="tx1"/>
            </a:solidFill>
            <a:prstDash val="lgDash"/>
            <a:round/>
            <a:headEnd/>
            <a:tailEnd/>
          </a:ln>
        </p:spPr>
      </p:cxnSp>
      <p:cxnSp>
        <p:nvCxnSpPr>
          <p:cNvPr id="48" name="Straight Connector 167"/>
          <p:cNvCxnSpPr>
            <a:cxnSpLocks noChangeShapeType="1"/>
          </p:cNvCxnSpPr>
          <p:nvPr>
            <p:custDataLst>
              <p:tags r:id="rId6"/>
            </p:custDataLst>
          </p:nvPr>
        </p:nvCxnSpPr>
        <p:spPr bwMode="auto">
          <a:xfrm>
            <a:off x="8753475" y="3573463"/>
            <a:ext cx="922338" cy="0"/>
          </a:xfrm>
          <a:prstGeom prst="line">
            <a:avLst/>
          </a:prstGeom>
          <a:noFill/>
          <a:ln w="3175" algn="ctr">
            <a:solidFill>
              <a:schemeClr val="tx1"/>
            </a:solidFill>
            <a:prstDash val="lgDash"/>
            <a:round/>
            <a:headEnd/>
            <a:tailEnd/>
          </a:ln>
        </p:spPr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315A6D5F-6B1C-456C-A587-D3463BAAFA71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54881468"/>
              </p:ext>
            </p:extLst>
          </p:nvPr>
        </p:nvGraphicFramePr>
        <p:xfrm>
          <a:off x="479425" y="2141538"/>
          <a:ext cx="10895013" cy="2825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58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567113" y="4457700"/>
            <a:ext cx="336550" cy="27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70C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86FA31AE-6D21-45AD-B88B-CD991016E76F}" type="datetime'''''''''''''''''''''''1''''''''''00'''''">
              <a:rPr lang="el-GR" altLang="en-US" sz="90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pPr/>
              <a:t>100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1CCF818E-A8A6-4650-8E63-5D31096CA4EB}" type="datetime'8''''0''''''''''''''''''%'''''''''">
              <a:rPr lang="el-GR" altLang="en-US" sz="90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pPr/>
              <a:t>80%</a:t>
            </a:fld>
            <a:r>
              <a:rPr kumimoji="0" lang="el-G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490663" y="4692650"/>
            <a:ext cx="336550" cy="273050"/>
          </a:xfrm>
          <a:prstGeom prst="rect">
            <a:avLst/>
          </a:prstGeom>
          <a:solidFill>
            <a:srgbClr val="0070C0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102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A3E0"/>
              </a:buClr>
              <a:buSzPct val="80000"/>
              <a:buFont typeface="Arial"/>
              <a:buNone/>
              <a:tabLst/>
              <a:defRPr/>
            </a:pPr>
            <a:fld id="{C28E87B1-8DF1-4EFD-8872-51D774642D19}" type="datetime'''''''''''''''''''''''''''''''''''''''''''''2''''1'''''''''''">
              <a:rPr kumimoji="0" lang="el-G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pPr marL="0" marR="0" lvl="0" indent="0" algn="ctr" defTabSz="41029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A3E0"/>
                </a:buClr>
                <a:buSzPct val="80000"/>
                <a:buFont typeface="Arial"/>
                <a:buNone/>
                <a:tabLst/>
                <a:defRPr/>
              </a:pPr>
              <a:t>21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(</a:t>
            </a:r>
            <a:fld id="{C6F2A814-2504-4ECF-821E-697DEA714443}" type="datetime'''''''9''''''''''''''''''2''%'''">
              <a:rPr lang="el-GR" altLang="en-US" sz="90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pPr/>
              <a:t>92%</a:t>
            </a:fld>
            <a:r>
              <a:rPr kumimoji="0" lang="el-G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57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098675" y="4648200"/>
            <a:ext cx="273050" cy="273050"/>
          </a:xfrm>
          <a:prstGeom prst="rect">
            <a:avLst/>
          </a:prstGeom>
          <a:solidFill>
            <a:srgbClr val="CAE3FF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E0593FBB-6B73-4757-97D2-B3E4BC59E507}" type="datetime'''2'''''''''''''''''''">
              <a:rPr kumimoji="0" lang="el-GR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2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7DF2F508-AAB7-4087-B481-571453B188CB}" type="datetime'''''''''''''''8''''''''''%'''''''''''''''''''''''''''''">
              <a:rPr lang="el-GR" altLang="en-US" sz="900" smtClean="0">
                <a:solidFill>
                  <a:srgbClr val="2B3A42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8%</a:t>
            </a:fld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Rectangle 139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95325" y="1931988"/>
            <a:ext cx="430213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M Units</a:t>
            </a:r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219825" y="3773488"/>
            <a:ext cx="336550" cy="273050"/>
          </a:xfrm>
          <a:prstGeom prst="rect">
            <a:avLst/>
          </a:prstGeom>
          <a:solidFill>
            <a:srgbClr val="CAE3FF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102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A3E0"/>
              </a:buClr>
              <a:buSzPct val="80000"/>
              <a:buFont typeface="Arial"/>
              <a:buNone/>
              <a:tabLst/>
              <a:defRPr/>
            </a:pPr>
            <a:fld id="{65E58102-C149-4F9E-82F0-4377FE455EE0}" type="datetime'''''''''3''''0'''''''''''''''''''''''''''''''''''''''''''''">
              <a:rPr lang="el-GR" altLang="en-US" sz="900" smtClean="0">
                <a:solidFill>
                  <a:srgbClr val="2B3A42"/>
                </a:solidFill>
                <a:effectLst/>
                <a:latin typeface="+mn-lt"/>
                <a:cs typeface="+mn-cs"/>
              </a:rPr>
              <a:pPr/>
              <a:t>30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F6EAC9D2-445F-4C6B-BAF2-71DD21E59251}" type="datetime'2''''''''''''''''5''''''''''''''''%'''''''''''''''''''">
              <a:rPr lang="el-GR" altLang="en-US" sz="900" smtClean="0">
                <a:solidFill>
                  <a:srgbClr val="2B3A42"/>
                </a:solidFill>
                <a:effectLst/>
                <a:latin typeface="+mn-lt"/>
                <a:cs typeface="+mn-cs"/>
              </a:rPr>
              <a:pPr/>
              <a:t>25%</a:t>
            </a:fld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Rectangle 136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663700" y="5008563"/>
            <a:ext cx="565150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2F7993-52D4-49A6-BA17-0A30A08A09B0}" type="datetime'''''On'''' ''''''''''''''p''''a''t''''''en''''t'''''''''''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On patent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71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143375" y="4222750"/>
            <a:ext cx="336550" cy="273050"/>
          </a:xfrm>
          <a:prstGeom prst="rect">
            <a:avLst/>
          </a:prstGeom>
          <a:solidFill>
            <a:srgbClr val="CAE3FF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102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A3E0"/>
              </a:buClr>
              <a:buSzPct val="80000"/>
              <a:buFont typeface="Arial"/>
              <a:buNone/>
              <a:tabLst/>
              <a:defRPr/>
            </a:pPr>
            <a:fld id="{72F0DED4-12BA-40BD-A8DC-1B35FF59A2D0}" type="datetime'2''''5'''''''''">
              <a:rPr lang="el-GR" altLang="en-US" sz="900" smtClean="0">
                <a:solidFill>
                  <a:srgbClr val="2B3A42"/>
                </a:solidFill>
                <a:effectLst/>
                <a:latin typeface="+mn-lt"/>
                <a:cs typeface="+mn-cs"/>
              </a:rPr>
              <a:pPr/>
              <a:t>25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71070F98-6F53-4EDE-819B-44B3822E23A1}" type="datetime'''''''''''''''''''''''''20''%'''''''''">
              <a:rPr lang="el-GR" altLang="en-US" sz="900" smtClean="0">
                <a:solidFill>
                  <a:srgbClr val="2B3A42"/>
                </a:solidFill>
                <a:effectLst/>
                <a:latin typeface="+mn-lt"/>
                <a:cs typeface="+mn-cs"/>
              </a:rPr>
              <a:pPr/>
              <a:t>20%</a:t>
            </a:fld>
            <a:r>
              <a:rPr kumimoji="0" lang="el-GR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Rectangle 136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740150" y="5008563"/>
            <a:ext cx="565150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1A844A-38FB-42F0-B43E-6E768CE63C06}" type="datetime'''''''''''O''''f''''''''''''f ''p''''at''en''''t'''''''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Off patent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59" name="Rectangle 137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0106025" y="5008563"/>
            <a:ext cx="293688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C5A33A-6A96-4316-A752-62FF64C2F3C1}" type="datetime'''''''T''''''''''''''o''''''''''''ta''l'''''''''''''''''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Total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643563" y="4002088"/>
            <a:ext cx="336550" cy="27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70C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67D7F641-CAD3-4544-9671-B8AE2B20C0E8}" type="datetime'''''''''9''''''''''''''''2'''''">
              <a:rPr lang="el-GR" altLang="en-US" sz="90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pPr/>
              <a:t>92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(</a:t>
            </a:r>
            <a:fld id="{7E4385D8-EE3A-42A4-AED8-6A0527DCE684}" type="datetime'''''''''''''''''''''''''''''''''''''''''7''''''''''''''''''5%'">
              <a:rPr lang="el-GR" altLang="en-US" sz="90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pPr/>
              <a:t>75%</a:t>
            </a:fld>
            <a:r>
              <a:rPr kumimoji="0" lang="el-G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67" name="Rectangle 147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5872163" y="5008563"/>
            <a:ext cx="455613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F77332-1CDE-4A89-AB2A-2C61F80FEC3F}" type="datetime'''G''''''e''n''''''''''''''''''''''''''e''r''i''''''''''''''c'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Generic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66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296275" y="3473450"/>
            <a:ext cx="336550" cy="273050"/>
          </a:xfrm>
          <a:prstGeom prst="rect">
            <a:avLst/>
          </a:prstGeom>
          <a:solidFill>
            <a:srgbClr val="CAE3FF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5D75D620-E2AA-4657-9BFA-DB22292EF10A}" type="datetime'''''''''''''''''2''''''''''''''''''''''''0'''''''''''''''''">
              <a:rPr lang="el-GR" altLang="en-US" sz="900" smtClean="0">
                <a:solidFill>
                  <a:srgbClr val="2B3A42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20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32BF0AD9-B3F6-4323-BA29-D3935765F904}" type="datetime'2''''''''''''7''''''''''''''''%'''''''''''''''''">
              <a:rPr lang="el-GR" altLang="en-US" sz="900" smtClean="0">
                <a:solidFill>
                  <a:srgbClr val="2B3A42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27%</a:t>
            </a:fld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720013" y="3613150"/>
            <a:ext cx="336550" cy="273050"/>
          </a:xfrm>
          <a:prstGeom prst="rect">
            <a:avLst/>
          </a:prstGeom>
          <a:solidFill>
            <a:srgbClr val="0070C0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102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A3E0"/>
              </a:buClr>
              <a:buSzPct val="80000"/>
              <a:buFont typeface="Arial"/>
              <a:buNone/>
              <a:tabLst/>
              <a:defRPr/>
            </a:pPr>
            <a:fld id="{A9EB2DB6-FADB-4B0C-B9BC-07B627C517D5}" type="datetime'''''''''5''5'''''''''''''''''''">
              <a:rPr lang="el-GR" altLang="en-US" sz="90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pPr/>
              <a:t>55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(</a:t>
            </a:r>
            <a:fld id="{5F294FAA-D1BF-49BB-83CB-90F31070FFB3}" type="datetime'''''''''7''''''''''''''''3''''''''''''''%'''''''''''''">
              <a:rPr lang="el-GR" altLang="en-US" sz="900" smtClean="0">
                <a:solidFill>
                  <a:srgbClr val="FFFFFF"/>
                </a:solidFill>
                <a:effectLst/>
                <a:latin typeface="+mn-lt"/>
                <a:cs typeface="+mn-cs"/>
              </a:rPr>
              <a:pPr/>
              <a:t>73%</a:t>
            </a:fld>
            <a:r>
              <a:rPr kumimoji="0" lang="el-G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56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911600" y="4086225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E0F7DC6F-FEC1-4ACF-B7F2-4CEDD815A823}" type="datetime'''''12''''5'''''''''''''">
              <a:rPr lang="en-US" altLang="en-US" sz="900" smtClean="0">
                <a:solidFill>
                  <a:srgbClr val="2B3A42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125</a:t>
            </a:fld>
            <a:endParaRPr kumimoji="0" lang="el-GR" sz="900" b="0" i="0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+mn-lt"/>
              <a:cs typeface="+mn-cs"/>
              <a:sym typeface="+mn-lt"/>
            </a:endParaRPr>
          </a:p>
        </p:txBody>
      </p:sp>
      <p:sp>
        <p:nvSpPr>
          <p:cNvPr id="63" name="Rectangle 168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8012113" y="5008563"/>
            <a:ext cx="328613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289A60-A644-4A98-9293-E191E99DCEDE}" type="datetime'''''''''''''''''''''''''''O''''t''''''''''''''''h''''''e''''r'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Other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62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0083800" y="2284413"/>
            <a:ext cx="336550" cy="27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AE3FF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1B078701-3E44-4C82-8215-F44F08BF1AD1}" type="datetime'''''''7''''7'''''''''''''">
              <a:rPr lang="el-GR" altLang="en-US" sz="900" smtClean="0">
                <a:solidFill>
                  <a:srgbClr val="2B3A42"/>
                </a:solidFill>
                <a:effectLst/>
                <a:latin typeface="+mn-lt"/>
                <a:cs typeface="+mn-cs"/>
              </a:rPr>
              <a:pPr/>
              <a:t>77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E086405E-BBEF-4AD3-92CD-D59B0734D461}" type="datetime'''''''''2''''''''''''''''''''''''''2''''%'''''''''''''">
              <a:rPr lang="el-GR" altLang="en-US" sz="900" smtClean="0">
                <a:solidFill>
                  <a:srgbClr val="2B3A42"/>
                </a:solidFill>
                <a:effectLst/>
                <a:latin typeface="+mn-lt"/>
                <a:cs typeface="+mn-cs"/>
              </a:rPr>
              <a:pPr/>
              <a:t>22%</a:t>
            </a:fld>
            <a:r>
              <a:rPr kumimoji="0" lang="el-GR" sz="9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0083800" y="2933700"/>
            <a:ext cx="336550" cy="27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AB4C44C2-4335-4B64-B606-09555B816B45}" type="datetime'''2''''''''''''''''''''''6''''8'''''''''''''''''''''''''''''''">
              <a:rPr lang="el-GR" altLang="en-US" sz="900" smtClean="0">
                <a:solidFill>
                  <a:srgbClr val="FFFFFF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268</a:t>
            </a:fld>
            <a:b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l-GR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619D791A-EF34-448E-973D-C85EFE85B624}" type="datetime'''''''''''''''''7''8''''''''''''''''''''''''''''''''%'''''">
              <a:rPr lang="el-GR" altLang="en-US" sz="900" smtClean="0">
                <a:solidFill>
                  <a:srgbClr val="FFFFFF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78%</a:t>
            </a:fld>
            <a:r>
              <a:rPr kumimoji="0" lang="el-GR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866900" y="4511675"/>
            <a:ext cx="1587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75CCD1AC-AFE4-4760-9DB7-00FA74C7DA64}" type="datetime'''''2''3'''''''''''''''''''''''''''''''''''''''">
              <a:rPr lang="en-US" altLang="en-US" sz="900" smtClean="0">
                <a:solidFill>
                  <a:srgbClr val="2B3A42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23</a:t>
            </a:fld>
            <a:endParaRPr kumimoji="0" lang="el-GR" sz="900" b="0" i="0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+mn-lt"/>
              <a:cs typeface="+mn-cs"/>
              <a:sym typeface="+mn-lt"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988050" y="3636963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6A81EC78-0DB1-48B0-9CF0-54C03244A51D}" type="datetime'''''''''''''''''''''''1''2''2'''''''''">
              <a:rPr lang="en-US" altLang="en-US" sz="900" smtClean="0">
                <a:solidFill>
                  <a:srgbClr val="2B3A42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122</a:t>
            </a:fld>
            <a:endParaRPr kumimoji="0" lang="el-GR" sz="900" b="0" i="0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+mn-lt"/>
              <a:cs typeface="+mn-cs"/>
              <a:sym typeface="+mn-lt"/>
            </a:endParaRPr>
          </a:p>
        </p:txBody>
      </p:sp>
      <p:sp>
        <p:nvSpPr>
          <p:cNvPr id="6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8096250" y="3336925"/>
            <a:ext cx="1587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B9922B16-5A1D-45EC-BD0F-78FF6742E8F9}" type="datetime'''''''''''''''7''''''4'''''''''''''''''''''''''''''''''''">
              <a:rPr lang="en-US" altLang="en-US" sz="900" smtClean="0">
                <a:solidFill>
                  <a:srgbClr val="2B3A42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74</a:t>
            </a:fld>
            <a:endParaRPr kumimoji="0" lang="el-GR" sz="900" b="0" i="0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+mn-lt"/>
              <a:cs typeface="+mn-cs"/>
              <a:sym typeface="+mn-lt"/>
            </a:endParaRPr>
          </a:p>
        </p:txBody>
      </p:sp>
      <p:sp>
        <p:nvSpPr>
          <p:cNvPr id="60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0140950" y="2114550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buClr>
                <a:srgbClr val="00A3E0"/>
              </a:buClr>
              <a:buNone/>
            </a:pPr>
            <a:fld id="{901FB6BF-4B4F-4C02-9177-05C830BAE47A}" type="datetime'''''''''''''''''''''''3''''''''''''''''''4''''5'''''''''''''">
              <a:rPr lang="en-US" altLang="en-US" sz="900" smtClean="0">
                <a:solidFill>
                  <a:srgbClr val="2B3A42"/>
                </a:solidFill>
                <a:latin typeface="+mn-lt"/>
                <a:cs typeface="+mn-cs"/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buClr>
                  <a:srgbClr val="00A3E0"/>
                </a:buClr>
                <a:buNone/>
              </a:pPr>
              <a:t>345</a:t>
            </a:fld>
            <a:endParaRPr kumimoji="0" lang="el-GR" sz="900" b="0" i="0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+mn-lt"/>
              <a:cs typeface="+mn-cs"/>
              <a:sym typeface="+mn-lt"/>
            </a:endParaRPr>
          </a:p>
        </p:txBody>
      </p:sp>
      <p:sp>
        <p:nvSpPr>
          <p:cNvPr id="73" name="Rectangle 72"/>
          <p:cNvSpPr/>
          <p:nvPr>
            <p:custDataLst>
              <p:tags r:id="rId29"/>
            </p:custDataLst>
          </p:nvPr>
        </p:nvSpPr>
        <p:spPr bwMode="auto">
          <a:xfrm>
            <a:off x="960438" y="5426075"/>
            <a:ext cx="179388" cy="133350"/>
          </a:xfrm>
          <a:prstGeom prst="rect">
            <a:avLst/>
          </a:prstGeom>
          <a:solidFill>
            <a:srgbClr val="CAE3FF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Rectangle 73"/>
          <p:cNvSpPr/>
          <p:nvPr>
            <p:custDataLst>
              <p:tags r:id="rId30"/>
            </p:custDataLst>
          </p:nvPr>
        </p:nvSpPr>
        <p:spPr bwMode="auto">
          <a:xfrm>
            <a:off x="960438" y="5629275"/>
            <a:ext cx="179388" cy="1333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190625" y="5421313"/>
            <a:ext cx="21224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102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A3E0"/>
              </a:buClr>
              <a:buSzPct val="80000"/>
              <a:buFont typeface="Arial"/>
              <a:buNone/>
              <a:tabLst/>
              <a:defRPr/>
            </a:pPr>
            <a:fld id="{347BA6CE-2E54-47E6-A52E-895B076E808A}" type="datetime'E''s''''ti''ma''ted ''N''on-Rei''mburs''e''d u''nit ''sale''s'">
              <a:rPr kumimoji="0" lang="el-G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41029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A3E0"/>
                </a:buClr>
                <a:buSzPct val="80000"/>
                <a:buFont typeface="Arial"/>
                <a:buNone/>
                <a:tabLst/>
                <a:defRPr/>
              </a:pPr>
              <a:t>Estimated Non-Reimbursed unit sales</a:t>
            </a:fld>
            <a:endParaRPr kumimoji="0" lang="el-GR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190625" y="5624513"/>
            <a:ext cx="1847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1029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A3E0"/>
              </a:buClr>
              <a:buSzPct val="80000"/>
              <a:buFont typeface="Arial"/>
              <a:buNone/>
              <a:tabLst/>
              <a:defRPr/>
            </a:pPr>
            <a:fld id="{0991F5CD-E14B-4EBE-BF98-4602F30FA617}" type="datetime'''Estim''ated'' R''eimbur''''''''''sed u''n''it sal''es'''">
              <a:rPr kumimoji="0" lang="el-G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410291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A3E0"/>
                </a:buClr>
                <a:buSzPct val="80000"/>
                <a:buFont typeface="Arial"/>
                <a:buNone/>
                <a:tabLst/>
                <a:defRPr/>
              </a:pPr>
              <a:t>Estimated Reimbursed unit sales</a:t>
            </a:fld>
            <a:endParaRPr kumimoji="0" lang="el-GR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354D2359-1D71-220D-45C4-05963303BF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6250" y="6397625"/>
            <a:ext cx="7561263" cy="111125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DFCB32D-0080-4F70-438A-A36AB41309C6}"/>
              </a:ext>
            </a:extLst>
          </p:cNvPr>
          <p:cNvSpPr/>
          <p:nvPr/>
        </p:nvSpPr>
        <p:spPr>
          <a:xfrm>
            <a:off x="430588" y="1964134"/>
            <a:ext cx="646113" cy="29805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</p:spTree>
    <p:extLst>
      <p:ext uri="{BB962C8B-B14F-4D97-AF65-F5344CB8AC3E}">
        <p14:creationId xmlns:p14="http://schemas.microsoft.com/office/powerpoint/2010/main" val="29327569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248764A-8947-426D-9B8F-679FB0D21B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1146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592" imgH="591" progId="TCLayout.ActiveDocument.1">
                  <p:embed/>
                </p:oleObj>
              </mc:Choice>
              <mc:Fallback>
                <p:oleObj name="think-cell Slide" r:id="rId45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248764A-8947-426D-9B8F-679FB0D21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900" dirty="0" err="1">
              <a:cs typeface="Arial" panose="020B0604020202020204" pitchFamily="34" charset="0"/>
              <a:sym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4007C1-D739-4EE8-AA67-4EADBBFE009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Total marke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C2F8F7-85C5-496F-8D0F-A4F6F6E7E5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7012" y="6007481"/>
            <a:ext cx="11246241" cy="221599"/>
          </a:xfrm>
        </p:spPr>
        <p:txBody>
          <a:bodyPr/>
          <a:lstStyle/>
          <a:p>
            <a:r>
              <a:rPr lang="en-US" dirty="0"/>
              <a:t>1. Based on PSPs; 2.%PPG and %CAGR calculations are based on MAT/03/23</a:t>
            </a:r>
          </a:p>
          <a:p>
            <a:r>
              <a:rPr lang="en-US" dirty="0"/>
              <a:t>Note: Excluding all L.3816 products; Total market figures (2015-2017) have been adjusted subject to IQVIA market restatement in 2018; Classification by On patent, Off patent, Generics and Others is based on </a:t>
            </a:r>
            <a:r>
              <a:rPr lang="en-US" dirty="0" err="1"/>
              <a:t>Sfee</a:t>
            </a:r>
            <a:r>
              <a:rPr lang="en-US" dirty="0"/>
              <a:t>/IQVIA flag; Other includes mainly vaccines</a:t>
            </a:r>
            <a:r>
              <a:rPr lang="el-GR" dirty="0"/>
              <a:t>, </a:t>
            </a:r>
            <a:r>
              <a:rPr lang="en-US" dirty="0"/>
              <a:t>supplements</a:t>
            </a:r>
            <a:r>
              <a:rPr lang="el-GR" dirty="0"/>
              <a:t> </a:t>
            </a:r>
            <a:r>
              <a:rPr lang="en-US" dirty="0"/>
              <a:t>and diabetes tes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arket size in values</a:t>
            </a:r>
            <a:r>
              <a:rPr lang="en-US" baseline="30000" dirty="0"/>
              <a:t>1</a:t>
            </a:r>
            <a:r>
              <a:rPr lang="en-US" dirty="0"/>
              <a:t> (PSP) – By product type – Annual – 2014-2022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77011" y="237000"/>
            <a:ext cx="11664000" cy="773799"/>
          </a:xfrm>
        </p:spPr>
        <p:txBody>
          <a:bodyPr vert="horz"/>
          <a:lstStyle/>
          <a:p>
            <a:r>
              <a:rPr lang="en-US" dirty="0"/>
              <a:t>The Greek pharma market in MAT/03/23 is reaching €4.55B at retail prices; MAT/03/23 values increased by 5.9% vs. MAT/03/</a:t>
            </a:r>
            <a:r>
              <a:rPr lang="el-GR" dirty="0"/>
              <a:t>2</a:t>
            </a:r>
            <a:r>
              <a:rPr lang="en-US" dirty="0"/>
              <a:t>2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ADF41087-FAC2-DAFD-023C-62D65339A57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3056599"/>
              </p:ext>
            </p:extLst>
          </p:nvPr>
        </p:nvGraphicFramePr>
        <p:xfrm>
          <a:off x="442913" y="2043113"/>
          <a:ext cx="8029575" cy="3287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E785680A-3EE8-4819-8D43-52BB2DEBB673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gray">
          <a:xfrm flipV="1">
            <a:off x="2628900" y="1966913"/>
            <a:ext cx="4065588" cy="449263"/>
          </a:xfrm>
          <a:prstGeom prst="line">
            <a:avLst/>
          </a:prstGeom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63CD913F-9411-497E-A63A-4C999F80706F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gray">
          <a:xfrm flipV="1">
            <a:off x="3984625" y="2133600"/>
            <a:ext cx="2709863" cy="417513"/>
          </a:xfrm>
          <a:prstGeom prst="line">
            <a:avLst/>
          </a:prstGeom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EA5A10B8-1CEA-497B-AE0E-E5901611560A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8050213" y="2073275"/>
            <a:ext cx="0" cy="152400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381B6A78-4B67-45BE-8806-967343BC7274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V="1">
            <a:off x="7372350" y="2073276"/>
            <a:ext cx="0" cy="309563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EC33978E-20D7-4585-8E03-054DCEF95C36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7372350" y="2073275"/>
            <a:ext cx="677863" cy="0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5" name="Rectangle 94">
            <a:extLst>
              <a:ext uri="{FF2B5EF4-FFF2-40B4-BE49-F238E27FC236}">
                <a16:creationId xmlns:a16="http://schemas.microsoft.com/office/drawing/2014/main" id="{B1420D28-B78B-4AFC-9EC3-A20FC795995E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5857875" y="2468563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8AEF937-113E-46B9-BBE0-43023A38F833}" type="datetime'''''''''4,''''''''''''''''''''''''''''''''2''''''''''21'''''">
              <a:rPr lang="en-US" altLang="en-US" sz="900" smtClean="0">
                <a:solidFill>
                  <a:schemeClr val="tx1"/>
                </a:solidFill>
              </a:rPr>
              <a:pPr/>
              <a:t>4,221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2FA9992A-0AEA-42D4-BCE7-84D0FD4273E7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4502150" y="2630488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D8B6CC5-8EF4-401D-BADE-AEB4F5E2E90F}" type="datetime'''''''''''''''''3'''',96''''''1'''''''''''''''''''''''''''''">
              <a:rPr lang="en-US" altLang="en-US" sz="900" smtClean="0">
                <a:solidFill>
                  <a:schemeClr val="tx1"/>
                </a:solidFill>
              </a:rPr>
              <a:pPr/>
              <a:t>3,961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91" name="Text Placeholder 37">
            <a:extLst>
              <a:ext uri="{FF2B5EF4-FFF2-40B4-BE49-F238E27FC236}">
                <a16:creationId xmlns:a16="http://schemas.microsoft.com/office/drawing/2014/main" id="{EAA64BE7-135C-4A49-92EB-B027F654EB8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527550" y="5278438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C67F83F-518A-4050-83C5-FE8AE8EFDC3B}" type="datetime'''''2''''''0''1''''''''''''''''''''''''''''''''''''''''''9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2019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55" name="Text Placeholder 37">
            <a:extLst>
              <a:ext uri="{FF2B5EF4-FFF2-40B4-BE49-F238E27FC236}">
                <a16:creationId xmlns:a16="http://schemas.microsoft.com/office/drawing/2014/main" id="{9FEB5FB2-0FCE-408F-A4FB-720A9A80C54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39825" y="5278438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D1FD5AD-8EC8-4F44-8D95-6A1177BD61F8}" type="datetime'20''''''''''''''1''''''''4''''''''''''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2014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FB043D43-8F95-4478-2C87-580E398F1AB9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7891463" y="2263775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E44DBCB-769C-4A05-8987-5453064FB160}" type="datetime'4'''',''''''''''''''''''''''''''''''''''''5''''5''0'''''''''''">
              <a:rPr lang="en-US" altLang="en-US" sz="900" smtClean="0">
                <a:solidFill>
                  <a:schemeClr val="tx1"/>
                </a:solidFill>
              </a:rPr>
              <a:pPr/>
              <a:t>4,550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40D627B3-242A-450C-8DBE-94E4773777BD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6535738" y="2324100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13FC2BC-8BA5-4E3A-AEED-8A8043F49683}" type="datetime'''''''''4,''''''''4''''''''''''5''''''4'">
              <a:rPr lang="en-US" altLang="en-US" sz="900" smtClean="0">
                <a:solidFill>
                  <a:schemeClr val="tx1"/>
                </a:solidFill>
              </a:rPr>
              <a:pPr/>
              <a:t>4,454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7" name="Text Placeholder 37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495550" y="5278438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49B6AFB-245F-4006-8E4A-76D500855A62}" type="datetime'''''''''''2''''''''''''''''''''01''''6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2016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08" name="Text Placeholder 37">
            <a:extLst>
              <a:ext uri="{FF2B5EF4-FFF2-40B4-BE49-F238E27FC236}">
                <a16:creationId xmlns:a16="http://schemas.microsoft.com/office/drawing/2014/main" id="{B40B12C0-9025-4987-A465-E0667B8E892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173413" y="5278438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44B2E40-B588-42B1-BE2C-F78FCD377A5C}" type="datetime'''''''''2''''0''''''''''''''''''''1''''7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2017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8466AE5-3587-4BCD-9BD2-EEF3E24985DB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3148013" y="2800350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3CDDF89-5A3D-4B5C-A6A3-75DEF5C6147E}" type="datetime'''''''''''''3'''''''''''',''''''''''''''''''6''8''7'''''">
              <a:rPr lang="en-US" altLang="en-US" sz="900" smtClean="0">
                <a:solidFill>
                  <a:schemeClr val="tx1"/>
                </a:solidFill>
              </a:rPr>
              <a:pPr/>
              <a:t>3,687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11" name="Text Placeholder 37">
            <a:extLst>
              <a:ext uri="{FF2B5EF4-FFF2-40B4-BE49-F238E27FC236}">
                <a16:creationId xmlns:a16="http://schemas.microsoft.com/office/drawing/2014/main" id="{88CC5563-83C4-404A-B168-B4C5EEC90B0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851275" y="5278438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020D461-56F5-4724-B7EC-A02B8FD1941D}" type="datetime'''''''''''''''2''''''''0''1''''''''''''8''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2018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56344C4D-6059-2D42-4243-8373C14C046D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7213600" y="2420938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48FE082-CCCE-4478-8AFD-A140089B4E93}" type="datetime'''''4'''''''',''''''''29''7'''">
              <a:rPr lang="en-US" altLang="en-US" sz="900" smtClean="0">
                <a:solidFill>
                  <a:schemeClr val="tx1"/>
                </a:solidFill>
              </a:rPr>
              <a:pPr/>
              <a:t>4,297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88" name="Text Placeholder 37">
            <a:extLst>
              <a:ext uri="{FF2B5EF4-FFF2-40B4-BE49-F238E27FC236}">
                <a16:creationId xmlns:a16="http://schemas.microsoft.com/office/drawing/2014/main" id="{D1C0DA79-3A62-43A1-9DAA-C70D4B6752F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205413" y="5278438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DD53894-28F3-49E1-8EF5-BACBB59DCD3F}" type="datetime'''2''''''''''0''''''''2''''''''''''''''0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2020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79" name="Text Placeholder 37">
            <a:extLst>
              <a:ext uri="{FF2B5EF4-FFF2-40B4-BE49-F238E27FC236}">
                <a16:creationId xmlns:a16="http://schemas.microsoft.com/office/drawing/2014/main" id="{02526EEB-359E-420E-B605-BDB17C0CB33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883275" y="5278438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7819FEB-7382-43DA-8CF5-BC2F6561477A}" type="datetime'''''2''''''''''''''''''''0''''''''''''''''2''1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2021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154A6558-08AF-4D27-8D7B-3347194E4C3F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3825875" y="2741613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F163300-6153-4355-AC6B-64A06BEF780A}" type="datetime'''''''''''3'',''''78''''2'">
              <a:rPr lang="en-US" altLang="en-US" sz="900" smtClean="0">
                <a:solidFill>
                  <a:schemeClr val="tx1"/>
                </a:solidFill>
              </a:rPr>
              <a:pPr/>
              <a:t>3,782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82" name="Text Placeholder 37">
            <a:extLst>
              <a:ext uri="{FF2B5EF4-FFF2-40B4-BE49-F238E27FC236}">
                <a16:creationId xmlns:a16="http://schemas.microsoft.com/office/drawing/2014/main" id="{03B1275B-7AA7-46D4-B8CA-DFD8A41E570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561138" y="5278438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59E6E3F-C47E-4D35-A679-DBCFC56E452F}" type="datetime'''2''''''''''''''''0''2''''''''''''2''''''''''''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2022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70" name="Text Placeholder 37">
            <a:extLst>
              <a:ext uri="{FF2B5EF4-FFF2-40B4-BE49-F238E27FC236}">
                <a16:creationId xmlns:a16="http://schemas.microsoft.com/office/drawing/2014/main" id="{5C42C134-A136-D81B-8767-4E4CF8A7CD3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223125" y="5278437"/>
            <a:ext cx="298450" cy="27305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997DA77-68C5-435F-9D78-FAC48FB1B856}" type="datetime'''MAT''&#10;''''0''''''''''''''''''''''''''3''''''''''/''''2''''2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MAT
03/22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74" name="Text Placeholder 37">
            <a:extLst>
              <a:ext uri="{FF2B5EF4-FFF2-40B4-BE49-F238E27FC236}">
                <a16:creationId xmlns:a16="http://schemas.microsoft.com/office/drawing/2014/main" id="{693F93B4-B121-0B6F-7CA4-576D1FD6929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900988" y="5278437"/>
            <a:ext cx="298450" cy="27305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2106C6F-6D72-4452-9DE0-2BDAAA5718C0}" type="datetime'''''M''A''''T''''''&#10;''03''''''''/''''''''''''2''3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MAT
03/23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56" name="Text Placeholder 37">
            <a:extLst>
              <a:ext uri="{FF2B5EF4-FFF2-40B4-BE49-F238E27FC236}">
                <a16:creationId xmlns:a16="http://schemas.microsoft.com/office/drawing/2014/main" id="{9962671F-F907-4DB0-9962-98A28F6F2E2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817688" y="5278438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0A17CF2-E704-4AA3-B68A-D57D4EEF357F}" type="datetime'''''''''''2''''0''1''''''''''''5''''''''''''''''''''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2015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92" name="Rectangle 79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8486775" y="5172075"/>
            <a:ext cx="29845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r>
              <a:rPr lang="en-US" sz="900" dirty="0">
                <a:latin typeface="Arial"/>
                <a:cs typeface="Arial"/>
                <a:sym typeface="Arial"/>
              </a:rPr>
              <a:t>Years</a:t>
            </a:r>
          </a:p>
        </p:txBody>
      </p:sp>
      <p:sp>
        <p:nvSpPr>
          <p:cNvPr id="93" name="Rectangle 19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839788" y="1900238"/>
            <a:ext cx="1905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anchor="b"/>
          <a:lstStyle/>
          <a:p>
            <a:pPr algn="ctr"/>
            <a:r>
              <a:rPr lang="en-US" sz="900">
                <a:latin typeface="Arial"/>
                <a:cs typeface="Arial"/>
                <a:sym typeface="Arial"/>
              </a:rPr>
              <a:t>M</a:t>
            </a:r>
            <a:r>
              <a:rPr lang="el-GR" sz="900">
                <a:latin typeface="Arial"/>
                <a:cs typeface="Arial"/>
                <a:sym typeface="Arial"/>
              </a:rPr>
              <a:t> </a:t>
            </a:r>
            <a:r>
              <a:rPr lang="en-US" sz="900">
                <a:latin typeface="Arial"/>
                <a:cs typeface="Arial"/>
                <a:sym typeface="Arial"/>
              </a:rPr>
              <a:t>€</a:t>
            </a:r>
            <a:endParaRPr lang="en-US" sz="900" dirty="0">
              <a:latin typeface="Arial"/>
              <a:cs typeface="Arial"/>
              <a:sym typeface="Arial"/>
            </a:endParaRPr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ADA98FF5-49E8-4CB8-9553-C8081AA1A82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114425" y="2833688"/>
            <a:ext cx="3175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CFF72FA-F703-48B6-BE68-D339BC21C992}" type="datetime'''''''3'''''''',''''6''''''''''1''''''''''3'''''">
              <a:rPr lang="en-US" altLang="en-US" sz="900" smtClean="0">
                <a:solidFill>
                  <a:schemeClr val="tx1"/>
                </a:solidFill>
                <a:latin typeface="+mn-lt"/>
                <a:cs typeface="+mn-cs"/>
              </a:rPr>
              <a:pPr/>
              <a:t>3,613</a:t>
            </a:fld>
            <a:endParaRPr lang="el-GR" sz="900" dirty="0">
              <a:solidFill>
                <a:schemeClr val="tx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61B93120-52AC-4EFA-A799-33C7F937800C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792288" y="2801938"/>
            <a:ext cx="3175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6468026D-E30F-4C61-8688-398E3B82C4A9}" type="datetime'''''''''''3'''''''''',''''''6''''''''''''''64'''''">
              <a:rPr lang="en-US" altLang="en-US" sz="900" smtClean="0">
                <a:solidFill>
                  <a:schemeClr val="tx1"/>
                </a:solidFill>
                <a:latin typeface="+mn-lt"/>
                <a:cs typeface="+mn-cs"/>
              </a:rPr>
              <a:pPr/>
              <a:t>3,664</a:t>
            </a:fld>
            <a:endParaRPr lang="el-GR" sz="900" dirty="0">
              <a:solidFill>
                <a:schemeClr val="tx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01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470150" y="2760663"/>
            <a:ext cx="3175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206C789-AFFD-48F0-9390-BABF56184A97}" type="datetime'''''''''3'''',''''''''''''''''7''''31'''''''''''''''''''''''''">
              <a:rPr lang="en-US" altLang="en-US" sz="900" smtClean="0">
                <a:solidFill>
                  <a:schemeClr val="tx1"/>
                </a:solidFill>
                <a:latin typeface="+mn-lt"/>
                <a:cs typeface="+mn-cs"/>
              </a:rPr>
              <a:pPr/>
              <a:t>3,731</a:t>
            </a:fld>
            <a:endParaRPr lang="el-GR" sz="900" dirty="0">
              <a:solidFill>
                <a:schemeClr val="tx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DCA1B175-985D-4F3A-BEEA-2355ED11FEC9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5180013" y="2540000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04A2810-078F-4973-BA6A-2BA8DDA7BD01}" type="datetime'''''''''''''''''''''''4'',10''''''''''6'''''''''''''''''''''">
              <a:rPr lang="en-US" altLang="en-US" sz="900" smtClean="0">
                <a:solidFill>
                  <a:schemeClr val="tx1"/>
                </a:solidFill>
              </a:rPr>
              <a:pPr/>
              <a:t>4,106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5BA07CF7-49E7-441B-92E0-309D738075CB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4429125" y="2093913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2F34B35-121D-478F-8149-C0981CD48D5F}" type="datetime'+''3.''''''''''''''''''''''0%''''''''''''''''''''''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3.0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1021E153-176B-4C1E-AA88-B8C413EB3DC5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5106988" y="2244725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0DB84AE-514C-447B-B419-9211C0033A3D}" type="datetime'''''''''+''''''''4''''''''.''''''''''''''2''''''''''''%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4.2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2" name="Oval 201">
            <a:extLst>
              <a:ext uri="{FF2B5EF4-FFF2-40B4-BE49-F238E27FC236}">
                <a16:creationId xmlns:a16="http://schemas.microsoft.com/office/drawing/2014/main" id="{825F03F4-424F-4372-A668-8F10338EFB03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7478713" y="1976438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9F43134-3E73-424E-B969-D7EB00668EC2}" type="datetime'+''''''''''''''''''''5''.''''''9''''%''''''''''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5.9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5" name="Oval 106"/>
          <p:cNvSpPr>
            <a:spLocks noChangeArrowheads="1"/>
          </p:cNvSpPr>
          <p:nvPr/>
        </p:nvSpPr>
        <p:spPr bwMode="auto">
          <a:xfrm>
            <a:off x="1052983" y="5651151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latin typeface="+mn-lt"/>
              </a:rPr>
              <a:t>22.2%</a:t>
            </a:r>
            <a:endParaRPr lang="en-US" sz="1000" dirty="0">
              <a:latin typeface="+mn-lt"/>
            </a:endParaRPr>
          </a:p>
        </p:txBody>
      </p:sp>
      <p:sp>
        <p:nvSpPr>
          <p:cNvPr id="187" name="Oval 106"/>
          <p:cNvSpPr>
            <a:spLocks noChangeArrowheads="1"/>
          </p:cNvSpPr>
          <p:nvPr/>
        </p:nvSpPr>
        <p:spPr bwMode="auto">
          <a:xfrm>
            <a:off x="1729727" y="5651151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latin typeface="+mn-lt"/>
              </a:rPr>
              <a:t>23.1%</a:t>
            </a:r>
            <a:endParaRPr lang="en-US" sz="1000" dirty="0">
              <a:latin typeface="+mn-lt"/>
            </a:endParaRPr>
          </a:p>
        </p:txBody>
      </p:sp>
      <p:sp>
        <p:nvSpPr>
          <p:cNvPr id="190" name="Text Box 123"/>
          <p:cNvSpPr txBox="1">
            <a:spLocks noChangeArrowheads="1"/>
          </p:cNvSpPr>
          <p:nvPr/>
        </p:nvSpPr>
        <p:spPr bwMode="auto">
          <a:xfrm>
            <a:off x="381000" y="5651151"/>
            <a:ext cx="579324" cy="2354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900" i="1" dirty="0">
                <a:latin typeface="+mj-lt"/>
              </a:rPr>
              <a:t>Generics</a:t>
            </a:r>
          </a:p>
          <a:p>
            <a:pPr algn="ctr">
              <a:lnSpc>
                <a:spcPct val="85000"/>
              </a:lnSpc>
            </a:pPr>
            <a:r>
              <a:rPr lang="en-US" sz="900" i="1" dirty="0" err="1">
                <a:latin typeface="+mj-lt"/>
              </a:rPr>
              <a:t>m.s</a:t>
            </a:r>
            <a:r>
              <a:rPr lang="en-US" sz="900" i="1" dirty="0">
                <a:latin typeface="+mj-lt"/>
              </a:rPr>
              <a:t> (%)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0654B07-FAFB-476E-99EC-81ED6ED3DD36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9340850" y="1603375"/>
            <a:ext cx="160338" cy="120650"/>
          </a:xfrm>
          <a:prstGeom prst="rect">
            <a:avLst/>
          </a:prstGeom>
          <a:solidFill>
            <a:srgbClr val="CAE3FF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8826B4E-82DA-49A7-AE37-39BA673F8471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9340850" y="2165350"/>
            <a:ext cx="160338" cy="120650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021F1B1-5E72-4874-8226-E461CB15B46A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9340850" y="1790700"/>
            <a:ext cx="160338" cy="120650"/>
          </a:xfrm>
          <a:prstGeom prst="rect">
            <a:avLst/>
          </a:prstGeom>
          <a:solidFill>
            <a:srgbClr val="18AFFF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6BB41A6-10AD-488F-A086-1919FEFF67BF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9340850" y="1978025"/>
            <a:ext cx="160338" cy="1206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F894EC-B118-4C00-B7A2-9F1629DCF83D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9551988" y="1600200"/>
            <a:ext cx="285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75BB3AE-FC99-46BB-920C-707962C099B4}" type="datetime'''''''''''''''''''''''''''''''''O''''''''''th''''''''e''r''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Other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EC773B-D55A-41CB-B01E-83AD15F1B387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9551988" y="1787525"/>
            <a:ext cx="4572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3485C8E-8E61-4BFE-AEAE-CB33D41EAF25}" type="datetime'''''G''ene''''r''''''''''''ic''s''''''''''''''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Generics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BA4EFB9-733B-4386-89DC-44E3FAB9DCBD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9551988" y="2162175"/>
            <a:ext cx="5016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FB30BD8-7523-4FBC-974C-36533F998BA8}" type="datetime'''On'''''''''''''''''' ''''pa''''''''''''t''''en''t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On patent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A8E8F6-8D88-4A36-BFAE-863C0D8207D2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9551988" y="1974850"/>
            <a:ext cx="5016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609DD00-EE1A-4166-A3C1-897B4F5C4984}" type="datetime'''''''''''''''''O''''''''f''f'''''' ''''p''''at''''''ent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Off patent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0" name="Oval 106">
            <a:extLst>
              <a:ext uri="{FF2B5EF4-FFF2-40B4-BE49-F238E27FC236}">
                <a16:creationId xmlns:a16="http://schemas.microsoft.com/office/drawing/2014/main" id="{F24F8DC4-62D7-419C-903E-E7E8A33F22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06471" y="5651151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latin typeface="+mn-lt"/>
              </a:rPr>
              <a:t>23.4%</a:t>
            </a:r>
            <a:endParaRPr lang="en-US" sz="1000" dirty="0">
              <a:latin typeface="+mn-lt"/>
            </a:endParaRPr>
          </a:p>
        </p:txBody>
      </p:sp>
      <p:sp>
        <p:nvSpPr>
          <p:cNvPr id="161" name="Oval 106">
            <a:extLst>
              <a:ext uri="{FF2B5EF4-FFF2-40B4-BE49-F238E27FC236}">
                <a16:creationId xmlns:a16="http://schemas.microsoft.com/office/drawing/2014/main" id="{2DDE92C2-E595-4A1B-ACED-005DDC1124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3215" y="5651151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latin typeface="+mn-lt"/>
              </a:rPr>
              <a:t>22.5%</a:t>
            </a:r>
            <a:endParaRPr lang="en-US" sz="1000" dirty="0">
              <a:latin typeface="+mn-lt"/>
            </a:endParaRPr>
          </a:p>
        </p:txBody>
      </p:sp>
      <p:sp>
        <p:nvSpPr>
          <p:cNvPr id="162" name="Oval 106">
            <a:extLst>
              <a:ext uri="{FF2B5EF4-FFF2-40B4-BE49-F238E27FC236}">
                <a16:creationId xmlns:a16="http://schemas.microsoft.com/office/drawing/2014/main" id="{CF46F2C5-F279-46AF-8B0A-585BC1C984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59959" y="5651151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latin typeface="+mn-lt"/>
              </a:rPr>
              <a:t>22.4%</a:t>
            </a:r>
            <a:endParaRPr lang="en-US" sz="1000" dirty="0">
              <a:latin typeface="+mn-lt"/>
            </a:endParaRPr>
          </a:p>
        </p:txBody>
      </p:sp>
      <p:sp>
        <p:nvSpPr>
          <p:cNvPr id="197" name="Oval 106">
            <a:extLst>
              <a:ext uri="{FF2B5EF4-FFF2-40B4-BE49-F238E27FC236}">
                <a16:creationId xmlns:a16="http://schemas.microsoft.com/office/drawing/2014/main" id="{6CBC5E54-DBC5-49B3-892E-CA358B921C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6703" y="5651151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>
                <a:latin typeface="+mn-lt"/>
              </a:rPr>
              <a:t>2</a:t>
            </a:r>
            <a:r>
              <a:rPr lang="el-GR" sz="1000" dirty="0">
                <a:latin typeface="+mn-lt"/>
              </a:rPr>
              <a:t>3.2</a:t>
            </a:r>
            <a:r>
              <a:rPr lang="en-US" sz="1000" dirty="0">
                <a:latin typeface="+mn-lt"/>
              </a:rPr>
              <a:t>%</a:t>
            </a:r>
          </a:p>
        </p:txBody>
      </p:sp>
      <p:sp>
        <p:nvSpPr>
          <p:cNvPr id="198" name="Oval 106">
            <a:extLst>
              <a:ext uri="{FF2B5EF4-FFF2-40B4-BE49-F238E27FC236}">
                <a16:creationId xmlns:a16="http://schemas.microsoft.com/office/drawing/2014/main" id="{07248DE9-FE01-4A90-9AC5-2A04A91A33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3447" y="5651151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>
                <a:latin typeface="+mn-lt"/>
              </a:rPr>
              <a:t>2</a:t>
            </a:r>
            <a:r>
              <a:rPr lang="en-US" sz="1000" dirty="0"/>
              <a:t>3.</a:t>
            </a:r>
            <a:r>
              <a:rPr lang="el-GR" sz="1000" dirty="0"/>
              <a:t>8</a:t>
            </a:r>
            <a:r>
              <a:rPr lang="en-US" sz="1000" dirty="0">
                <a:latin typeface="+mn-lt"/>
              </a:rPr>
              <a:t>%</a:t>
            </a:r>
          </a:p>
        </p:txBody>
      </p:sp>
      <p:sp>
        <p:nvSpPr>
          <p:cNvPr id="150" name="Oval 106">
            <a:extLst>
              <a:ext uri="{FF2B5EF4-FFF2-40B4-BE49-F238E27FC236}">
                <a16:creationId xmlns:a16="http://schemas.microsoft.com/office/drawing/2014/main" id="{D286C347-AC42-4FB6-9DF2-3ED48E25B6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0191" y="5651151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>
                <a:latin typeface="+mn-lt"/>
              </a:rPr>
              <a:t>25.1%</a:t>
            </a: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33496BB1-B958-45B5-AA99-DAC1D026F752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9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460F44-4DE8-4873-A3FD-100AB57B6BF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2800" b="1" dirty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2B8B9B4-EE0B-4813-B245-B273856D03C1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2800" b="1" dirty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102" name="Oval 106">
            <a:extLst>
              <a:ext uri="{FF2B5EF4-FFF2-40B4-BE49-F238E27FC236}">
                <a16:creationId xmlns:a16="http://schemas.microsoft.com/office/drawing/2014/main" id="{7BC1E3B2-51CC-49C1-972F-75D4E7C571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6935" y="5651151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/>
              <a:t>26.4%</a:t>
            </a:r>
            <a:endParaRPr lang="en-US" sz="1000" dirty="0">
              <a:latin typeface="+mn-lt"/>
            </a:endParaRPr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194F4D68-AAFD-4196-B14C-F6F1D6A31C60}"/>
              </a:ext>
            </a:extLst>
          </p:cNvPr>
          <p:cNvSpPr/>
          <p:nvPr/>
        </p:nvSpPr>
        <p:spPr>
          <a:xfrm>
            <a:off x="9292698" y="2854261"/>
            <a:ext cx="756000" cy="28800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400" dirty="0">
              <a:latin typeface="Arial"/>
            </a:endParaRPr>
          </a:p>
        </p:txBody>
      </p:sp>
      <p:sp>
        <p:nvSpPr>
          <p:cNvPr id="126" name="TextBox 60">
            <a:extLst>
              <a:ext uri="{FF2B5EF4-FFF2-40B4-BE49-F238E27FC236}">
                <a16:creationId xmlns:a16="http://schemas.microsoft.com/office/drawing/2014/main" id="{2A10BCED-FC06-460E-B5D3-1133F1C48C50}"/>
              </a:ext>
            </a:extLst>
          </p:cNvPr>
          <p:cNvSpPr txBox="1">
            <a:spLocks/>
          </p:cNvSpPr>
          <p:nvPr/>
        </p:nvSpPr>
        <p:spPr bwMode="auto">
          <a:xfrm>
            <a:off x="9262402" y="2883520"/>
            <a:ext cx="822325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36000" rIns="0" bIns="36000">
            <a:spAutoFit/>
          </a:bodyPr>
          <a:lstStyle>
            <a:defPPr>
              <a:defRPr lang="en-US"/>
            </a:defPPr>
            <a:lvl1pPr algn="ctr">
              <a:defRPr sz="1100" b="1">
                <a:solidFill>
                  <a:srgbClr val="C00000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7770"/>
                </a:solidFill>
              </a:rPr>
              <a:t>+5.9</a:t>
            </a:r>
            <a:r>
              <a:rPr lang="el-GR" dirty="0">
                <a:solidFill>
                  <a:srgbClr val="007770"/>
                </a:solidFill>
              </a:rPr>
              <a:t>%</a:t>
            </a:r>
          </a:p>
        </p:txBody>
      </p:sp>
      <p:sp>
        <p:nvSpPr>
          <p:cNvPr id="127" name="Rounded Rectangle 169">
            <a:extLst>
              <a:ext uri="{FF2B5EF4-FFF2-40B4-BE49-F238E27FC236}">
                <a16:creationId xmlns:a16="http://schemas.microsoft.com/office/drawing/2014/main" id="{D351DCAA-0EEC-40AF-AE08-7996682C3C5E}"/>
              </a:ext>
            </a:extLst>
          </p:cNvPr>
          <p:cNvSpPr>
            <a:spLocks/>
          </p:cNvSpPr>
          <p:nvPr/>
        </p:nvSpPr>
        <p:spPr bwMode="auto">
          <a:xfrm>
            <a:off x="9294123" y="4719210"/>
            <a:ext cx="2053908" cy="390546"/>
          </a:xfrm>
          <a:prstGeom prst="roundRect">
            <a:avLst/>
          </a:prstGeom>
          <a:solidFill>
            <a:srgbClr val="005587"/>
          </a:solidFill>
          <a:ln w="15875" cap="flat" cmpd="sng" algn="ctr">
            <a:solidFill>
              <a:schemeClr val="accent1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28" name="Rounded Rectangle 170">
            <a:extLst>
              <a:ext uri="{FF2B5EF4-FFF2-40B4-BE49-F238E27FC236}">
                <a16:creationId xmlns:a16="http://schemas.microsoft.com/office/drawing/2014/main" id="{CD147845-62BE-41DE-B3D9-03B780E526F1}"/>
              </a:ext>
            </a:extLst>
          </p:cNvPr>
          <p:cNvSpPr>
            <a:spLocks/>
          </p:cNvSpPr>
          <p:nvPr/>
        </p:nvSpPr>
        <p:spPr bwMode="auto">
          <a:xfrm>
            <a:off x="9294123" y="3400550"/>
            <a:ext cx="2053908" cy="390546"/>
          </a:xfrm>
          <a:prstGeom prst="roundRect">
            <a:avLst/>
          </a:prstGeom>
          <a:solidFill>
            <a:srgbClr val="25B4FF"/>
          </a:solidFill>
          <a:ln w="15875" cap="flat" cmpd="sng" algn="ctr">
            <a:solidFill>
              <a:schemeClr val="accent1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1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sp>
        <p:nvSpPr>
          <p:cNvPr id="129" name="TextBox 51">
            <a:extLst>
              <a:ext uri="{FF2B5EF4-FFF2-40B4-BE49-F238E27FC236}">
                <a16:creationId xmlns:a16="http://schemas.microsoft.com/office/drawing/2014/main" id="{9712AB01-3606-416C-BA7B-DD12F8A179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36277" y="2489820"/>
            <a:ext cx="8223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 b="1" i="1" dirty="0">
                <a:latin typeface="+mn-lt"/>
              </a:rPr>
              <a:t>%PPG</a:t>
            </a:r>
            <a:r>
              <a:rPr lang="en-US" sz="1000" b="1" i="1" baseline="30000" dirty="0">
                <a:latin typeface="+mn-lt"/>
              </a:rPr>
              <a:t>2</a:t>
            </a:r>
            <a:endParaRPr lang="el-GR" sz="1000" b="1" i="1" baseline="30000" dirty="0">
              <a:latin typeface="+mn-lt"/>
            </a:endParaRPr>
          </a:p>
        </p:txBody>
      </p:sp>
      <p:sp>
        <p:nvSpPr>
          <p:cNvPr id="130" name="TextBox 52">
            <a:extLst>
              <a:ext uri="{FF2B5EF4-FFF2-40B4-BE49-F238E27FC236}">
                <a16:creationId xmlns:a16="http://schemas.microsoft.com/office/drawing/2014/main" id="{29E906AF-6EFE-4840-BBF7-7565101185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33551" y="2419970"/>
            <a:ext cx="6985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algn="ctr"/>
            <a:r>
              <a:rPr lang="en-US" sz="1000" b="1" i="1" dirty="0">
                <a:latin typeface="+mn-lt"/>
              </a:rPr>
              <a:t>%CAGR</a:t>
            </a:r>
            <a:r>
              <a:rPr lang="en-US" sz="1000" b="1" i="1" baseline="30000" dirty="0">
                <a:latin typeface="+mn-lt"/>
              </a:rPr>
              <a:t>2</a:t>
            </a:r>
            <a:br>
              <a:rPr lang="en-US" sz="1000" b="1" i="1" dirty="0">
                <a:latin typeface="+mn-lt"/>
              </a:rPr>
            </a:br>
            <a:r>
              <a:rPr lang="en-US" sz="1000" b="1" i="1" dirty="0">
                <a:latin typeface="+mn-lt"/>
              </a:rPr>
              <a:t>(3-year)</a:t>
            </a:r>
            <a:endParaRPr lang="el-GR" sz="1000" b="1" i="1" dirty="0">
              <a:latin typeface="+mn-lt"/>
            </a:endParaRPr>
          </a:p>
        </p:txBody>
      </p:sp>
      <p:sp>
        <p:nvSpPr>
          <p:cNvPr id="131" name="TextBox 60">
            <a:extLst>
              <a:ext uri="{FF2B5EF4-FFF2-40B4-BE49-F238E27FC236}">
                <a16:creationId xmlns:a16="http://schemas.microsoft.com/office/drawing/2014/main" id="{CA2D3C31-EF97-4E8D-BF08-CCD36C378986}"/>
              </a:ext>
            </a:extLst>
          </p:cNvPr>
          <p:cNvSpPr txBox="1">
            <a:spLocks/>
          </p:cNvSpPr>
          <p:nvPr/>
        </p:nvSpPr>
        <p:spPr bwMode="auto">
          <a:xfrm>
            <a:off x="9193415" y="3474833"/>
            <a:ext cx="865187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+10.3</a:t>
            </a:r>
            <a:r>
              <a:rPr lang="el-GR" sz="1100" dirty="0">
                <a:solidFill>
                  <a:schemeClr val="bg1"/>
                </a:solidFill>
              </a:rPr>
              <a:t>%</a:t>
            </a:r>
            <a:endParaRPr lang="el-GR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2" name="TextBox 61">
            <a:extLst>
              <a:ext uri="{FF2B5EF4-FFF2-40B4-BE49-F238E27FC236}">
                <a16:creationId xmlns:a16="http://schemas.microsoft.com/office/drawing/2014/main" id="{B032585B-0CF2-4B27-82EA-DA8B5D57733A}"/>
              </a:ext>
            </a:extLst>
          </p:cNvPr>
          <p:cNvSpPr txBox="1">
            <a:spLocks/>
          </p:cNvSpPr>
          <p:nvPr/>
        </p:nvSpPr>
        <p:spPr bwMode="auto">
          <a:xfrm>
            <a:off x="9236277" y="4793822"/>
            <a:ext cx="822325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36000" rIns="0" bIns="3600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+mn-lt"/>
              </a:rPr>
              <a:t>+7.5%</a:t>
            </a:r>
            <a:endParaRPr lang="el-GR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" name="TextBox 72">
            <a:extLst>
              <a:ext uri="{FF2B5EF4-FFF2-40B4-BE49-F238E27FC236}">
                <a16:creationId xmlns:a16="http://schemas.microsoft.com/office/drawing/2014/main" id="{6E139EBF-8A9F-409B-913F-4124461CD08F}"/>
              </a:ext>
            </a:extLst>
          </p:cNvPr>
          <p:cNvSpPr txBox="1">
            <a:spLocks/>
          </p:cNvSpPr>
          <p:nvPr/>
        </p:nvSpPr>
        <p:spPr bwMode="auto">
          <a:xfrm>
            <a:off x="10033551" y="3474833"/>
            <a:ext cx="698500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36000" rIns="0" bIns="3600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+mn-lt"/>
              </a:rPr>
              <a:t>+</a:t>
            </a:r>
            <a:r>
              <a:rPr lang="en-US" sz="1100" dirty="0">
                <a:solidFill>
                  <a:schemeClr val="bg1"/>
                </a:solidFill>
              </a:rPr>
              <a:t>8.3</a:t>
            </a:r>
            <a:r>
              <a:rPr lang="el-GR" sz="1100" dirty="0">
                <a:solidFill>
                  <a:schemeClr val="bg1"/>
                </a:solidFill>
                <a:latin typeface="+mn-lt"/>
              </a:rPr>
              <a:t>%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4" name="TextBox 73">
            <a:extLst>
              <a:ext uri="{FF2B5EF4-FFF2-40B4-BE49-F238E27FC236}">
                <a16:creationId xmlns:a16="http://schemas.microsoft.com/office/drawing/2014/main" id="{D1D88AD7-2A07-4104-8F70-1E2DD859086D}"/>
              </a:ext>
            </a:extLst>
          </p:cNvPr>
          <p:cNvSpPr txBox="1">
            <a:spLocks/>
          </p:cNvSpPr>
          <p:nvPr/>
        </p:nvSpPr>
        <p:spPr bwMode="auto">
          <a:xfrm>
            <a:off x="10033551" y="4793822"/>
            <a:ext cx="698500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36000" rIns="0" bIns="3600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+3.9%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5" name="TextBox 72">
            <a:extLst>
              <a:ext uri="{FF2B5EF4-FFF2-40B4-BE49-F238E27FC236}">
                <a16:creationId xmlns:a16="http://schemas.microsoft.com/office/drawing/2014/main" id="{A016FAF1-B7C2-4D79-BF16-2A5741DB8855}"/>
              </a:ext>
            </a:extLst>
          </p:cNvPr>
          <p:cNvSpPr txBox="1">
            <a:spLocks/>
          </p:cNvSpPr>
          <p:nvPr/>
        </p:nvSpPr>
        <p:spPr bwMode="auto">
          <a:xfrm>
            <a:off x="10033551" y="2883520"/>
            <a:ext cx="698500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36000" rIns="0" bIns="36000">
            <a:spAutoFit/>
          </a:bodyPr>
          <a:lstStyle/>
          <a:p>
            <a:pPr algn="ctr"/>
            <a:r>
              <a:rPr lang="en-US" sz="1100" b="1" dirty="0">
                <a:solidFill>
                  <a:srgbClr val="007770"/>
                </a:solidFill>
                <a:latin typeface="+mn-lt"/>
              </a:rPr>
              <a:t>+4.0</a:t>
            </a:r>
            <a:r>
              <a:rPr lang="el-GR" sz="1100" b="1" dirty="0">
                <a:solidFill>
                  <a:srgbClr val="007770"/>
                </a:solidFill>
                <a:latin typeface="+mn-lt"/>
              </a:rPr>
              <a:t>%</a:t>
            </a:r>
          </a:p>
        </p:txBody>
      </p:sp>
      <p:sp>
        <p:nvSpPr>
          <p:cNvPr id="136" name="TextBox 52">
            <a:extLst>
              <a:ext uri="{FF2B5EF4-FFF2-40B4-BE49-F238E27FC236}">
                <a16:creationId xmlns:a16="http://schemas.microsoft.com/office/drawing/2014/main" id="{7BB91D1E-8A00-4C16-A8BB-D819D3DD3D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26050" y="2419970"/>
            <a:ext cx="6985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algn="ctr"/>
            <a:r>
              <a:rPr lang="en-US" sz="1000" b="1" i="1" dirty="0">
                <a:latin typeface="+mn-lt"/>
              </a:rPr>
              <a:t>%CAGR</a:t>
            </a:r>
            <a:r>
              <a:rPr lang="en-US" sz="1000" b="1" i="1" baseline="30000" dirty="0">
                <a:latin typeface="+mn-lt"/>
              </a:rPr>
              <a:t>2</a:t>
            </a:r>
            <a:br>
              <a:rPr lang="en-US" sz="1000" b="1" i="1" dirty="0">
                <a:latin typeface="+mn-lt"/>
              </a:rPr>
            </a:br>
            <a:r>
              <a:rPr lang="en-US" sz="1000" b="1" i="1" dirty="0">
                <a:latin typeface="+mn-lt"/>
              </a:rPr>
              <a:t>(6-year)</a:t>
            </a:r>
            <a:endParaRPr lang="el-GR" sz="1000" b="1" i="1" dirty="0">
              <a:latin typeface="+mn-lt"/>
            </a:endParaRPr>
          </a:p>
        </p:txBody>
      </p:sp>
      <p:sp>
        <p:nvSpPr>
          <p:cNvPr id="137" name="TextBox 72">
            <a:extLst>
              <a:ext uri="{FF2B5EF4-FFF2-40B4-BE49-F238E27FC236}">
                <a16:creationId xmlns:a16="http://schemas.microsoft.com/office/drawing/2014/main" id="{191FF52A-A07B-4848-8A02-4DC6366A655E}"/>
              </a:ext>
            </a:extLst>
          </p:cNvPr>
          <p:cNvSpPr txBox="1">
            <a:spLocks/>
          </p:cNvSpPr>
          <p:nvPr/>
        </p:nvSpPr>
        <p:spPr bwMode="auto">
          <a:xfrm>
            <a:off x="10726050" y="3474833"/>
            <a:ext cx="698500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36000" rIns="0" bIns="3600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+mn-lt"/>
              </a:rPr>
              <a:t>+6.0</a:t>
            </a:r>
            <a:r>
              <a:rPr lang="el-GR" sz="1100" dirty="0">
                <a:solidFill>
                  <a:schemeClr val="bg1"/>
                </a:solidFill>
                <a:latin typeface="+mn-lt"/>
              </a:rPr>
              <a:t>%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8" name="TextBox 73">
            <a:extLst>
              <a:ext uri="{FF2B5EF4-FFF2-40B4-BE49-F238E27FC236}">
                <a16:creationId xmlns:a16="http://schemas.microsoft.com/office/drawing/2014/main" id="{AF4EB6A8-E224-4E6B-9E59-D35C6F2AB525}"/>
              </a:ext>
            </a:extLst>
          </p:cNvPr>
          <p:cNvSpPr txBox="1">
            <a:spLocks/>
          </p:cNvSpPr>
          <p:nvPr/>
        </p:nvSpPr>
        <p:spPr bwMode="auto">
          <a:xfrm>
            <a:off x="10726050" y="4793822"/>
            <a:ext cx="698500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36000" rIns="0" bIns="3600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+mn-lt"/>
              </a:rPr>
              <a:t>+0.6%</a:t>
            </a:r>
          </a:p>
        </p:txBody>
      </p:sp>
      <p:sp>
        <p:nvSpPr>
          <p:cNvPr id="139" name="TextBox 72">
            <a:extLst>
              <a:ext uri="{FF2B5EF4-FFF2-40B4-BE49-F238E27FC236}">
                <a16:creationId xmlns:a16="http://schemas.microsoft.com/office/drawing/2014/main" id="{56A3CB23-75C7-4731-90A5-EBC97036B394}"/>
              </a:ext>
            </a:extLst>
          </p:cNvPr>
          <p:cNvSpPr txBox="1">
            <a:spLocks/>
          </p:cNvSpPr>
          <p:nvPr/>
        </p:nvSpPr>
        <p:spPr bwMode="auto">
          <a:xfrm>
            <a:off x="10726050" y="2883520"/>
            <a:ext cx="698500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36000" rIns="0" bIns="36000">
            <a:spAutoFit/>
          </a:bodyPr>
          <a:lstStyle/>
          <a:p>
            <a:pPr algn="ctr"/>
            <a:r>
              <a:rPr lang="en-US" sz="1100" b="1" dirty="0">
                <a:solidFill>
                  <a:srgbClr val="007770"/>
                </a:solidFill>
                <a:latin typeface="+mn-lt"/>
              </a:rPr>
              <a:t>+3</a:t>
            </a:r>
            <a:r>
              <a:rPr lang="el-GR" sz="1100" b="1" dirty="0">
                <a:solidFill>
                  <a:srgbClr val="007770"/>
                </a:solidFill>
              </a:rPr>
              <a:t>.</a:t>
            </a:r>
            <a:r>
              <a:rPr lang="en-US" sz="1100" b="1" dirty="0">
                <a:solidFill>
                  <a:srgbClr val="007770"/>
                </a:solidFill>
              </a:rPr>
              <a:t>6</a:t>
            </a:r>
            <a:r>
              <a:rPr lang="en-US" sz="1100" b="1" dirty="0">
                <a:solidFill>
                  <a:srgbClr val="007770"/>
                </a:solidFill>
                <a:latin typeface="+mn-lt"/>
              </a:rPr>
              <a:t>%</a:t>
            </a:r>
          </a:p>
        </p:txBody>
      </p:sp>
      <p:sp>
        <p:nvSpPr>
          <p:cNvPr id="145" name="Rounded Rectangle 169">
            <a:extLst>
              <a:ext uri="{FF2B5EF4-FFF2-40B4-BE49-F238E27FC236}">
                <a16:creationId xmlns:a16="http://schemas.microsoft.com/office/drawing/2014/main" id="{B832B3B3-B1E8-45A0-A9C8-05C3238314F6}"/>
              </a:ext>
            </a:extLst>
          </p:cNvPr>
          <p:cNvSpPr>
            <a:spLocks/>
          </p:cNvSpPr>
          <p:nvPr/>
        </p:nvSpPr>
        <p:spPr bwMode="auto">
          <a:xfrm>
            <a:off x="9294123" y="4048052"/>
            <a:ext cx="2053908" cy="390546"/>
          </a:xfrm>
          <a:prstGeom prst="roundRect">
            <a:avLst/>
          </a:prstGeom>
          <a:solidFill>
            <a:srgbClr val="0070C0"/>
          </a:solidFill>
          <a:ln w="15875" cap="flat" cmpd="sng" algn="ctr">
            <a:solidFill>
              <a:schemeClr val="accent1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47" name="TextBox 61">
            <a:extLst>
              <a:ext uri="{FF2B5EF4-FFF2-40B4-BE49-F238E27FC236}">
                <a16:creationId xmlns:a16="http://schemas.microsoft.com/office/drawing/2014/main" id="{B831D2B8-F39B-4194-967F-6E0DCA450DB2}"/>
              </a:ext>
            </a:extLst>
          </p:cNvPr>
          <p:cNvSpPr txBox="1">
            <a:spLocks/>
          </p:cNvSpPr>
          <p:nvPr/>
        </p:nvSpPr>
        <p:spPr bwMode="auto">
          <a:xfrm>
            <a:off x="9236277" y="4122664"/>
            <a:ext cx="822325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36000" rIns="0" bIns="3600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+mn-lt"/>
              </a:rPr>
              <a:t>+2</a:t>
            </a:r>
            <a:r>
              <a:rPr lang="en-US" sz="1100" dirty="0">
                <a:solidFill>
                  <a:schemeClr val="bg1"/>
                </a:solidFill>
              </a:rPr>
              <a:t>.4</a:t>
            </a:r>
            <a:r>
              <a:rPr lang="el-GR" sz="1100" dirty="0">
                <a:solidFill>
                  <a:schemeClr val="bg1"/>
                </a:solidFill>
                <a:latin typeface="+mn-lt"/>
              </a:rPr>
              <a:t>%</a:t>
            </a:r>
          </a:p>
        </p:txBody>
      </p:sp>
      <p:sp>
        <p:nvSpPr>
          <p:cNvPr id="148" name="TextBox 73">
            <a:extLst>
              <a:ext uri="{FF2B5EF4-FFF2-40B4-BE49-F238E27FC236}">
                <a16:creationId xmlns:a16="http://schemas.microsoft.com/office/drawing/2014/main" id="{846ED496-2A52-4A49-B23F-FCBA80B7646E}"/>
              </a:ext>
            </a:extLst>
          </p:cNvPr>
          <p:cNvSpPr txBox="1">
            <a:spLocks/>
          </p:cNvSpPr>
          <p:nvPr/>
        </p:nvSpPr>
        <p:spPr bwMode="auto">
          <a:xfrm>
            <a:off x="10033551" y="4122664"/>
            <a:ext cx="698500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36000" rIns="0" bIns="3600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+mn-lt"/>
              </a:rPr>
              <a:t>+2</a:t>
            </a:r>
            <a:r>
              <a:rPr lang="el-GR" sz="1100" dirty="0">
                <a:solidFill>
                  <a:schemeClr val="bg1"/>
                </a:solidFill>
                <a:latin typeface="+mn-lt"/>
              </a:rPr>
              <a:t>.</a:t>
            </a:r>
            <a:r>
              <a:rPr lang="en-US" sz="1100" dirty="0">
                <a:solidFill>
                  <a:schemeClr val="bg1"/>
                </a:solidFill>
              </a:rPr>
              <a:t>1</a:t>
            </a:r>
            <a:r>
              <a:rPr lang="el-GR" sz="1100" dirty="0">
                <a:solidFill>
                  <a:schemeClr val="bg1"/>
                </a:solidFill>
                <a:latin typeface="+mn-lt"/>
              </a:rPr>
              <a:t>%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9" name="TextBox 73">
            <a:extLst>
              <a:ext uri="{FF2B5EF4-FFF2-40B4-BE49-F238E27FC236}">
                <a16:creationId xmlns:a16="http://schemas.microsoft.com/office/drawing/2014/main" id="{9885276F-FE24-417E-9032-CC5BF381598B}"/>
              </a:ext>
            </a:extLst>
          </p:cNvPr>
          <p:cNvSpPr txBox="1">
            <a:spLocks/>
          </p:cNvSpPr>
          <p:nvPr/>
        </p:nvSpPr>
        <p:spPr bwMode="auto">
          <a:xfrm>
            <a:off x="10726050" y="4122664"/>
            <a:ext cx="698500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36000" rIns="0" bIns="3600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+3</a:t>
            </a:r>
            <a:r>
              <a:rPr lang="el-GR" sz="1100" dirty="0">
                <a:solidFill>
                  <a:schemeClr val="bg1"/>
                </a:solidFill>
              </a:rPr>
              <a:t>.</a:t>
            </a:r>
            <a:r>
              <a:rPr lang="en-US" sz="1100" dirty="0">
                <a:solidFill>
                  <a:schemeClr val="bg1"/>
                </a:solidFill>
              </a:rPr>
              <a:t>0</a:t>
            </a:r>
            <a:r>
              <a:rPr lang="el-GR" sz="1100" dirty="0">
                <a:solidFill>
                  <a:schemeClr val="bg1"/>
                </a:solidFill>
              </a:rPr>
              <a:t>%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4" name="Text Placeholder 1">
            <a:extLst>
              <a:ext uri="{FF2B5EF4-FFF2-40B4-BE49-F238E27FC236}">
                <a16:creationId xmlns:a16="http://schemas.microsoft.com/office/drawing/2014/main" id="{409549A7-3B4D-05A5-540E-DF2F909258A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6250" y="6397625"/>
            <a:ext cx="7561263" cy="111125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  <p:sp>
        <p:nvSpPr>
          <p:cNvPr id="272" name="Oval 106">
            <a:extLst>
              <a:ext uri="{FF2B5EF4-FFF2-40B4-BE49-F238E27FC236}">
                <a16:creationId xmlns:a16="http://schemas.microsoft.com/office/drawing/2014/main" id="{A15EC77F-5452-1919-5390-3074B0513D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8956" y="5651151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>
                <a:latin typeface="+mn-lt"/>
              </a:rPr>
              <a:t>25.6%</a:t>
            </a:r>
          </a:p>
        </p:txBody>
      </p:sp>
      <p:sp>
        <p:nvSpPr>
          <p:cNvPr id="273" name="Oval 106">
            <a:extLst>
              <a:ext uri="{FF2B5EF4-FFF2-40B4-BE49-F238E27FC236}">
                <a16:creationId xmlns:a16="http://schemas.microsoft.com/office/drawing/2014/main" id="{1C6B9E8C-7499-E716-5A21-C03EF3601D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35700" y="5651151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/>
              <a:t>26.6%</a:t>
            </a:r>
            <a:endParaRPr lang="en-US" sz="1000" dirty="0">
              <a:latin typeface="+mn-lt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AD8EB14-4DE4-126B-AA17-B37466BAD8A3}"/>
              </a:ext>
            </a:extLst>
          </p:cNvPr>
          <p:cNvCxnSpPr>
            <a:cxnSpLocks/>
          </p:cNvCxnSpPr>
          <p:nvPr/>
        </p:nvCxnSpPr>
        <p:spPr>
          <a:xfrm>
            <a:off x="7034156" y="2100358"/>
            <a:ext cx="0" cy="3776334"/>
          </a:xfrm>
          <a:prstGeom prst="line">
            <a:avLst/>
          </a:prstGeom>
          <a:ln w="25400">
            <a:solidFill>
              <a:srgbClr val="30B4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02112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248764A-8947-426D-9B8F-679FB0D21B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7274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592" imgH="591" progId="TCLayout.ActiveDocument.1">
                  <p:embed/>
                </p:oleObj>
              </mc:Choice>
              <mc:Fallback>
                <p:oleObj name="think-cell Slide" r:id="rId51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248764A-8947-426D-9B8F-679FB0D21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900" dirty="0" err="1">
              <a:cs typeface="Arial" panose="020B0604020202020204" pitchFamily="34" charset="0"/>
              <a:sym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4007C1-D739-4EE8-AA67-4EADBBFE009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ReimbursED MARKE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C2F8F7-85C5-496F-8D0F-A4F6F6E7E5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7012" y="6007481"/>
            <a:ext cx="11246241" cy="221599"/>
          </a:xfrm>
        </p:spPr>
        <p:txBody>
          <a:bodyPr/>
          <a:lstStyle/>
          <a:p>
            <a:r>
              <a:rPr lang="en-US" dirty="0"/>
              <a:t>1. Based on PSPs; 2.%PPG and %CAGR calculations are based on MAT/03/23</a:t>
            </a:r>
          </a:p>
          <a:p>
            <a:r>
              <a:rPr lang="en-US" dirty="0"/>
              <a:t>Note: Excluding all L.3816 products; Classification by On patent, Off patent, Generics and Others is based on </a:t>
            </a:r>
            <a:r>
              <a:rPr lang="en-US" dirty="0" err="1"/>
              <a:t>Sfee</a:t>
            </a:r>
            <a:r>
              <a:rPr lang="en-US" dirty="0"/>
              <a:t>/IQVIA flag; Other includes mainly vaccines</a:t>
            </a:r>
            <a:r>
              <a:rPr lang="el-GR" dirty="0"/>
              <a:t>, </a:t>
            </a:r>
            <a:r>
              <a:rPr lang="en-US" dirty="0"/>
              <a:t>supplements</a:t>
            </a:r>
            <a:r>
              <a:rPr lang="el-GR" dirty="0"/>
              <a:t> </a:t>
            </a:r>
            <a:r>
              <a:rPr lang="en-US" dirty="0"/>
              <a:t>and diabetes tes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arket size in values</a:t>
            </a:r>
            <a:r>
              <a:rPr lang="en-US" baseline="30000" dirty="0"/>
              <a:t>1</a:t>
            </a:r>
            <a:r>
              <a:rPr lang="en-US" dirty="0"/>
              <a:t> (PSP) – By product type – Annual – 2018-2022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Reimbursed market in MAT/03/23 is reaching €3.5B at retail prices; MAT/03/23 values increased by 5.0% vs.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MAT/03/22</a:t>
            </a:r>
            <a:endParaRPr lang="en-US" dirty="0"/>
          </a:p>
        </p:txBody>
      </p:sp>
      <p:sp>
        <p:nvSpPr>
          <p:cNvPr id="126" name="Oval 106"/>
          <p:cNvSpPr>
            <a:spLocks noChangeArrowheads="1"/>
          </p:cNvSpPr>
          <p:nvPr/>
        </p:nvSpPr>
        <p:spPr bwMode="auto">
          <a:xfrm>
            <a:off x="1216141" y="5581237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>
                <a:latin typeface="+mn-lt"/>
              </a:rPr>
              <a:t>20.6%</a:t>
            </a:r>
          </a:p>
        </p:txBody>
      </p:sp>
      <p:sp>
        <p:nvSpPr>
          <p:cNvPr id="128" name="Oval 106"/>
          <p:cNvSpPr>
            <a:spLocks noChangeArrowheads="1"/>
          </p:cNvSpPr>
          <p:nvPr/>
        </p:nvSpPr>
        <p:spPr bwMode="auto">
          <a:xfrm>
            <a:off x="2268369" y="5581237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>
                <a:latin typeface="+mn-lt"/>
              </a:rPr>
              <a:t>21.3%</a:t>
            </a:r>
          </a:p>
        </p:txBody>
      </p:sp>
      <p:sp>
        <p:nvSpPr>
          <p:cNvPr id="91" name="Text Box 123">
            <a:extLst>
              <a:ext uri="{FF2B5EF4-FFF2-40B4-BE49-F238E27FC236}">
                <a16:creationId xmlns:a16="http://schemas.microsoft.com/office/drawing/2014/main" id="{D9107844-5FAA-4FFD-A616-E028DA44FB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2644" y="5581237"/>
            <a:ext cx="579324" cy="2354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900" i="1" dirty="0">
                <a:latin typeface="+mj-lt"/>
              </a:rPr>
              <a:t>Generics</a:t>
            </a:r>
          </a:p>
          <a:p>
            <a:pPr algn="ctr">
              <a:lnSpc>
                <a:spcPct val="85000"/>
              </a:lnSpc>
            </a:pPr>
            <a:r>
              <a:rPr lang="en-US" sz="900" i="1" dirty="0" err="1">
                <a:latin typeface="+mj-lt"/>
              </a:rPr>
              <a:t>m.s</a:t>
            </a:r>
            <a:r>
              <a:rPr lang="en-US" sz="900" i="1" dirty="0">
                <a:latin typeface="+mj-lt"/>
              </a:rPr>
              <a:t> (%)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2AE157A2-CDBB-93CB-F10F-906FDAEEAB2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99787726"/>
              </p:ext>
            </p:extLst>
          </p:nvPr>
        </p:nvGraphicFramePr>
        <p:xfrm>
          <a:off x="423863" y="2043113"/>
          <a:ext cx="7899400" cy="3278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2DCE5E7-B800-4293-AD01-7A6FA7355621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2446338" y="3022600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252185F-2D35-4E7F-A49F-FEB25C9DF058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1438275" y="3022600"/>
            <a:ext cx="1008063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19F9093-CAC4-4C9A-AB46-2A3CE470FCE3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V="1">
            <a:off x="1438275" y="3022600"/>
            <a:ext cx="0" cy="239713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D0757E7-EE2E-4067-881D-D9C7C8B5766F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V="1">
            <a:off x="2522538" y="2928938"/>
            <a:ext cx="0" cy="246063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F793AC8-9681-4D62-8510-4D8FC0E38025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3492500" y="2928938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4DE7961B-F8D3-49AB-AA0F-D9D2EA2385A7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2522538" y="2928938"/>
            <a:ext cx="969963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6AAACCE-72A8-4BBB-A65D-7FD40C9C8CA5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 flipV="1">
            <a:off x="1438275" y="2495551"/>
            <a:ext cx="4186238" cy="3460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AD689A7-6D27-4035-A99C-4704A4C44D82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V="1">
            <a:off x="3568700" y="2870200"/>
            <a:ext cx="0" cy="211138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2" name="Straight Connector 261">
            <a:extLst>
              <a:ext uri="{FF2B5EF4-FFF2-40B4-BE49-F238E27FC236}">
                <a16:creationId xmlns:a16="http://schemas.microsoft.com/office/drawing/2014/main" id="{E10EFE11-AC7A-D623-1998-157D9D66C5FC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3568701" y="2870200"/>
            <a:ext cx="969963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0B472DF-1EDF-4024-8E38-028935912A2A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4538663" y="2870200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5" name="Straight Connector 244">
            <a:extLst>
              <a:ext uri="{FF2B5EF4-FFF2-40B4-BE49-F238E27FC236}">
                <a16:creationId xmlns:a16="http://schemas.microsoft.com/office/drawing/2014/main" id="{0C5D78E3-4537-0B9E-CE52-DB73EF55427F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 flipV="1">
            <a:off x="5624513" y="2776538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6" name="Straight Connector 245">
            <a:extLst>
              <a:ext uri="{FF2B5EF4-FFF2-40B4-BE49-F238E27FC236}">
                <a16:creationId xmlns:a16="http://schemas.microsoft.com/office/drawing/2014/main" id="{CB2F92BC-A4FB-9E35-DA7E-2A68D1F1A4D9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gray">
          <a:xfrm flipH="1">
            <a:off x="4614862" y="2776538"/>
            <a:ext cx="1009650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7" name="Straight Connector 246">
            <a:extLst>
              <a:ext uri="{FF2B5EF4-FFF2-40B4-BE49-F238E27FC236}">
                <a16:creationId xmlns:a16="http://schemas.microsoft.com/office/drawing/2014/main" id="{4F54638F-62AD-C2AB-4D8B-32DD30364263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4614863" y="2776538"/>
            <a:ext cx="0" cy="246063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DE66C115-E046-4E18-AE38-04A601478CD1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flipV="1">
            <a:off x="6670675" y="2733674"/>
            <a:ext cx="0" cy="255588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9D703CB3-0859-4855-9805-2137430D5668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6670675" y="2733675"/>
            <a:ext cx="1046163" cy="0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D7902DE-92EC-4EB3-B563-19AD75930AAF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7716838" y="2733675"/>
            <a:ext cx="0" cy="152400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9" name="Rectangle 68">
            <a:extLst>
              <a:ext uri="{FF2B5EF4-FFF2-40B4-BE49-F238E27FC236}">
                <a16:creationId xmlns:a16="http://schemas.microsoft.com/office/drawing/2014/main" id="{B4451E92-6F6F-4687-93E9-530C8CA1AB65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7558088" y="2924175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F56E46B-F528-4B07-B64C-9C806D18CCDE}" type="datetime'3'''',''''''''''''''''4''''''''8''''''''''2'''''''''">
              <a:rPr lang="en-US" altLang="en-US" sz="900" smtClean="0">
                <a:solidFill>
                  <a:schemeClr val="tx1"/>
                </a:solidFill>
              </a:rPr>
              <a:pPr/>
              <a:t>3,482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1" name="Text Placeholder 37">
            <a:extLst>
              <a:ext uri="{FF2B5EF4-FFF2-40B4-BE49-F238E27FC236}">
                <a16:creationId xmlns:a16="http://schemas.microsoft.com/office/drawing/2014/main" id="{897BD390-9726-4A61-B411-97DBDFADEAF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567613" y="5268912"/>
            <a:ext cx="298450" cy="27305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1742105-213B-48CC-A21D-4E9C4A00F99F}" type="datetime'''M''''A''''''T''''''''''''''''&#10;03/''''''''''''''''''''2''3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MAT
03/23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67" name="Text Placeholder 37">
            <a:extLst>
              <a:ext uri="{FF2B5EF4-FFF2-40B4-BE49-F238E27FC236}">
                <a16:creationId xmlns:a16="http://schemas.microsoft.com/office/drawing/2014/main" id="{FCAC355B-AC73-4F3A-AEED-50636F4B113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521450" y="5268912"/>
            <a:ext cx="298450" cy="27305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FA81E4D-898C-4BC0-93A4-E2E459ECCB84}" type="datetime'M''''''''A''''''''''''''''''T''&#10;''03/''2''''''''''''2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MAT
03/22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07" name="Rectangle 79">
            <a:extLst>
              <a:ext uri="{FF2B5EF4-FFF2-40B4-BE49-F238E27FC236}">
                <a16:creationId xmlns:a16="http://schemas.microsoft.com/office/drawing/2014/main" id="{8C3FCD47-B711-4DA3-961E-E6F5B5B8FDC8}"/>
              </a:ext>
            </a:extLst>
          </p:cNvPr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8337550" y="5162550"/>
            <a:ext cx="29845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r>
              <a:rPr lang="en-US" sz="900" dirty="0">
                <a:latin typeface="Arial"/>
                <a:cs typeface="Arial"/>
                <a:sym typeface="Arial"/>
              </a:rPr>
              <a:t>Years</a:t>
            </a:r>
          </a:p>
        </p:txBody>
      </p:sp>
      <p:sp>
        <p:nvSpPr>
          <p:cNvPr id="109" name="Rectangle 19">
            <a:extLst>
              <a:ext uri="{FF2B5EF4-FFF2-40B4-BE49-F238E27FC236}">
                <a16:creationId xmlns:a16="http://schemas.microsoft.com/office/drawing/2014/main" id="{98F0D10A-8240-4F5C-A50B-597E611CD2F2}"/>
              </a:ext>
            </a:extLst>
          </p:cNvPr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820738" y="1900238"/>
            <a:ext cx="1905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anchor="b"/>
          <a:lstStyle/>
          <a:p>
            <a:pPr algn="ctr"/>
            <a:r>
              <a:rPr lang="en-US" sz="900">
                <a:latin typeface="Arial"/>
                <a:cs typeface="Arial"/>
                <a:sym typeface="Arial"/>
              </a:rPr>
              <a:t>M</a:t>
            </a:r>
            <a:r>
              <a:rPr lang="el-GR" sz="900">
                <a:latin typeface="Arial"/>
                <a:cs typeface="Arial"/>
                <a:sym typeface="Arial"/>
              </a:rPr>
              <a:t> </a:t>
            </a:r>
            <a:r>
              <a:rPr lang="en-US" sz="900">
                <a:latin typeface="Arial"/>
                <a:cs typeface="Arial"/>
                <a:sym typeface="Arial"/>
              </a:rPr>
              <a:t>€</a:t>
            </a:r>
            <a:endParaRPr lang="en-US" sz="900" dirty="0">
              <a:latin typeface="Arial"/>
              <a:cs typeface="Arial"/>
              <a:sym typeface="Arial"/>
            </a:endParaRPr>
          </a:p>
        </p:txBody>
      </p:sp>
      <p:sp>
        <p:nvSpPr>
          <p:cNvPr id="149" name="Text Placeholder 37">
            <a:extLst>
              <a:ext uri="{FF2B5EF4-FFF2-40B4-BE49-F238E27FC236}">
                <a16:creationId xmlns:a16="http://schemas.microsoft.com/office/drawing/2014/main" id="{5DA7DF64-DC92-B703-B447-D59AF575179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304925" y="5268913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B60BBF2-FC32-4B02-AB99-78D7570F2A5F}" type="datetime'''''''2''''''''''''''''''''''''''''''01''''''''''''8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2018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10" name="Text Placeholder 37">
            <a:extLst>
              <a:ext uri="{FF2B5EF4-FFF2-40B4-BE49-F238E27FC236}">
                <a16:creationId xmlns:a16="http://schemas.microsoft.com/office/drawing/2014/main" id="{2FE21952-4CB6-41D1-89D1-27DE5002364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351088" y="5268913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962906F-C672-4EC0-9897-284B7992A609}" type="datetime'2''''''''''''''''''''01''9''''''''''''''''''''''''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2019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11" name="Text Placeholder 37">
            <a:extLst>
              <a:ext uri="{FF2B5EF4-FFF2-40B4-BE49-F238E27FC236}">
                <a16:creationId xmlns:a16="http://schemas.microsoft.com/office/drawing/2014/main" id="{2594D448-473D-4CC0-B12E-303DC629987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397250" y="5268913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3C9551F-AD3A-4B93-9132-7219CB7F85E8}" type="datetime'''''''''''''''''''''''''''''''''''''''2''0''''20''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2020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889D09D9-6F27-4B50-9FF7-8DC95AC9221F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3371850" y="3119438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F619D8B-F6E2-4CB0-B594-8D950015F4EC}" type="datetime'3'''''''',''''''1''''67'''''''''''''">
              <a:rPr lang="en-US" altLang="en-US" sz="900" smtClean="0">
                <a:solidFill>
                  <a:schemeClr val="tx1"/>
                </a:solidFill>
              </a:rPr>
              <a:pPr/>
              <a:t>3,167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58" name="Text Placeholder 37">
            <a:extLst>
              <a:ext uri="{FF2B5EF4-FFF2-40B4-BE49-F238E27FC236}">
                <a16:creationId xmlns:a16="http://schemas.microsoft.com/office/drawing/2014/main" id="{C1685AC8-119B-4550-A4E7-4BE9CAC8AAB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443413" y="5268913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D0FF6B3-AD5D-498E-967E-808AAF4A73FE}" type="datetime'''''''''''''''''''2''''''''''''''''''''''0''''2''''''1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2021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85" name="Text Placeholder 37">
            <a:extLst>
              <a:ext uri="{FF2B5EF4-FFF2-40B4-BE49-F238E27FC236}">
                <a16:creationId xmlns:a16="http://schemas.microsoft.com/office/drawing/2014/main" id="{2AB3CC59-69C0-4FCB-8586-7FEB3C3A376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491163" y="5268913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6FFBBB5-82A8-4039-9DC0-2A1C7AF27F2C}" type="datetime'''''''''''''''''''2''''''''''''''''02''''''''''2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2022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61687C07-5E82-4402-B60D-28BF111AB4EF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4418013" y="3060700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55B4562-E242-493C-AF04-22DD5226A499}" type="datetime'3,''''''''''''''''2''''''''''''''''6''''''''''''''''3'''''">
              <a:rPr lang="en-US" altLang="en-US" sz="900" smtClean="0">
                <a:solidFill>
                  <a:schemeClr val="tx1"/>
                </a:solidFill>
              </a:rPr>
              <a:pPr/>
              <a:t>3,263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76AA14D6-FC3B-4F05-A25B-0F148E536AA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325688" y="3213100"/>
            <a:ext cx="3175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A1F459D3-02F6-4859-9231-60FE3FE47CD9}" type="datetime'2,''''''''''''''''''''''''''''''''''''9''''''''95'''''''">
              <a:rPr lang="en-US" altLang="en-US" sz="900" smtClean="0">
                <a:solidFill>
                  <a:schemeClr val="tx1"/>
                </a:solidFill>
                <a:latin typeface="+mn-lt"/>
                <a:cs typeface="+mn-cs"/>
              </a:rPr>
              <a:pPr/>
              <a:t>2,995</a:t>
            </a:fld>
            <a:endParaRPr lang="el-GR" sz="900" dirty="0">
              <a:solidFill>
                <a:schemeClr val="tx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BF6769F-3670-403C-8260-619E8A3D82E6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5465763" y="2967038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4A632BD-5D6A-46E8-A6D4-A61488852CD9}" type="datetime'''''''''3,''''''''''''''''''''''''4''''''14'''''''''''''''''''">
              <a:rPr lang="en-US" altLang="en-US" sz="900" smtClean="0">
                <a:solidFill>
                  <a:schemeClr val="tx1"/>
                </a:solidFill>
              </a:rPr>
              <a:pPr/>
              <a:t>3,414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7E129E47-8D1D-4A1C-89E2-3AD866AF4650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6511925" y="3027363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127DE20-874E-4284-9A15-FA6D3AFD211D}" type="datetime'''''''3,''''''3''''''''''''16'''''''''''''''''''">
              <a:rPr lang="en-US" altLang="en-US" sz="900" smtClean="0">
                <a:solidFill>
                  <a:schemeClr val="tx1"/>
                </a:solidFill>
              </a:rPr>
              <a:pPr/>
              <a:t>3,316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372FD668-50F2-D4F3-813B-3EB60EB3F88E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279525" y="3300413"/>
            <a:ext cx="3175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4CE03DD-5096-4965-B833-98732776F9DB}" type="datetime'''''2'''''''''',8''''''''''''''5''4'''''''''''''''''''''''''''">
              <a:rPr lang="en-US" altLang="en-US" sz="900" smtClean="0">
                <a:solidFill>
                  <a:schemeClr val="tx1"/>
                </a:solidFill>
                <a:latin typeface="+mn-lt"/>
                <a:cs typeface="+mn-cs"/>
                <a:sym typeface="Arial" panose="020B0604020202020204" pitchFamily="34" charset="0"/>
              </a:rPr>
              <a:pPr/>
              <a:t>2,854</a:t>
            </a:fld>
            <a:endParaRPr lang="el-GR" sz="900" dirty="0">
              <a:solidFill>
                <a:schemeClr val="tx1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B3DFB55-C6A2-4544-883A-2ED29F2A55A3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1709738" y="2925763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484B7E3-2FBF-4B53-A650-04AC7986471F}" type="datetime'''''''''+''''4''''''''''''''.''''''''''''''''9''%''''''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4.9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867AD6C5-F903-4486-8420-3B4A1BD97E8A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2774950" y="2832100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7489B0-28BD-4274-9D5F-365219680051}" type="datetime'''+''''''''''''''''5''''''''''''''''''.''7''''%''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5.7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939EF94-1C51-4C8C-B232-CBE4D1893003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3298825" y="2571750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chemeClr val="bg1"/>
                </a:solidFill>
                <a:cs typeface="Arial" panose="020B0604020202020204" pitchFamily="34" charset="0"/>
                <a:sym typeface="Arial" panose="020B0604020202020204" pitchFamily="34" charset="0"/>
              </a:rPr>
              <a:t>+4.3%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E723A9D-464C-45B7-B413-8760FAEB2369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3868738" y="2773363"/>
            <a:ext cx="36830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8544CD6-9206-4549-89DD-4680E453E0D2}" type="datetime'''''''''''''''''''''3''.''''''''''''''''''0''''%'''''''''">
              <a:rPr lang="en-US" altLang="en-US" sz="900" b="1" smtClean="0">
                <a:solidFill>
                  <a:srgbClr val="FFFFFF"/>
                </a:solidFill>
                <a:effectLst/>
              </a:rPr>
              <a:pPr/>
              <a:t>3.0%</a:t>
            </a:fld>
            <a:endParaRPr lang="en-US" sz="900" b="1" dirty="0" err="1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4" name="Oval 243">
            <a:extLst>
              <a:ext uri="{FF2B5EF4-FFF2-40B4-BE49-F238E27FC236}">
                <a16:creationId xmlns:a16="http://schemas.microsoft.com/office/drawing/2014/main" id="{3AAF14A3-D729-CC74-EA1F-E2202E988AA2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4887913" y="2679700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chemeClr val="bg1"/>
                </a:solidFill>
                <a:cs typeface="Arial" panose="020B0604020202020204" pitchFamily="34" charset="0"/>
                <a:sym typeface="Arial" panose="020B0604020202020204" pitchFamily="34" charset="0"/>
              </a:rPr>
              <a:t>+4.6%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D31CFB87-DC7F-4122-AA6A-A33BC4EF994E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6961188" y="2636838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7FF4B6E-B3CF-439D-A1A6-3CB8C549C85B}" type="datetime'''''''+5''''''''''''''''''.0''%''''''''''''''''''''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5.0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6C6BC01A-97F5-4261-B766-4C08B0EA35F1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8759825" y="1573213"/>
            <a:ext cx="160338" cy="120650"/>
          </a:xfrm>
          <a:prstGeom prst="rect">
            <a:avLst/>
          </a:prstGeom>
          <a:solidFill>
            <a:srgbClr val="CAE3FF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F9CEE3F0-77A4-416C-AF2E-278B60317B29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8759825" y="1947863"/>
            <a:ext cx="160338" cy="1206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5B5A8D4E-3854-4221-B583-E6C2D6F890CA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8759825" y="1760538"/>
            <a:ext cx="160338" cy="120650"/>
          </a:xfrm>
          <a:prstGeom prst="rect">
            <a:avLst/>
          </a:prstGeom>
          <a:solidFill>
            <a:srgbClr val="18AFFF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E72A3F1-AA78-4748-A7F0-118EF79AFDA0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8759825" y="2135188"/>
            <a:ext cx="160338" cy="120650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B61F476B-7D45-426D-A363-F3D6C2B05374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8970963" y="1570038"/>
            <a:ext cx="285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49761D0-E0F4-409C-B62D-E5106EE15BF3}" type="datetime'''''O''''''t''''h''''''''''''''''''''''e''''''''''''''r'''''''">
              <a:rPr lang="en-US" altLang="en-US" sz="900" smtClean="0">
                <a:solidFill>
                  <a:schemeClr val="tx1"/>
                </a:solidFill>
              </a:rPr>
              <a:pPr/>
              <a:t>Other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8D6574DE-1631-43AE-9981-78CDD924F312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8970963" y="2132013"/>
            <a:ext cx="5016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D1F9747-CA1F-4DE7-8B03-7D42739DE4D5}" type="datetime'O''n'''''''' ''''pat''''en''''''''''''''''''''''t'''''''''">
              <a:rPr lang="en-US" altLang="en-US" sz="900" smtClean="0">
                <a:solidFill>
                  <a:schemeClr val="tx1"/>
                </a:solidFill>
              </a:rPr>
              <a:pPr/>
              <a:t>On patent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9C39D595-9AFD-4014-88F7-4A1BCC4EFD84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8970963" y="1944688"/>
            <a:ext cx="5016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5A70C25-9E4B-4429-95C7-CB986D733E1F}" type="datetime'''Off'' ''''p''''a''''''''te''''''''''''nt'''''''''">
              <a:rPr lang="en-US" altLang="en-US" sz="900" smtClean="0">
                <a:solidFill>
                  <a:schemeClr val="tx1"/>
                </a:solidFill>
              </a:rPr>
              <a:pPr/>
              <a:t>Off patent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5FA875FB-5B9D-46E7-9C38-23C0E04290DB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8970963" y="1757363"/>
            <a:ext cx="4572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419BD46-59F6-45F6-9291-4A5077939B60}" type="datetime'''''G''''''e''''''''''''''''n''eri''c''''''''''''s'''">
              <a:rPr lang="en-US" altLang="en-US" sz="900" smtClean="0">
                <a:solidFill>
                  <a:schemeClr val="tx1"/>
                </a:solidFill>
              </a:rPr>
              <a:pPr/>
              <a:t>Generics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AF62DB37-3830-48BE-8C41-28FAB7B464A5}"/>
              </a:ext>
            </a:extLst>
          </p:cNvPr>
          <p:cNvSpPr/>
          <p:nvPr/>
        </p:nvSpPr>
        <p:spPr>
          <a:xfrm>
            <a:off x="8774113" y="2854262"/>
            <a:ext cx="757238" cy="28800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400" dirty="0">
              <a:latin typeface="Arial"/>
            </a:endParaRPr>
          </a:p>
        </p:txBody>
      </p:sp>
      <p:sp>
        <p:nvSpPr>
          <p:cNvPr id="78" name="TextBox 60">
            <a:extLst>
              <a:ext uri="{FF2B5EF4-FFF2-40B4-BE49-F238E27FC236}">
                <a16:creationId xmlns:a16="http://schemas.microsoft.com/office/drawing/2014/main" id="{1E8B6A8C-13C1-4632-8A83-FBFDBA7877BD}"/>
              </a:ext>
            </a:extLst>
          </p:cNvPr>
          <p:cNvSpPr txBox="1">
            <a:spLocks/>
          </p:cNvSpPr>
          <p:nvPr/>
        </p:nvSpPr>
        <p:spPr bwMode="auto">
          <a:xfrm>
            <a:off x="8774113" y="2883519"/>
            <a:ext cx="822325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36000" rIns="0" bIns="36000">
            <a:spAutoFit/>
          </a:bodyPr>
          <a:lstStyle>
            <a:defPPr>
              <a:defRPr lang="en-US"/>
            </a:defPPr>
            <a:lvl1pPr algn="ctr">
              <a:defRPr sz="1100" b="1">
                <a:solidFill>
                  <a:srgbClr val="C00000"/>
                </a:solidFill>
                <a:latin typeface="+mn-lt"/>
              </a:defRPr>
            </a:lvl1pPr>
          </a:lstStyle>
          <a:p>
            <a:r>
              <a:rPr lang="el-GR" dirty="0">
                <a:solidFill>
                  <a:srgbClr val="007770"/>
                </a:solidFill>
              </a:rPr>
              <a:t>+</a:t>
            </a:r>
            <a:r>
              <a:rPr lang="en-US" dirty="0">
                <a:solidFill>
                  <a:srgbClr val="007770"/>
                </a:solidFill>
              </a:rPr>
              <a:t>5.0</a:t>
            </a:r>
            <a:r>
              <a:rPr lang="el-GR" dirty="0">
                <a:solidFill>
                  <a:srgbClr val="007770"/>
                </a:solidFill>
              </a:rPr>
              <a:t>%</a:t>
            </a:r>
          </a:p>
        </p:txBody>
      </p:sp>
      <p:sp>
        <p:nvSpPr>
          <p:cNvPr id="79" name="Rounded Rectangle 169">
            <a:extLst>
              <a:ext uri="{FF2B5EF4-FFF2-40B4-BE49-F238E27FC236}">
                <a16:creationId xmlns:a16="http://schemas.microsoft.com/office/drawing/2014/main" id="{CA49CC60-FD24-40B8-81D8-DDECAC81AD91}"/>
              </a:ext>
            </a:extLst>
          </p:cNvPr>
          <p:cNvSpPr>
            <a:spLocks/>
          </p:cNvSpPr>
          <p:nvPr/>
        </p:nvSpPr>
        <p:spPr bwMode="auto">
          <a:xfrm>
            <a:off x="8789988" y="4723827"/>
            <a:ext cx="763588" cy="390546"/>
          </a:xfrm>
          <a:prstGeom prst="roundRect">
            <a:avLst/>
          </a:prstGeom>
          <a:solidFill>
            <a:srgbClr val="005587"/>
          </a:solidFill>
          <a:ln w="15875" cap="flat" cmpd="sng" algn="ctr">
            <a:solidFill>
              <a:schemeClr val="accent1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chemeClr val="bg1"/>
                </a:solidFill>
              </a:rPr>
              <a:t>+7.4%</a:t>
            </a:r>
            <a:endParaRPr kumimoji="0" lang="en-US" sz="11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80" name="Rounded Rectangle 170">
            <a:extLst>
              <a:ext uri="{FF2B5EF4-FFF2-40B4-BE49-F238E27FC236}">
                <a16:creationId xmlns:a16="http://schemas.microsoft.com/office/drawing/2014/main" id="{5A28FAC9-E26E-4015-B0C6-7A0DA34BC630}"/>
              </a:ext>
            </a:extLst>
          </p:cNvPr>
          <p:cNvSpPr>
            <a:spLocks/>
          </p:cNvSpPr>
          <p:nvPr/>
        </p:nvSpPr>
        <p:spPr bwMode="auto">
          <a:xfrm>
            <a:off x="8789988" y="3394150"/>
            <a:ext cx="763588" cy="390546"/>
          </a:xfrm>
          <a:prstGeom prst="roundRect">
            <a:avLst/>
          </a:prstGeom>
          <a:solidFill>
            <a:srgbClr val="25B4FF"/>
          </a:solidFill>
          <a:ln w="15875" cap="flat" cmpd="sng" algn="ctr">
            <a:solidFill>
              <a:schemeClr val="accent1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+8</a:t>
            </a:r>
            <a:r>
              <a:rPr lang="en-US" sz="1100" dirty="0">
                <a:solidFill>
                  <a:schemeClr val="bg1"/>
                </a:solidFill>
              </a:rPr>
              <a:t>.3</a:t>
            </a:r>
            <a:r>
              <a:rPr kumimoji="0" lang="el-GR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%</a:t>
            </a:r>
            <a:endParaRPr kumimoji="0" lang="en-US" sz="11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93" name="Rounded Rectangle 169">
            <a:extLst>
              <a:ext uri="{FF2B5EF4-FFF2-40B4-BE49-F238E27FC236}">
                <a16:creationId xmlns:a16="http://schemas.microsoft.com/office/drawing/2014/main" id="{C6382282-17E2-41FF-AA9A-3281BD43B2E5}"/>
              </a:ext>
            </a:extLst>
          </p:cNvPr>
          <p:cNvSpPr>
            <a:spLocks/>
          </p:cNvSpPr>
          <p:nvPr/>
        </p:nvSpPr>
        <p:spPr bwMode="auto">
          <a:xfrm>
            <a:off x="8789988" y="4041652"/>
            <a:ext cx="763588" cy="390546"/>
          </a:xfrm>
          <a:prstGeom prst="roundRect">
            <a:avLst/>
          </a:prstGeom>
          <a:solidFill>
            <a:srgbClr val="0070C0"/>
          </a:solidFill>
          <a:ln w="15875" cap="flat" cmpd="sng" algn="ctr">
            <a:solidFill>
              <a:schemeClr val="accent1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chemeClr val="bg1"/>
                </a:solidFill>
              </a:rPr>
              <a:t>+2.1</a:t>
            </a:r>
            <a:r>
              <a:rPr lang="el-GR" sz="1100" dirty="0">
                <a:solidFill>
                  <a:schemeClr val="bg1"/>
                </a:solidFill>
              </a:rPr>
              <a:t>%</a:t>
            </a:r>
            <a:endParaRPr kumimoji="0" lang="en-US" sz="11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82" name="Oval 106">
            <a:extLst>
              <a:ext uri="{FF2B5EF4-FFF2-40B4-BE49-F238E27FC236}">
                <a16:creationId xmlns:a16="http://schemas.microsoft.com/office/drawing/2014/main" id="{79F1B197-A994-460A-A4FD-C87E9765F1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1072" y="5581237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>
                <a:latin typeface="+mn-lt"/>
              </a:rPr>
              <a:t>21.6%</a:t>
            </a:r>
          </a:p>
        </p:txBody>
      </p:sp>
      <p:sp>
        <p:nvSpPr>
          <p:cNvPr id="64" name="TextBox 51">
            <a:extLst>
              <a:ext uri="{FF2B5EF4-FFF2-40B4-BE49-F238E27FC236}">
                <a16:creationId xmlns:a16="http://schemas.microsoft.com/office/drawing/2014/main" id="{3894E3F4-04EA-4D97-B0AD-57F80672AE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31250" y="2489820"/>
            <a:ext cx="8223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 b="1" i="1" dirty="0">
                <a:latin typeface="+mn-lt"/>
              </a:rPr>
              <a:t>%PPG</a:t>
            </a:r>
            <a:r>
              <a:rPr lang="en-US" sz="1000" b="1" i="1" baseline="30000" dirty="0">
                <a:latin typeface="+mn-lt"/>
              </a:rPr>
              <a:t>2</a:t>
            </a:r>
            <a:endParaRPr lang="el-GR" sz="1000" b="1" i="1" baseline="30000" dirty="0">
              <a:latin typeface="+mn-lt"/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DF193F-3868-4137-AB45-60682F6E1E44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2800" b="1" dirty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83" name="Oval 106">
            <a:extLst>
              <a:ext uri="{FF2B5EF4-FFF2-40B4-BE49-F238E27FC236}">
                <a16:creationId xmlns:a16="http://schemas.microsoft.com/office/drawing/2014/main" id="{056CEAFB-469D-4B87-930A-995FF61076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3301" y="5581237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>
                <a:latin typeface="+mn-lt"/>
              </a:rPr>
              <a:t>22.2%</a:t>
            </a:r>
          </a:p>
        </p:txBody>
      </p:sp>
      <p:sp>
        <p:nvSpPr>
          <p:cNvPr id="85" name="Oval 106">
            <a:extLst>
              <a:ext uri="{FF2B5EF4-FFF2-40B4-BE49-F238E27FC236}">
                <a16:creationId xmlns:a16="http://schemas.microsoft.com/office/drawing/2014/main" id="{46DCC8B9-9E2E-4EAA-97CC-BE64B8CBB3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12206" y="5581237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>
                <a:latin typeface="+mn-lt"/>
              </a:rPr>
              <a:t>23.0%</a:t>
            </a:r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FFEBC905-0A7F-7DBF-84C9-2539C2683F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6250" y="6397625"/>
            <a:ext cx="7561263" cy="111125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  <p:sp>
        <p:nvSpPr>
          <p:cNvPr id="120" name="Oval 106">
            <a:extLst>
              <a:ext uri="{FF2B5EF4-FFF2-40B4-BE49-F238E27FC236}">
                <a16:creationId xmlns:a16="http://schemas.microsoft.com/office/drawing/2014/main" id="{65BFC2B5-34EE-51FF-4C7C-FA4FD15BEB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1111" y="5581237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>
                <a:latin typeface="+mn-lt"/>
              </a:rPr>
              <a:t>22.5%</a:t>
            </a:r>
          </a:p>
        </p:txBody>
      </p:sp>
      <p:sp>
        <p:nvSpPr>
          <p:cNvPr id="121" name="Oval 106">
            <a:extLst>
              <a:ext uri="{FF2B5EF4-FFF2-40B4-BE49-F238E27FC236}">
                <a16:creationId xmlns:a16="http://schemas.microsoft.com/office/drawing/2014/main" id="{9584A0BA-A722-6B53-22F2-4B8A3B30E1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05600" y="5581237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>
                <a:latin typeface="+mn-lt"/>
              </a:rPr>
              <a:t>23.2%</a:t>
            </a:r>
          </a:p>
        </p:txBody>
      </p:sp>
    </p:spTree>
    <p:extLst>
      <p:ext uri="{BB962C8B-B14F-4D97-AF65-F5344CB8AC3E}">
        <p14:creationId xmlns:p14="http://schemas.microsoft.com/office/powerpoint/2010/main" val="34756117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45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8020601"/>
              </p:ext>
            </p:ext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3" imgW="0" imgH="0" progId="TCLayout.ActiveDocument.1">
                  <p:embed/>
                </p:oleObj>
              </mc:Choice>
              <mc:Fallback>
                <p:oleObj name="think-cell Slide" r:id="rId63" imgW="0" imgH="0" progId="TCLayout.ActiveDocument.1">
                  <p:embed/>
                  <p:pic>
                    <p:nvPicPr>
                      <p:cNvPr id="4098" name="Rectangle 4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6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TOTAL MARKET</a:t>
            </a:r>
            <a:endParaRPr lang="el-GR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77012" y="6007481"/>
            <a:ext cx="11246241" cy="221599"/>
          </a:xfrm>
        </p:spPr>
        <p:txBody>
          <a:bodyPr/>
          <a:lstStyle/>
          <a:p>
            <a:r>
              <a:rPr lang="en-US" dirty="0"/>
              <a:t>1. Based on sell-out volumes from pharmacies; 2.%PPG &amp; %CAGR calculations are based on MAT/03/23</a:t>
            </a:r>
          </a:p>
          <a:p>
            <a:r>
              <a:rPr lang="en-US" dirty="0"/>
              <a:t>Note: Excluding all L.3816 products; Total market figures (2015-2016) have been adjusted subject to IQVIA market restatement in 2018; Classification by On patent, Off patent, Generics and Others is based on </a:t>
            </a:r>
            <a:r>
              <a:rPr lang="en-US" dirty="0" err="1"/>
              <a:t>Sfee</a:t>
            </a:r>
            <a:r>
              <a:rPr lang="en-US" dirty="0"/>
              <a:t>/IQVIA flag; Other includes mainly vaccines</a:t>
            </a:r>
            <a:r>
              <a:rPr lang="el-GR" dirty="0"/>
              <a:t>, </a:t>
            </a:r>
            <a:r>
              <a:rPr lang="en-US" dirty="0"/>
              <a:t>supplements</a:t>
            </a:r>
            <a:r>
              <a:rPr lang="el-GR" dirty="0"/>
              <a:t> </a:t>
            </a:r>
            <a:r>
              <a:rPr lang="en-US" dirty="0"/>
              <a:t>and diabetes tests</a:t>
            </a:r>
          </a:p>
        </p:txBody>
      </p:sp>
      <p:sp>
        <p:nvSpPr>
          <p:cNvPr id="91" name="Text Placeholder 9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Market size in volume</a:t>
            </a:r>
            <a:r>
              <a:rPr lang="en-US" baseline="30000" dirty="0">
                <a:latin typeface="+mj-lt"/>
              </a:rPr>
              <a:t>1</a:t>
            </a:r>
            <a:r>
              <a:rPr lang="en-US" dirty="0">
                <a:latin typeface="+mj-lt"/>
              </a:rPr>
              <a:t> – By product type – Annual – 2014-2022</a:t>
            </a:r>
            <a:endParaRPr lang="el-GR" dirty="0">
              <a:latin typeface="+mj-lt"/>
            </a:endParaRPr>
          </a:p>
        </p:txBody>
      </p:sp>
      <p:sp>
        <p:nvSpPr>
          <p:cNvPr id="80" name="Rectangle 2"/>
          <p:cNvSpPr>
            <a:spLocks noGrp="1" noChangeArrowheads="1"/>
          </p:cNvSpPr>
          <p:nvPr>
            <p:ph type="title"/>
          </p:nvPr>
        </p:nvSpPr>
        <p:spPr/>
        <p:txBody>
          <a:bodyPr vert="horz" lIns="0" tIns="0" rIns="0" bIns="0" anchor="b" anchorCtr="0"/>
          <a:lstStyle/>
          <a:p>
            <a:r>
              <a:rPr lang="en-US" dirty="0"/>
              <a:t>In terms of volume, Greek pharma market in MAT/03/23 increased by ~3.5%, reaching to ~441M units, driven by Gx performance</a:t>
            </a:r>
            <a:endParaRPr lang="en-US" dirty="0">
              <a:highlight>
                <a:srgbClr val="FFFF00"/>
              </a:highlight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FCAC9E1F-32E0-FFD1-31A1-06EC3FBA231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0270435"/>
              </p:ext>
            </p:extLst>
          </p:nvPr>
        </p:nvGraphicFramePr>
        <p:xfrm>
          <a:off x="522288" y="2043113"/>
          <a:ext cx="7934325" cy="3287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4"/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C80754C-2DEF-4458-BB48-2B8174D934DC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3968750" y="2770188"/>
            <a:ext cx="638175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27F4DE-EF30-41DA-946B-ACC75ABDCF6D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V="1">
            <a:off x="3968750" y="2770188"/>
            <a:ext cx="0" cy="1905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AFECE34-C277-4FE3-873D-2398F0F6D632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4606925" y="2770188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>
            <a:cxnSpLocks/>
          </p:cNvCxnSpPr>
          <p:nvPr>
            <p:custDataLst>
              <p:tags r:id="rId6"/>
            </p:custDataLst>
          </p:nvPr>
        </p:nvCxnSpPr>
        <p:spPr bwMode="gray">
          <a:xfrm flipV="1">
            <a:off x="2613024" y="2159000"/>
            <a:ext cx="4065588" cy="242888"/>
          </a:xfrm>
          <a:prstGeom prst="line">
            <a:avLst/>
          </a:prstGeom>
          <a:noFill/>
          <a:ln w="25400" algn="ctr">
            <a:solidFill>
              <a:schemeClr val="hlink"/>
            </a:solidFill>
            <a:prstDash val="solid"/>
            <a:round/>
            <a:headEnd type="none"/>
            <a:tailEnd type="triangle" w="med" len="med"/>
          </a:ln>
          <a:effectLst/>
        </p:spPr>
      </p:cxnSp>
      <p:cxnSp>
        <p:nvCxnSpPr>
          <p:cNvPr id="4104" name="Straight Connector 4103">
            <a:extLst>
              <a:ext uri="{FF2B5EF4-FFF2-40B4-BE49-F238E27FC236}">
                <a16:creationId xmlns:a16="http://schemas.microsoft.com/office/drawing/2014/main" id="{0B4FDA6B-C916-4D96-AEF5-B72F3AA758B0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5284788" y="2762250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3" name="Straight Connector 4102">
            <a:extLst>
              <a:ext uri="{FF2B5EF4-FFF2-40B4-BE49-F238E27FC236}">
                <a16:creationId xmlns:a16="http://schemas.microsoft.com/office/drawing/2014/main" id="{CE89036B-C09A-4F63-BBD4-11A1D13578A0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4683125" y="2762250"/>
            <a:ext cx="601663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2" name="Straight Connector 4101">
            <a:extLst>
              <a:ext uri="{FF2B5EF4-FFF2-40B4-BE49-F238E27FC236}">
                <a16:creationId xmlns:a16="http://schemas.microsoft.com/office/drawing/2014/main" id="{C227C02D-CDE6-43BB-8A70-05364B9CBA93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 flipV="1">
            <a:off x="4683125" y="2762250"/>
            <a:ext cx="0" cy="160338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>
            <a:cxnSpLocks/>
          </p:cNvCxnSpPr>
          <p:nvPr>
            <p:custDataLst>
              <p:tags r:id="rId10"/>
            </p:custDataLst>
          </p:nvPr>
        </p:nvCxnSpPr>
        <p:spPr bwMode="gray">
          <a:xfrm flipV="1">
            <a:off x="3968750" y="2370139"/>
            <a:ext cx="2709863" cy="150813"/>
          </a:xfrm>
          <a:prstGeom prst="line">
            <a:avLst/>
          </a:prstGeom>
          <a:noFill/>
          <a:ln w="25400" algn="ctr">
            <a:solidFill>
              <a:schemeClr val="hlink"/>
            </a:solidFill>
            <a:prstDash val="solid"/>
            <a:round/>
            <a:headEnd type="none"/>
            <a:tailEnd type="triangle" w="med" len="med"/>
          </a:ln>
          <a:effectLst/>
        </p:spPr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5CD238BD-8AE8-4337-A34E-E83F7A5D1ECC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5360988" y="2732088"/>
            <a:ext cx="601663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E47AE63B-8911-4611-8276-69F6B45C6EC6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5962650" y="2732088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992334DC-3C36-46CE-BF4C-F50EEF2EFFE0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 flipV="1">
            <a:off x="5360988" y="2732088"/>
            <a:ext cx="0" cy="182563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9" name="Straight Connector 238">
            <a:extLst>
              <a:ext uri="{FF2B5EF4-FFF2-40B4-BE49-F238E27FC236}">
                <a16:creationId xmlns:a16="http://schemas.microsoft.com/office/drawing/2014/main" id="{ABAE7FA1-4B6F-4E14-8C0E-0DBE30B0E228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6678613" y="2657475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F70E5048-F79B-4A01-BDED-DDD1CB19E289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 flipV="1">
            <a:off x="6038850" y="2657475"/>
            <a:ext cx="0" cy="227013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8" name="Straight Connector 237">
            <a:extLst>
              <a:ext uri="{FF2B5EF4-FFF2-40B4-BE49-F238E27FC236}">
                <a16:creationId xmlns:a16="http://schemas.microsoft.com/office/drawing/2014/main" id="{C0A35E03-3DE8-460C-9266-CC6FEA482759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6038850" y="2657475"/>
            <a:ext cx="639763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600153-8046-2B87-8397-8701D0F36C4C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flipV="1">
            <a:off x="7356475" y="2619375"/>
            <a:ext cx="0" cy="230188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B657B3EA-70AD-45B5-C1CE-875FBD945C27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7356475" y="2619375"/>
            <a:ext cx="677863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83A4FE37-272B-5A9F-920E-7B764FBEDDCE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8034338" y="2619375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5" name="Text Placeholder 31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824038" y="3119438"/>
            <a:ext cx="2222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CE93DAE-18C0-4712-8721-D7474521C07E}" type="datetime'''37''''''''8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378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92" name="Rectangle 79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470900" y="5172075"/>
            <a:ext cx="29845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r>
              <a:rPr lang="en-US" sz="900" dirty="0">
                <a:latin typeface="Arial"/>
                <a:cs typeface="Arial"/>
                <a:sym typeface="Arial"/>
              </a:rPr>
              <a:t>Years</a:t>
            </a:r>
          </a:p>
        </p:txBody>
      </p:sp>
      <p:sp>
        <p:nvSpPr>
          <p:cNvPr id="4097" name="Rectangle 4096">
            <a:extLst>
              <a:ext uri="{FF2B5EF4-FFF2-40B4-BE49-F238E27FC236}">
                <a16:creationId xmlns:a16="http://schemas.microsoft.com/office/drawing/2014/main" id="{D1B35F35-1E39-A34C-4A4B-31BB77AC21FE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7245350" y="2887663"/>
            <a:ext cx="2222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73BDE45-55B4-427A-9EEE-4B843838A239}" type="datetime'''''4''''''''''''''''''''''''''2''''''''''''''''''''''6'''''''">
              <a:rPr lang="en-US" altLang="en-US" sz="900" smtClean="0">
                <a:solidFill>
                  <a:schemeClr val="tx1"/>
                </a:solidFill>
              </a:rPr>
              <a:pPr/>
              <a:t>426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CEFA3C42-E963-4605-A87B-B2F309A41752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5889625" y="2922588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473A46A-6EC1-4452-99D2-E27C21A292AF}" type="datetime'''''''''''''''''''''''''''''4''''''''19'''">
              <a:rPr lang="en-US" altLang="en-US" sz="900" smtClean="0">
                <a:solidFill>
                  <a:schemeClr val="tx1"/>
                </a:solidFill>
              </a:rPr>
              <a:pPr/>
              <a:t>419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80" name="Text Placeholder 43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157538" y="5291138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2E3CDFC-B76B-4FBC-A8DE-C5FCF341E3A6}" type="datetime'''''2''''''''''''''''''''''''''0''1''''''''''''7'''''''''''">
              <a:rPr lang="en-US" altLang="en-US" sz="900" smtClean="0">
                <a:solidFill>
                  <a:schemeClr val="tx1"/>
                </a:solidFill>
              </a:rPr>
              <a:pPr/>
              <a:t>2017</a:t>
            </a:fld>
            <a:endParaRPr lang="el-GR" sz="900">
              <a:solidFill>
                <a:schemeClr val="tx1"/>
              </a:solidFill>
              <a:sym typeface="Arial"/>
            </a:endParaRPr>
          </a:p>
        </p:txBody>
      </p:sp>
      <p:sp>
        <p:nvSpPr>
          <p:cNvPr id="94" name="Rectangle 19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725488" y="1836738"/>
            <a:ext cx="38735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anchor="b"/>
          <a:lstStyle/>
          <a:p>
            <a:pPr algn="ctr"/>
            <a:r>
              <a:rPr lang="en-US" sz="900">
                <a:latin typeface="Arial"/>
                <a:cs typeface="Arial"/>
                <a:sym typeface="Arial"/>
              </a:rPr>
              <a:t>M Units</a:t>
            </a:r>
            <a:endParaRPr lang="en-US" sz="900" dirty="0">
              <a:latin typeface="Arial"/>
              <a:cs typeface="Arial"/>
              <a:sym typeface="Arial"/>
            </a:endParaRPr>
          </a:p>
        </p:txBody>
      </p:sp>
      <p:sp>
        <p:nvSpPr>
          <p:cNvPr id="4101" name="Rectangle 4100">
            <a:extLst>
              <a:ext uri="{FF2B5EF4-FFF2-40B4-BE49-F238E27FC236}">
                <a16:creationId xmlns:a16="http://schemas.microsoft.com/office/drawing/2014/main" id="{561D56B0-D2FE-4776-8809-D7267C2D7E6C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2533650" y="5116513"/>
            <a:ext cx="15875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B3E86D9-AE4C-4DBE-A3DD-9F465F128BDF}" type="datetime'''''''2''''1'''''">
              <a:rPr lang="en-US" altLang="en-US" sz="900" smtClean="0">
                <a:solidFill>
                  <a:schemeClr val="bg1"/>
                </a:solidFill>
                <a:effectLst/>
              </a:rPr>
              <a:pPr/>
              <a:t>21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10" name="Text Placeholder 43">
            <a:extLst>
              <a:ext uri="{FF2B5EF4-FFF2-40B4-BE49-F238E27FC236}">
                <a16:creationId xmlns:a16="http://schemas.microsoft.com/office/drawing/2014/main" id="{F54F1569-A9CF-43EE-A878-C02C2E4466A8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867400" y="5291138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030D017-166F-40CE-BB77-3C52730B42E6}" type="datetime'''''''''''''''''''''''''''''''''''2''0''''''''''2''''''1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2021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34" name="Text Placeholder 30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801813" y="5291138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191A001-AFEB-425A-8C24-59F848971DE5}" type="datetime'''''''''2''''''''''''''0''1''5'''''''''">
              <a:rPr lang="en-US" altLang="en-US" sz="900" b="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2015</a:t>
            </a:fld>
            <a:endParaRPr lang="el-GR" sz="9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76" name="Text Placeholder 7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23950" y="5291138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94A6F83-69D8-4BC8-978C-2180E5456A2D}" type="datetime'''''''2''''''''''''''0''''''''''14'''''''">
              <a:rPr lang="en-US" altLang="en-US" sz="900" b="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2014</a:t>
            </a:fld>
            <a:endParaRPr lang="el-GR" sz="9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3C3207FE-8DE4-ACD5-147C-61B119D6C269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7923213" y="2809875"/>
            <a:ext cx="2222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6A641CF-3A8A-4222-BB79-8B2BFF5E3B66}" type="datetime'''''''''''''4''''4''''''''''''1'''''''''''''''''''''''''''''">
              <a:rPr lang="en-US" altLang="en-US" sz="900" smtClean="0">
                <a:solidFill>
                  <a:schemeClr val="tx1"/>
                </a:solidFill>
              </a:rPr>
              <a:pPr/>
              <a:t>441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86" name="Text Placeholder 43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479675" y="5291138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B05750DD-5A62-4C1D-8D56-E16B2E89B658}" type="datetime'''''''''2''0''''''1''''''''''''''''6'''''''''''">
              <a:rPr lang="en-US" altLang="en-US" sz="900" smtClean="0">
                <a:solidFill>
                  <a:schemeClr val="tx1"/>
                </a:solidFill>
              </a:rPr>
              <a:pPr/>
              <a:t>2016</a:t>
            </a:fld>
            <a:endParaRPr lang="el-GR" sz="900">
              <a:solidFill>
                <a:schemeClr val="tx1"/>
              </a:solidFill>
              <a:sym typeface="Arial"/>
            </a:endParaRPr>
          </a:p>
        </p:txBody>
      </p:sp>
      <p:sp>
        <p:nvSpPr>
          <p:cNvPr id="244" name="Text Placeholder 43">
            <a:extLst>
              <a:ext uri="{FF2B5EF4-FFF2-40B4-BE49-F238E27FC236}">
                <a16:creationId xmlns:a16="http://schemas.microsoft.com/office/drawing/2014/main" id="{2D3891C4-6D68-A8BB-CDC2-A532D732ED6A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207250" y="5291137"/>
            <a:ext cx="298450" cy="27305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48154BA-2870-483D-ACBE-57AEA0143E87}" type="datetime'''''''''''MA''''''T''''&#10;''''''0''''''3''''''/2''''''2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MAT
03/22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2DE4B493-6F03-4F12-AAD8-BF93F4DCC6BD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4533900" y="2960688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476F7D3-F657-468C-8D2D-3454798DC30C}" type="datetime'''4''''''1''''''''''''1'''''''''">
              <a:rPr lang="en-US" altLang="en-US" sz="900" smtClean="0">
                <a:solidFill>
                  <a:schemeClr val="tx1"/>
                </a:solidFill>
              </a:rPr>
              <a:pPr/>
              <a:t>411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96" name="Text Placeholder 43">
            <a:extLst>
              <a:ext uri="{FF2B5EF4-FFF2-40B4-BE49-F238E27FC236}">
                <a16:creationId xmlns:a16="http://schemas.microsoft.com/office/drawing/2014/main" id="{A141F700-E6E5-4BB1-A056-1CA14EB48BC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545263" y="5291138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9103139F-1111-4D22-821E-696F10AA6C44}" type="datetime'''''2''''''''''''''''''''''''0''''''''2''''''''''''''''''''2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2022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219" name="Text Placeholder 43">
            <a:extLst>
              <a:ext uri="{FF2B5EF4-FFF2-40B4-BE49-F238E27FC236}">
                <a16:creationId xmlns:a16="http://schemas.microsoft.com/office/drawing/2014/main" id="{0B8621D1-BD8F-429D-8A8F-EF5CFB134833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189538" y="5291138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61A8BBB-3CB6-4215-BEB5-DBA65D6A8E74}" type="datetime'20''''''''''''''''''''''''''''''''''''''''''''''2''0'''''''">
              <a:rPr lang="en-US" altLang="en-US" sz="900" smtClean="0">
                <a:solidFill>
                  <a:schemeClr val="tx1"/>
                </a:solidFill>
              </a:rPr>
              <a:pPr/>
              <a:t>2020</a:t>
            </a:fld>
            <a:endParaRPr lang="el-GR" sz="900">
              <a:solidFill>
                <a:schemeClr val="tx1"/>
              </a:solidFill>
              <a:sym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01DEAD6-030A-42B0-865B-84020E57F245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5243513" y="5113338"/>
            <a:ext cx="15875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16DD00A-43CD-4141-BD6D-6525D5023C5C}" type="datetime'''''''''''''''2''''''''''''''''''''''''''''''''''2'">
              <a:rPr lang="en-US" altLang="en-US" sz="900" smtClean="0">
                <a:solidFill>
                  <a:schemeClr val="bg1"/>
                </a:solidFill>
                <a:effectLst/>
              </a:rPr>
              <a:pPr/>
              <a:t>22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15" name="Text Placeholder 43">
            <a:extLst>
              <a:ext uri="{FF2B5EF4-FFF2-40B4-BE49-F238E27FC236}">
                <a16:creationId xmlns:a16="http://schemas.microsoft.com/office/drawing/2014/main" id="{35212387-A2E4-4D99-86B2-C8C80D625725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511675" y="5291138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B42A545-5BE7-4C48-AAD2-50A06A7A492A}" type="datetime'''''''''''2''01''''''''''''''''''''9'''''''''">
              <a:rPr lang="en-US" altLang="en-US" sz="900" smtClean="0">
                <a:solidFill>
                  <a:schemeClr val="tx1"/>
                </a:solidFill>
              </a:rPr>
              <a:pPr/>
              <a:t>2019</a:t>
            </a:fld>
            <a:endParaRPr lang="el-GR" sz="900">
              <a:solidFill>
                <a:schemeClr val="tx1"/>
              </a:solidFill>
              <a:sym typeface="Arial"/>
            </a:endParaRPr>
          </a:p>
        </p:txBody>
      </p:sp>
      <p:sp>
        <p:nvSpPr>
          <p:cNvPr id="104" name="Text Placeholder 43">
            <a:extLst>
              <a:ext uri="{FF2B5EF4-FFF2-40B4-BE49-F238E27FC236}">
                <a16:creationId xmlns:a16="http://schemas.microsoft.com/office/drawing/2014/main" id="{49BEB58D-94BE-470B-87B6-C366069405EF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835400" y="5291138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39B4205-19E2-4CE7-9AEE-1644B669D148}" type="datetime'''''''''''''''''''2''''''''''''''0''''''''''''''''''''''18'">
              <a:rPr lang="en-US" altLang="en-US" sz="900" smtClean="0">
                <a:solidFill>
                  <a:schemeClr val="tx1"/>
                </a:solidFill>
              </a:rPr>
              <a:pPr/>
              <a:t>2018</a:t>
            </a:fld>
            <a:endParaRPr lang="el-GR" sz="900">
              <a:solidFill>
                <a:schemeClr val="tx1"/>
              </a:solidFill>
              <a:sym typeface="Arial"/>
            </a:endParaRPr>
          </a:p>
        </p:txBody>
      </p:sp>
      <p:sp>
        <p:nvSpPr>
          <p:cNvPr id="248" name="Text Placeholder 43">
            <a:extLst>
              <a:ext uri="{FF2B5EF4-FFF2-40B4-BE49-F238E27FC236}">
                <a16:creationId xmlns:a16="http://schemas.microsoft.com/office/drawing/2014/main" id="{62E5E382-9285-B838-5BF6-408C98581842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885113" y="5291137"/>
            <a:ext cx="298450" cy="27305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DC643DF-546E-4DA5-8C83-7FC3347153CE}" type="datetime'M''''A''''''''''T''''''''''''''&#10;''0''''''''''3''/''2''3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MAT
03/23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D4FF212-3FD9-44DE-8548-6E87EA070314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3857625" y="2998788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EE0A3A6-8836-4525-815E-B4E6BC13AEE2}" type="datetime'''''''''''''''''''''''''''''''4''0''''''4'''''''''''''''''''">
              <a:rPr lang="en-US" altLang="en-US" sz="900" smtClean="0">
                <a:solidFill>
                  <a:schemeClr val="tx1"/>
                </a:solidFill>
              </a:rPr>
              <a:pPr/>
              <a:t>404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77" name="Text Placeholder 8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146175" y="3176588"/>
            <a:ext cx="2222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5283788-81D8-4F9B-9DF6-97225B4EA500}" type="datetime'''''''''''''''''''''3''''''''''''''''''''6''''''''''7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367</a:t>
            </a:fld>
            <a:endParaRPr lang="el-GR" sz="900" b="0" dirty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2E78CB8F-049C-4E61-B552-DDEA9FF09491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6567488" y="2847975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806C5F4-9D35-45BB-A30D-A0D49CC92A8A}" type="datetime'''''''''''''''''''''''''''4''''''''''''''''3''''3'">
              <a:rPr lang="en-US" altLang="en-US" sz="900" smtClean="0">
                <a:solidFill>
                  <a:schemeClr val="tx1"/>
                </a:solidFill>
              </a:rPr>
              <a:pPr/>
              <a:t>433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87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2501900" y="3078163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8E8A4C9-9353-4E2C-99B2-B7F0D38F8027}" type="datetime'''''''''3''''''''''''''''''''''''''''''8''''''6'">
              <a:rPr lang="en-US" altLang="en-US" sz="900" smtClean="0">
                <a:solidFill>
                  <a:schemeClr val="tx1"/>
                </a:solidFill>
                <a:latin typeface="+mn-lt"/>
                <a:cs typeface="+mn-cs"/>
              </a:rPr>
              <a:pPr/>
              <a:t>386</a:t>
            </a:fld>
            <a:endParaRPr lang="el-GR" sz="900" dirty="0">
              <a:solidFill>
                <a:schemeClr val="tx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87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3179763" y="3044825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96A5B53-8660-47EC-852D-C61C2B5E278E}" type="datetime'39''''3'">
              <a:rPr lang="en-US" altLang="en-US" sz="900" smtClean="0">
                <a:solidFill>
                  <a:schemeClr val="tx1"/>
                </a:solidFill>
                <a:latin typeface="+mn-lt"/>
                <a:cs typeface="+mn-cs"/>
              </a:rPr>
              <a:pPr/>
              <a:t>393</a:t>
            </a:fld>
            <a:endParaRPr lang="el-GR" sz="900" dirty="0">
              <a:solidFill>
                <a:schemeClr val="tx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CE7DCFCA-0D4E-4BB7-A64C-B2A47865BDF5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5211763" y="2952750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3958027-D76D-4300-82F7-77AE74E28AFE}" type="datetime'''''''''''''''41''''''''''''''''''''''''''''3'''''">
              <a:rPr lang="en-US" altLang="en-US" sz="900" smtClean="0">
                <a:solidFill>
                  <a:schemeClr val="tx1"/>
                </a:solidFill>
              </a:rPr>
              <a:pPr/>
              <a:t>413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ED2ABDE-88E4-42EE-B939-096E9F9B2290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4056063" y="2673350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49D8700-F3DF-49D2-A40B-6D68B6DB34C3}" type="datetime'''''''''''+''1''''''''''.''''''''''8''''''%''''''''''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1.8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5" name="Text Placeholder 136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4413250" y="2192338"/>
            <a:ext cx="463550" cy="176213"/>
          </a:xfrm>
          <a:prstGeom prst="ellipse">
            <a:avLst/>
          </a:prstGeom>
          <a:solidFill>
            <a:srgbClr val="007770"/>
          </a:solidFill>
          <a:ln w="9525">
            <a:solidFill>
              <a:schemeClr val="hlink"/>
            </a:solidFill>
          </a:ln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74E7FF08-01EC-42A6-A19D-CD48733AE347}" type="datetime'''''''+''''''''''''''''1.''''9%''''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</a:rPr>
              <a:pPr/>
              <a:t>+1.9%</a:t>
            </a:fld>
            <a:endParaRPr lang="el-GR" sz="900" dirty="0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099" name="Oval 4098">
            <a:extLst>
              <a:ext uri="{FF2B5EF4-FFF2-40B4-BE49-F238E27FC236}">
                <a16:creationId xmlns:a16="http://schemas.microsoft.com/office/drawing/2014/main" id="{EFBA4AB6-78CA-4303-A9D3-857A14460205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4751388" y="2665413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CF970EF-6AFC-4138-AA23-42500CDE60CD}" type="datetime'''''''''''''''''''''''''''''''''''+''0''.4''''''''%''''''''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0.4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8" name="Text Placeholder 264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091113" y="2357438"/>
            <a:ext cx="463550" cy="176213"/>
          </a:xfrm>
          <a:prstGeom prst="ellipse">
            <a:avLst/>
          </a:prstGeom>
          <a:solidFill>
            <a:srgbClr val="007770"/>
          </a:solidFill>
          <a:ln w="9525">
            <a:solidFill>
              <a:schemeClr val="hlink"/>
            </a:solidFill>
          </a:ln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F784BA9D-5395-4D41-B4CB-0277FD28B285}" type="datetime'''+''''''''''''''''''''''''''1''.''''8%''''''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</a:rPr>
              <a:pPr/>
              <a:t>+1.8%</a:t>
            </a:fld>
            <a:endParaRPr lang="el-GR" sz="900" dirty="0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25" name="Oval 224">
            <a:extLst>
              <a:ext uri="{FF2B5EF4-FFF2-40B4-BE49-F238E27FC236}">
                <a16:creationId xmlns:a16="http://schemas.microsoft.com/office/drawing/2014/main" id="{9D3FDAC3-F562-4A7C-A2D3-B9FC5A40CE3A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5429250" y="2635250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733B7B8-30DA-4D38-9271-07C89F93D185}" type="datetime'''''''''''''''''''''''''''''''+1''''''''''''''''''.''''''4''%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1.4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6" name="Oval 235">
            <a:extLst>
              <a:ext uri="{FF2B5EF4-FFF2-40B4-BE49-F238E27FC236}">
                <a16:creationId xmlns:a16="http://schemas.microsoft.com/office/drawing/2014/main" id="{278C913D-88D6-4DA4-BB5C-4DAD230EA6E4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6126163" y="2560638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8253289-4A87-4F01-B45E-463D9FA55092}" type="datetime'''''''''''''''''''''''''''''''''+''''''''3''''''.''''5''''%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3.5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27" name="Oval 4126">
            <a:extLst>
              <a:ext uri="{FF2B5EF4-FFF2-40B4-BE49-F238E27FC236}">
                <a16:creationId xmlns:a16="http://schemas.microsoft.com/office/drawing/2014/main" id="{4CD28734-B611-BA92-AAE3-268EC6CBC764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7462838" y="2522538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00" b="1" dirty="0">
                <a:solidFill>
                  <a:schemeClr val="bg1"/>
                </a:solidFill>
                <a:effectLst/>
              </a:rPr>
              <a:t>+3.5%</a:t>
            </a:r>
            <a:endParaRPr lang="en-US" sz="900" b="1" dirty="0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3" name="Oval 106"/>
          <p:cNvSpPr>
            <a:spLocks noChangeArrowheads="1"/>
          </p:cNvSpPr>
          <p:nvPr/>
        </p:nvSpPr>
        <p:spPr bwMode="auto">
          <a:xfrm>
            <a:off x="1714267" y="5652260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latin typeface="+mn-lt"/>
              </a:rPr>
              <a:t>33.7%</a:t>
            </a:r>
            <a:endParaRPr lang="en-US" sz="1000" dirty="0">
              <a:latin typeface="+mn-lt"/>
            </a:endParaRPr>
          </a:p>
        </p:txBody>
      </p:sp>
      <p:sp>
        <p:nvSpPr>
          <p:cNvPr id="204" name="Oval 106"/>
          <p:cNvSpPr>
            <a:spLocks noChangeArrowheads="1"/>
          </p:cNvSpPr>
          <p:nvPr/>
        </p:nvSpPr>
        <p:spPr bwMode="auto">
          <a:xfrm>
            <a:off x="1036705" y="5652260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latin typeface="+mn-lt"/>
              </a:rPr>
              <a:t>33.0%</a:t>
            </a:r>
            <a:endParaRPr lang="en-US" sz="1000" dirty="0">
              <a:latin typeface="+mn-lt"/>
            </a:endParaRPr>
          </a:p>
        </p:txBody>
      </p:sp>
      <p:sp>
        <p:nvSpPr>
          <p:cNvPr id="205" name="Oval 106"/>
          <p:cNvSpPr>
            <a:spLocks noChangeArrowheads="1"/>
          </p:cNvSpPr>
          <p:nvPr/>
        </p:nvSpPr>
        <p:spPr bwMode="auto">
          <a:xfrm>
            <a:off x="2391829" y="5652260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latin typeface="+mn-lt"/>
              </a:rPr>
              <a:t>35.3%</a:t>
            </a:r>
            <a:endParaRPr lang="en-US" sz="1000" dirty="0">
              <a:latin typeface="+mn-lt"/>
            </a:endParaRPr>
          </a:p>
        </p:txBody>
      </p:sp>
      <p:sp>
        <p:nvSpPr>
          <p:cNvPr id="206" name="Oval 106"/>
          <p:cNvSpPr>
            <a:spLocks noChangeArrowheads="1"/>
          </p:cNvSpPr>
          <p:nvPr/>
        </p:nvSpPr>
        <p:spPr bwMode="auto">
          <a:xfrm>
            <a:off x="3069391" y="5652260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latin typeface="+mn-lt"/>
              </a:rPr>
              <a:t>35.4%</a:t>
            </a:r>
            <a:endParaRPr lang="en-US" sz="1000" dirty="0">
              <a:latin typeface="+mn-lt"/>
            </a:endParaRPr>
          </a:p>
        </p:txBody>
      </p:sp>
      <p:sp>
        <p:nvSpPr>
          <p:cNvPr id="207" name="Oval 106"/>
          <p:cNvSpPr>
            <a:spLocks noChangeArrowheads="1"/>
          </p:cNvSpPr>
          <p:nvPr/>
        </p:nvSpPr>
        <p:spPr bwMode="auto">
          <a:xfrm>
            <a:off x="3746953" y="5652260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>
                <a:latin typeface="+mn-lt"/>
              </a:rPr>
              <a:t>36.1%</a:t>
            </a:r>
            <a:endParaRPr lang="en-US" sz="1000" dirty="0">
              <a:latin typeface="+mn-lt"/>
            </a:endParaRPr>
          </a:p>
        </p:txBody>
      </p:sp>
      <p:sp>
        <p:nvSpPr>
          <p:cNvPr id="93" name="Text Box 123">
            <a:extLst>
              <a:ext uri="{FF2B5EF4-FFF2-40B4-BE49-F238E27FC236}">
                <a16:creationId xmlns:a16="http://schemas.microsoft.com/office/drawing/2014/main" id="{8ECE62DF-EFF1-4386-80B4-D81E9083057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1000" y="5652260"/>
            <a:ext cx="579324" cy="2354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900" i="1" dirty="0">
                <a:latin typeface="+mj-lt"/>
              </a:rPr>
              <a:t>Generics</a:t>
            </a:r>
          </a:p>
          <a:p>
            <a:pPr algn="ctr">
              <a:lnSpc>
                <a:spcPct val="85000"/>
              </a:lnSpc>
            </a:pPr>
            <a:r>
              <a:rPr lang="en-US" sz="900" i="1" dirty="0" err="1">
                <a:latin typeface="+mj-lt"/>
              </a:rPr>
              <a:t>m.s</a:t>
            </a:r>
            <a:r>
              <a:rPr lang="en-US" sz="900" i="1" dirty="0">
                <a:latin typeface="+mj-lt"/>
              </a:rPr>
              <a:t> (%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C7727A8-A08C-4A5F-A3E6-B89787290E0B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9340850" y="1611313"/>
            <a:ext cx="160338" cy="120650"/>
          </a:xfrm>
          <a:prstGeom prst="rect">
            <a:avLst/>
          </a:prstGeom>
          <a:solidFill>
            <a:srgbClr val="CAE3FF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75A3AF8-BBB4-4288-A28C-AC0C0E868336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9340850" y="1798638"/>
            <a:ext cx="160338" cy="120650"/>
          </a:xfrm>
          <a:prstGeom prst="rect">
            <a:avLst/>
          </a:prstGeom>
          <a:solidFill>
            <a:srgbClr val="09AAFF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D4659A9-4026-47B5-9202-A4843662DA67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9340850" y="2173288"/>
            <a:ext cx="160338" cy="120650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8DEA22D-49C5-4A70-9A97-AAEF30A57EA6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9340850" y="1985963"/>
            <a:ext cx="160338" cy="1206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F21B81-8790-4FF0-979A-CC1A90EDD05B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9551988" y="1608138"/>
            <a:ext cx="285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1173424-4549-4494-8179-E9BB3B2CF269}" type="datetime'''''''''O''''''t''''''''''''h''''''''''''''''''''er''''''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Other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4D4BC1C-ADD5-469E-9156-1E47FF21E8FB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9551988" y="2170113"/>
            <a:ext cx="5016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667FD8B-216A-4261-BBE0-1F7F89586CE3}" type="datetime'O''''''''''n ''p''''''''a''t''''''''''''''''''e''''n''t''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On patent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3A491FD-6F5A-4932-B6F3-B3DDD0C334EB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9551988" y="1795463"/>
            <a:ext cx="4572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553FF7B-34C8-4F6A-AD7E-953DA70EAAFC}" type="datetime'Ge''''n''''''''''''''''''''''e''''''''''''''ri''''''''''cs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Generics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6CB3CC3-2AB8-4906-9C83-F1B5E47E1246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9551988" y="1982788"/>
            <a:ext cx="5016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B937CE7-9F74-44CF-9AE2-6887B581892D}" type="datetime'O''''f''''''f'' p''a''''t''''''''''''''''''en''t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Off patent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6" name="Oval 106">
            <a:extLst>
              <a:ext uri="{FF2B5EF4-FFF2-40B4-BE49-F238E27FC236}">
                <a16:creationId xmlns:a16="http://schemas.microsoft.com/office/drawing/2014/main" id="{64F16A97-271C-4F11-AF38-D0BE84E76C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24515" y="5652260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>
                <a:latin typeface="+mn-lt"/>
              </a:rPr>
              <a:t>36.9%</a:t>
            </a:r>
          </a:p>
        </p:txBody>
      </p:sp>
      <p:sp>
        <p:nvSpPr>
          <p:cNvPr id="227" name="Oval 106">
            <a:extLst>
              <a:ext uri="{FF2B5EF4-FFF2-40B4-BE49-F238E27FC236}">
                <a16:creationId xmlns:a16="http://schemas.microsoft.com/office/drawing/2014/main" id="{F9B6B443-F069-482C-B61B-C18EE83FE5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2077" y="5652260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>
                <a:latin typeface="+mn-lt"/>
              </a:rPr>
              <a:t>3</a:t>
            </a:r>
            <a:r>
              <a:rPr lang="el-GR" sz="1000" dirty="0">
                <a:latin typeface="+mn-lt"/>
              </a:rPr>
              <a:t>7</a:t>
            </a:r>
            <a:r>
              <a:rPr lang="en-US" sz="1000" dirty="0">
                <a:latin typeface="+mn-lt"/>
              </a:rPr>
              <a:t>.</a:t>
            </a:r>
            <a:r>
              <a:rPr lang="el-GR" sz="1000" dirty="0">
                <a:latin typeface="+mn-lt"/>
              </a:rPr>
              <a:t>6</a:t>
            </a:r>
            <a:r>
              <a:rPr lang="en-US" sz="1000" dirty="0">
                <a:latin typeface="+mn-lt"/>
              </a:rPr>
              <a:t>%</a:t>
            </a:r>
          </a:p>
        </p:txBody>
      </p:sp>
      <p:sp>
        <p:nvSpPr>
          <p:cNvPr id="107" name="TextBox 60">
            <a:extLst>
              <a:ext uri="{FF2B5EF4-FFF2-40B4-BE49-F238E27FC236}">
                <a16:creationId xmlns:a16="http://schemas.microsoft.com/office/drawing/2014/main" id="{204B3A29-E500-49EE-9BE2-87605851BCB5}"/>
              </a:ext>
            </a:extLst>
          </p:cNvPr>
          <p:cNvSpPr txBox="1">
            <a:spLocks/>
          </p:cNvSpPr>
          <p:nvPr/>
        </p:nvSpPr>
        <p:spPr bwMode="auto">
          <a:xfrm>
            <a:off x="9193415" y="3901561"/>
            <a:ext cx="865187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>
            <a:spAutoFit/>
          </a:bodyPr>
          <a:lstStyle/>
          <a:p>
            <a:pPr algn="ctr"/>
            <a:r>
              <a:rPr lang="el-GR" sz="1100" dirty="0">
                <a:solidFill>
                  <a:schemeClr val="bg1"/>
                </a:solidFill>
                <a:latin typeface="+mn-lt"/>
              </a:rPr>
              <a:t>+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2.2%</a:t>
            </a:r>
            <a:endParaRPr lang="el-GR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8" name="TextBox 61">
            <a:extLst>
              <a:ext uri="{FF2B5EF4-FFF2-40B4-BE49-F238E27FC236}">
                <a16:creationId xmlns:a16="http://schemas.microsoft.com/office/drawing/2014/main" id="{DC6294C8-0E4A-494B-82C8-3100F6619E0C}"/>
              </a:ext>
            </a:extLst>
          </p:cNvPr>
          <p:cNvSpPr txBox="1">
            <a:spLocks/>
          </p:cNvSpPr>
          <p:nvPr/>
        </p:nvSpPr>
        <p:spPr bwMode="auto">
          <a:xfrm>
            <a:off x="9236277" y="5028958"/>
            <a:ext cx="822325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36000" rIns="0" bIns="36000">
            <a:sp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+mn-lt"/>
              </a:rPr>
              <a:t>-12.9%</a:t>
            </a:r>
            <a:endParaRPr lang="el-GR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7" name="TextBox 61">
            <a:extLst>
              <a:ext uri="{FF2B5EF4-FFF2-40B4-BE49-F238E27FC236}">
                <a16:creationId xmlns:a16="http://schemas.microsoft.com/office/drawing/2014/main" id="{1AA69F00-A937-4DBF-B965-282C95E99A2E}"/>
              </a:ext>
            </a:extLst>
          </p:cNvPr>
          <p:cNvSpPr txBox="1">
            <a:spLocks/>
          </p:cNvSpPr>
          <p:nvPr/>
        </p:nvSpPr>
        <p:spPr bwMode="auto">
          <a:xfrm>
            <a:off x="9236277" y="4575518"/>
            <a:ext cx="822325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36000" rIns="0" bIns="36000">
            <a:spAutoFit/>
          </a:bodyPr>
          <a:lstStyle/>
          <a:p>
            <a:pPr algn="ctr"/>
            <a:r>
              <a:rPr lang="el-GR" sz="1100" dirty="0">
                <a:solidFill>
                  <a:schemeClr val="bg1"/>
                </a:solidFill>
                <a:latin typeface="+mn-lt"/>
              </a:rPr>
              <a:t>+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0.7%</a:t>
            </a:r>
            <a:endParaRPr lang="el-GR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7" name="Oval 106">
            <a:extLst>
              <a:ext uri="{FF2B5EF4-FFF2-40B4-BE49-F238E27FC236}">
                <a16:creationId xmlns:a16="http://schemas.microsoft.com/office/drawing/2014/main" id="{18757553-8F71-48BF-BAFC-2C3474E6D8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79639" y="5652260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/>
              <a:t>38.5</a:t>
            </a:r>
            <a:r>
              <a:rPr lang="en-US" sz="1000" dirty="0">
                <a:latin typeface="+mn-lt"/>
              </a:rPr>
              <a:t>%</a:t>
            </a:r>
          </a:p>
        </p:txBody>
      </p:sp>
      <p:sp>
        <p:nvSpPr>
          <p:cNvPr id="171" name="Rounded Rectangle 169">
            <a:extLst>
              <a:ext uri="{FF2B5EF4-FFF2-40B4-BE49-F238E27FC236}">
                <a16:creationId xmlns:a16="http://schemas.microsoft.com/office/drawing/2014/main" id="{5B641B59-E106-40EB-BC99-740276F65133}"/>
              </a:ext>
            </a:extLst>
          </p:cNvPr>
          <p:cNvSpPr>
            <a:spLocks/>
          </p:cNvSpPr>
          <p:nvPr/>
        </p:nvSpPr>
        <p:spPr bwMode="auto">
          <a:xfrm>
            <a:off x="9294123" y="4719210"/>
            <a:ext cx="2053908" cy="390546"/>
          </a:xfrm>
          <a:prstGeom prst="roundRect">
            <a:avLst/>
          </a:prstGeom>
          <a:solidFill>
            <a:srgbClr val="005587"/>
          </a:solidFill>
          <a:ln w="15875" cap="flat" cmpd="sng" algn="ctr">
            <a:solidFill>
              <a:schemeClr val="accent1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72" name="Rounded Rectangle 170">
            <a:extLst>
              <a:ext uri="{FF2B5EF4-FFF2-40B4-BE49-F238E27FC236}">
                <a16:creationId xmlns:a16="http://schemas.microsoft.com/office/drawing/2014/main" id="{4A415E91-1824-494B-9538-E021551E9595}"/>
              </a:ext>
            </a:extLst>
          </p:cNvPr>
          <p:cNvSpPr>
            <a:spLocks/>
          </p:cNvSpPr>
          <p:nvPr/>
        </p:nvSpPr>
        <p:spPr bwMode="auto">
          <a:xfrm>
            <a:off x="9294123" y="3400550"/>
            <a:ext cx="2053908" cy="390546"/>
          </a:xfrm>
          <a:prstGeom prst="roundRect">
            <a:avLst/>
          </a:prstGeom>
          <a:solidFill>
            <a:srgbClr val="25B4FF"/>
          </a:solidFill>
          <a:ln w="15875" cap="flat" cmpd="sng" algn="ctr">
            <a:solidFill>
              <a:schemeClr val="accent1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1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sp>
        <p:nvSpPr>
          <p:cNvPr id="173" name="TextBox 60">
            <a:extLst>
              <a:ext uri="{FF2B5EF4-FFF2-40B4-BE49-F238E27FC236}">
                <a16:creationId xmlns:a16="http://schemas.microsoft.com/office/drawing/2014/main" id="{2567619D-EE2B-4537-92FC-7DFC51BAE458}"/>
              </a:ext>
            </a:extLst>
          </p:cNvPr>
          <p:cNvSpPr txBox="1">
            <a:spLocks/>
          </p:cNvSpPr>
          <p:nvPr/>
        </p:nvSpPr>
        <p:spPr bwMode="auto">
          <a:xfrm>
            <a:off x="9237297" y="3474833"/>
            <a:ext cx="865187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+7.4%</a:t>
            </a:r>
            <a:endParaRPr lang="el-GR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4" name="TextBox 61">
            <a:extLst>
              <a:ext uri="{FF2B5EF4-FFF2-40B4-BE49-F238E27FC236}">
                <a16:creationId xmlns:a16="http://schemas.microsoft.com/office/drawing/2014/main" id="{87A59467-5920-40F7-94A0-37262DD0AA86}"/>
              </a:ext>
            </a:extLst>
          </p:cNvPr>
          <p:cNvSpPr txBox="1">
            <a:spLocks/>
          </p:cNvSpPr>
          <p:nvPr/>
        </p:nvSpPr>
        <p:spPr bwMode="auto">
          <a:xfrm>
            <a:off x="9258728" y="4793822"/>
            <a:ext cx="822325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36000" rIns="0" bIns="3600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+2.3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%</a:t>
            </a:r>
            <a:endParaRPr lang="el-GR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5" name="TextBox 72">
            <a:extLst>
              <a:ext uri="{FF2B5EF4-FFF2-40B4-BE49-F238E27FC236}">
                <a16:creationId xmlns:a16="http://schemas.microsoft.com/office/drawing/2014/main" id="{4522CBA2-F317-4806-886D-25B132BB3092}"/>
              </a:ext>
            </a:extLst>
          </p:cNvPr>
          <p:cNvSpPr txBox="1">
            <a:spLocks/>
          </p:cNvSpPr>
          <p:nvPr/>
        </p:nvSpPr>
        <p:spPr bwMode="auto">
          <a:xfrm>
            <a:off x="10033551" y="3474833"/>
            <a:ext cx="698500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36000" rIns="0" bIns="3600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+mn-lt"/>
              </a:rPr>
              <a:t>+</a:t>
            </a:r>
            <a:r>
              <a:rPr lang="en-US" sz="1100" dirty="0">
                <a:solidFill>
                  <a:schemeClr val="bg1"/>
                </a:solidFill>
              </a:rPr>
              <a:t>4.1</a:t>
            </a:r>
            <a:r>
              <a:rPr lang="el-GR" sz="1100" dirty="0">
                <a:solidFill>
                  <a:schemeClr val="bg1"/>
                </a:solidFill>
                <a:latin typeface="+mn-lt"/>
              </a:rPr>
              <a:t>%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6" name="TextBox 73">
            <a:extLst>
              <a:ext uri="{FF2B5EF4-FFF2-40B4-BE49-F238E27FC236}">
                <a16:creationId xmlns:a16="http://schemas.microsoft.com/office/drawing/2014/main" id="{76EB9DF8-E82B-4017-B016-3C0D0ADCD227}"/>
              </a:ext>
            </a:extLst>
          </p:cNvPr>
          <p:cNvSpPr txBox="1">
            <a:spLocks/>
          </p:cNvSpPr>
          <p:nvPr/>
        </p:nvSpPr>
        <p:spPr bwMode="auto">
          <a:xfrm>
            <a:off x="10033551" y="4793822"/>
            <a:ext cx="698500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36000" rIns="0" bIns="3600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-0.7%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7" name="TextBox 72">
            <a:extLst>
              <a:ext uri="{FF2B5EF4-FFF2-40B4-BE49-F238E27FC236}">
                <a16:creationId xmlns:a16="http://schemas.microsoft.com/office/drawing/2014/main" id="{3830E2CD-652D-443C-8A14-C79336C2E620}"/>
              </a:ext>
            </a:extLst>
          </p:cNvPr>
          <p:cNvSpPr txBox="1">
            <a:spLocks/>
          </p:cNvSpPr>
          <p:nvPr/>
        </p:nvSpPr>
        <p:spPr bwMode="auto">
          <a:xfrm>
            <a:off x="10726050" y="3474833"/>
            <a:ext cx="698500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36000" rIns="0" bIns="3600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+mn-lt"/>
              </a:rPr>
              <a:t>+5.1</a:t>
            </a:r>
            <a:r>
              <a:rPr lang="el-GR" sz="1100" dirty="0">
                <a:solidFill>
                  <a:schemeClr val="bg1"/>
                </a:solidFill>
                <a:latin typeface="+mn-lt"/>
              </a:rPr>
              <a:t>%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8" name="TextBox 73">
            <a:extLst>
              <a:ext uri="{FF2B5EF4-FFF2-40B4-BE49-F238E27FC236}">
                <a16:creationId xmlns:a16="http://schemas.microsoft.com/office/drawing/2014/main" id="{CC127961-A784-43EB-9497-6132FE3E6203}"/>
              </a:ext>
            </a:extLst>
          </p:cNvPr>
          <p:cNvSpPr txBox="1">
            <a:spLocks/>
          </p:cNvSpPr>
          <p:nvPr/>
        </p:nvSpPr>
        <p:spPr bwMode="auto">
          <a:xfrm>
            <a:off x="10726050" y="4793822"/>
            <a:ext cx="698500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36000" rIns="0" bIns="3600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-5.5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%</a:t>
            </a:r>
          </a:p>
        </p:txBody>
      </p:sp>
      <p:sp>
        <p:nvSpPr>
          <p:cNvPr id="179" name="Rounded Rectangle 169">
            <a:extLst>
              <a:ext uri="{FF2B5EF4-FFF2-40B4-BE49-F238E27FC236}">
                <a16:creationId xmlns:a16="http://schemas.microsoft.com/office/drawing/2014/main" id="{A2EC29B1-2345-4DE6-BB97-8206B2DDC726}"/>
              </a:ext>
            </a:extLst>
          </p:cNvPr>
          <p:cNvSpPr>
            <a:spLocks/>
          </p:cNvSpPr>
          <p:nvPr/>
        </p:nvSpPr>
        <p:spPr bwMode="auto">
          <a:xfrm>
            <a:off x="9294123" y="4048052"/>
            <a:ext cx="2053908" cy="390546"/>
          </a:xfrm>
          <a:prstGeom prst="roundRect">
            <a:avLst/>
          </a:prstGeom>
          <a:solidFill>
            <a:srgbClr val="0070C0"/>
          </a:solidFill>
          <a:ln w="15875" cap="flat" cmpd="sng" algn="ctr">
            <a:solidFill>
              <a:schemeClr val="accent1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81" name="TextBox 61">
            <a:extLst>
              <a:ext uri="{FF2B5EF4-FFF2-40B4-BE49-F238E27FC236}">
                <a16:creationId xmlns:a16="http://schemas.microsoft.com/office/drawing/2014/main" id="{D67B5B45-3C4A-46F7-9217-3BDA5F33BF1D}"/>
              </a:ext>
            </a:extLst>
          </p:cNvPr>
          <p:cNvSpPr txBox="1">
            <a:spLocks/>
          </p:cNvSpPr>
          <p:nvPr/>
        </p:nvSpPr>
        <p:spPr bwMode="auto">
          <a:xfrm>
            <a:off x="9258728" y="4122664"/>
            <a:ext cx="822325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36000" rIns="0" bIns="3600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+mn-lt"/>
              </a:rPr>
              <a:t>+2.6</a:t>
            </a:r>
            <a:r>
              <a:rPr lang="el-GR" sz="1100" dirty="0">
                <a:solidFill>
                  <a:schemeClr val="bg1"/>
                </a:solidFill>
                <a:latin typeface="+mn-lt"/>
              </a:rPr>
              <a:t>%</a:t>
            </a:r>
          </a:p>
        </p:txBody>
      </p:sp>
      <p:sp>
        <p:nvSpPr>
          <p:cNvPr id="182" name="TextBox 73">
            <a:extLst>
              <a:ext uri="{FF2B5EF4-FFF2-40B4-BE49-F238E27FC236}">
                <a16:creationId xmlns:a16="http://schemas.microsoft.com/office/drawing/2014/main" id="{7C389717-53BA-4473-912E-5EC8E57B6377}"/>
              </a:ext>
            </a:extLst>
          </p:cNvPr>
          <p:cNvSpPr txBox="1">
            <a:spLocks/>
          </p:cNvSpPr>
          <p:nvPr/>
        </p:nvSpPr>
        <p:spPr bwMode="auto">
          <a:xfrm>
            <a:off x="10033551" y="4122664"/>
            <a:ext cx="698500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36000" rIns="0" bIns="3600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+0.4%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3" name="TextBox 73">
            <a:extLst>
              <a:ext uri="{FF2B5EF4-FFF2-40B4-BE49-F238E27FC236}">
                <a16:creationId xmlns:a16="http://schemas.microsoft.com/office/drawing/2014/main" id="{F7A57EAA-15BB-4D0E-83CF-F61A46022726}"/>
              </a:ext>
            </a:extLst>
          </p:cNvPr>
          <p:cNvSpPr txBox="1">
            <a:spLocks/>
          </p:cNvSpPr>
          <p:nvPr/>
        </p:nvSpPr>
        <p:spPr bwMode="auto">
          <a:xfrm>
            <a:off x="10726050" y="4122664"/>
            <a:ext cx="698500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36000" rIns="0" bIns="3600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+1</a:t>
            </a:r>
            <a:r>
              <a:rPr lang="el-GR" sz="1100" dirty="0">
                <a:solidFill>
                  <a:schemeClr val="bg1"/>
                </a:solidFill>
              </a:rPr>
              <a:t>.</a:t>
            </a:r>
            <a:r>
              <a:rPr lang="en-US" sz="1100" dirty="0">
                <a:solidFill>
                  <a:schemeClr val="bg1"/>
                </a:solidFill>
              </a:rPr>
              <a:t>8</a:t>
            </a:r>
            <a:r>
              <a:rPr lang="el-GR" sz="1100" dirty="0">
                <a:solidFill>
                  <a:schemeClr val="bg1"/>
                </a:solidFill>
              </a:rPr>
              <a:t>%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4" name="Oval 183">
            <a:extLst>
              <a:ext uri="{FF2B5EF4-FFF2-40B4-BE49-F238E27FC236}">
                <a16:creationId xmlns:a16="http://schemas.microsoft.com/office/drawing/2014/main" id="{56950B86-744D-430F-9143-867936D1FE1B}"/>
              </a:ext>
            </a:extLst>
          </p:cNvPr>
          <p:cNvSpPr/>
          <p:nvPr/>
        </p:nvSpPr>
        <p:spPr>
          <a:xfrm>
            <a:off x="9292698" y="2854261"/>
            <a:ext cx="756000" cy="28800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400" dirty="0">
              <a:latin typeface="Arial"/>
            </a:endParaRPr>
          </a:p>
        </p:txBody>
      </p:sp>
      <p:sp>
        <p:nvSpPr>
          <p:cNvPr id="185" name="TextBox 60">
            <a:extLst>
              <a:ext uri="{FF2B5EF4-FFF2-40B4-BE49-F238E27FC236}">
                <a16:creationId xmlns:a16="http://schemas.microsoft.com/office/drawing/2014/main" id="{07A3E6F2-75B2-489E-8E06-DB5EDDDB14D5}"/>
              </a:ext>
            </a:extLst>
          </p:cNvPr>
          <p:cNvSpPr txBox="1">
            <a:spLocks/>
          </p:cNvSpPr>
          <p:nvPr/>
        </p:nvSpPr>
        <p:spPr bwMode="auto">
          <a:xfrm>
            <a:off x="9258728" y="2883520"/>
            <a:ext cx="822325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36000" rIns="0" bIns="36000">
            <a:spAutoFit/>
          </a:bodyPr>
          <a:lstStyle>
            <a:defPPr>
              <a:defRPr lang="en-US"/>
            </a:defPPr>
            <a:lvl1pPr algn="ctr">
              <a:defRPr sz="1100" b="1">
                <a:solidFill>
                  <a:srgbClr val="C00000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007770"/>
                </a:solidFill>
              </a:rPr>
              <a:t>+3.5</a:t>
            </a:r>
            <a:r>
              <a:rPr lang="el-GR" dirty="0">
                <a:solidFill>
                  <a:srgbClr val="007770"/>
                </a:solidFill>
              </a:rPr>
              <a:t>%</a:t>
            </a:r>
          </a:p>
        </p:txBody>
      </p:sp>
      <p:sp>
        <p:nvSpPr>
          <p:cNvPr id="186" name="TextBox 51">
            <a:extLst>
              <a:ext uri="{FF2B5EF4-FFF2-40B4-BE49-F238E27FC236}">
                <a16:creationId xmlns:a16="http://schemas.microsoft.com/office/drawing/2014/main" id="{8A8A55EE-827E-49C5-A8A2-5AE51C28E7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36277" y="2489820"/>
            <a:ext cx="8223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 b="1" i="1" dirty="0">
                <a:latin typeface="+mn-lt"/>
              </a:rPr>
              <a:t>%PPG</a:t>
            </a:r>
            <a:r>
              <a:rPr lang="en-US" sz="1000" b="1" i="1" baseline="30000" dirty="0">
                <a:latin typeface="+mn-lt"/>
              </a:rPr>
              <a:t>2</a:t>
            </a:r>
            <a:endParaRPr lang="el-GR" sz="1000" b="1" i="1" baseline="30000" dirty="0">
              <a:latin typeface="+mn-lt"/>
            </a:endParaRPr>
          </a:p>
        </p:txBody>
      </p:sp>
      <p:sp>
        <p:nvSpPr>
          <p:cNvPr id="188" name="TextBox 52">
            <a:extLst>
              <a:ext uri="{FF2B5EF4-FFF2-40B4-BE49-F238E27FC236}">
                <a16:creationId xmlns:a16="http://schemas.microsoft.com/office/drawing/2014/main" id="{C567ECBA-DB86-4A12-B4B8-3ED3C21F5E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33551" y="2419970"/>
            <a:ext cx="6985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algn="ctr"/>
            <a:r>
              <a:rPr lang="en-US" sz="1000" b="1" i="1" dirty="0">
                <a:latin typeface="+mn-lt"/>
              </a:rPr>
              <a:t>%CAGR</a:t>
            </a:r>
            <a:r>
              <a:rPr lang="en-US" sz="1000" b="1" i="1" baseline="30000" dirty="0">
                <a:latin typeface="+mn-lt"/>
              </a:rPr>
              <a:t>2</a:t>
            </a:r>
            <a:br>
              <a:rPr lang="en-US" sz="1000" b="1" i="1" dirty="0">
                <a:latin typeface="+mn-lt"/>
              </a:rPr>
            </a:br>
            <a:r>
              <a:rPr lang="en-US" sz="1000" b="1" i="1" dirty="0">
                <a:latin typeface="+mn-lt"/>
              </a:rPr>
              <a:t>(3-year)</a:t>
            </a:r>
            <a:endParaRPr lang="el-GR" sz="1000" b="1" i="1" dirty="0">
              <a:latin typeface="+mn-lt"/>
            </a:endParaRPr>
          </a:p>
        </p:txBody>
      </p:sp>
      <p:sp>
        <p:nvSpPr>
          <p:cNvPr id="189" name="TextBox 72">
            <a:extLst>
              <a:ext uri="{FF2B5EF4-FFF2-40B4-BE49-F238E27FC236}">
                <a16:creationId xmlns:a16="http://schemas.microsoft.com/office/drawing/2014/main" id="{467BE52A-E092-4F19-817B-090CA99EA967}"/>
              </a:ext>
            </a:extLst>
          </p:cNvPr>
          <p:cNvSpPr txBox="1">
            <a:spLocks/>
          </p:cNvSpPr>
          <p:nvPr/>
        </p:nvSpPr>
        <p:spPr bwMode="auto">
          <a:xfrm>
            <a:off x="10033551" y="2883520"/>
            <a:ext cx="698500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36000" rIns="0" bIns="36000">
            <a:spAutoFit/>
          </a:bodyPr>
          <a:lstStyle/>
          <a:p>
            <a:pPr algn="ctr"/>
            <a:r>
              <a:rPr lang="en-US" sz="1100" b="1" dirty="0">
                <a:solidFill>
                  <a:srgbClr val="007770"/>
                </a:solidFill>
                <a:latin typeface="+mn-lt"/>
              </a:rPr>
              <a:t>+1.5</a:t>
            </a:r>
            <a:r>
              <a:rPr lang="el-GR" sz="1100" b="1" dirty="0">
                <a:solidFill>
                  <a:srgbClr val="007770"/>
                </a:solidFill>
                <a:latin typeface="+mn-lt"/>
              </a:rPr>
              <a:t>%</a:t>
            </a:r>
          </a:p>
        </p:txBody>
      </p:sp>
      <p:sp>
        <p:nvSpPr>
          <p:cNvPr id="190" name="TextBox 52">
            <a:extLst>
              <a:ext uri="{FF2B5EF4-FFF2-40B4-BE49-F238E27FC236}">
                <a16:creationId xmlns:a16="http://schemas.microsoft.com/office/drawing/2014/main" id="{356818D7-C698-4B72-A5F0-B8B994978A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26050" y="2419970"/>
            <a:ext cx="6985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algn="ctr"/>
            <a:r>
              <a:rPr lang="en-US" sz="1000" b="1" i="1" dirty="0">
                <a:latin typeface="+mn-lt"/>
              </a:rPr>
              <a:t>%CAGR</a:t>
            </a:r>
            <a:r>
              <a:rPr lang="en-US" sz="1000" b="1" i="1" baseline="30000" dirty="0">
                <a:latin typeface="+mn-lt"/>
              </a:rPr>
              <a:t>2</a:t>
            </a:r>
            <a:br>
              <a:rPr lang="en-US" sz="1000" b="1" i="1" dirty="0">
                <a:latin typeface="+mn-lt"/>
              </a:rPr>
            </a:br>
            <a:r>
              <a:rPr lang="en-US" sz="1000" b="1" i="1" dirty="0">
                <a:latin typeface="+mn-lt"/>
              </a:rPr>
              <a:t>(6-year)</a:t>
            </a:r>
            <a:endParaRPr lang="el-GR" sz="1000" b="1" i="1" dirty="0">
              <a:latin typeface="+mn-lt"/>
            </a:endParaRPr>
          </a:p>
        </p:txBody>
      </p:sp>
      <p:sp>
        <p:nvSpPr>
          <p:cNvPr id="191" name="TextBox 72">
            <a:extLst>
              <a:ext uri="{FF2B5EF4-FFF2-40B4-BE49-F238E27FC236}">
                <a16:creationId xmlns:a16="http://schemas.microsoft.com/office/drawing/2014/main" id="{9AD07E5C-47F5-4F55-A2BB-F34F784C3307}"/>
              </a:ext>
            </a:extLst>
          </p:cNvPr>
          <p:cNvSpPr txBox="1">
            <a:spLocks/>
          </p:cNvSpPr>
          <p:nvPr/>
        </p:nvSpPr>
        <p:spPr bwMode="auto">
          <a:xfrm>
            <a:off x="10726050" y="2883520"/>
            <a:ext cx="698500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36000" rIns="0" bIns="36000">
            <a:spAutoFit/>
          </a:bodyPr>
          <a:lstStyle/>
          <a:p>
            <a:pPr algn="ctr"/>
            <a:r>
              <a:rPr lang="en-US" sz="1100" b="1" dirty="0">
                <a:solidFill>
                  <a:srgbClr val="007770"/>
                </a:solidFill>
                <a:latin typeface="+mn-lt"/>
              </a:rPr>
              <a:t>+2</a:t>
            </a:r>
            <a:r>
              <a:rPr lang="el-GR" sz="1100" b="1" dirty="0">
                <a:solidFill>
                  <a:srgbClr val="007770"/>
                </a:solidFill>
              </a:rPr>
              <a:t>.</a:t>
            </a:r>
            <a:r>
              <a:rPr lang="en-US" sz="1100" b="1" dirty="0">
                <a:solidFill>
                  <a:srgbClr val="007770"/>
                </a:solidFill>
              </a:rPr>
              <a:t>5</a:t>
            </a:r>
            <a:r>
              <a:rPr lang="en-US" sz="1100" b="1" dirty="0">
                <a:solidFill>
                  <a:srgbClr val="007770"/>
                </a:solidFill>
                <a:latin typeface="+mn-lt"/>
              </a:rPr>
              <a:t>%</a:t>
            </a:r>
          </a:p>
        </p:txBody>
      </p:sp>
      <p:sp>
        <p:nvSpPr>
          <p:cNvPr id="127" name="Oval 106">
            <a:extLst>
              <a:ext uri="{FF2B5EF4-FFF2-40B4-BE49-F238E27FC236}">
                <a16:creationId xmlns:a16="http://schemas.microsoft.com/office/drawing/2014/main" id="{D632D8EB-1C93-44CC-9A7A-F72E361CDA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7201" y="5652260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>
                <a:latin typeface="+mn-lt"/>
              </a:rPr>
              <a:t>40.3%</a:t>
            </a:r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46F9354A-BE08-B1A6-4A37-AFD5FD4965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6250" y="6397625"/>
            <a:ext cx="7561263" cy="111125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  <p:sp>
        <p:nvSpPr>
          <p:cNvPr id="4122" name="Oval 106">
            <a:extLst>
              <a:ext uri="{FF2B5EF4-FFF2-40B4-BE49-F238E27FC236}">
                <a16:creationId xmlns:a16="http://schemas.microsoft.com/office/drawing/2014/main" id="{F0FBA098-2799-D05F-29B8-70CB56A6F4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4763" y="5652260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/>
              <a:t>39.1</a:t>
            </a:r>
            <a:r>
              <a:rPr lang="en-US" sz="1000" dirty="0">
                <a:latin typeface="+mn-lt"/>
              </a:rPr>
              <a:t>%</a:t>
            </a:r>
          </a:p>
        </p:txBody>
      </p:sp>
      <p:sp>
        <p:nvSpPr>
          <p:cNvPr id="4123" name="Oval 106">
            <a:extLst>
              <a:ext uri="{FF2B5EF4-FFF2-40B4-BE49-F238E27FC236}">
                <a16:creationId xmlns:a16="http://schemas.microsoft.com/office/drawing/2014/main" id="{58F2C987-88E9-36CC-9AD4-434456F94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2325" y="5652260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>
                <a:latin typeface="+mn-lt"/>
              </a:rPr>
              <a:t>40.6%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09F4AD4-9336-36B9-51C3-3D325813A4ED}"/>
              </a:ext>
            </a:extLst>
          </p:cNvPr>
          <p:cNvCxnSpPr>
            <a:cxnSpLocks/>
          </p:cNvCxnSpPr>
          <p:nvPr/>
        </p:nvCxnSpPr>
        <p:spPr>
          <a:xfrm>
            <a:off x="7034156" y="2100358"/>
            <a:ext cx="0" cy="3776334"/>
          </a:xfrm>
          <a:prstGeom prst="line">
            <a:avLst/>
          </a:prstGeom>
          <a:ln w="25400">
            <a:solidFill>
              <a:srgbClr val="30B4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4208934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248764A-8947-426D-9B8F-679FB0D21B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98104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592" imgH="591" progId="TCLayout.ActiveDocument.1">
                  <p:embed/>
                </p:oleObj>
              </mc:Choice>
              <mc:Fallback>
                <p:oleObj name="think-cell Slide" r:id="rId51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248764A-8947-426D-9B8F-679FB0D21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900" dirty="0" err="1">
              <a:cs typeface="Arial" panose="020B0604020202020204" pitchFamily="34" charset="0"/>
              <a:sym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4007C1-D739-4EE8-AA67-4EADBBFE009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ReimbursED MARKE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C2F8F7-85C5-496F-8D0F-A4F6F6E7E5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7012" y="6007481"/>
            <a:ext cx="11246241" cy="221599"/>
          </a:xfrm>
        </p:spPr>
        <p:txBody>
          <a:bodyPr/>
          <a:lstStyle/>
          <a:p>
            <a:r>
              <a:rPr lang="en-US" dirty="0"/>
              <a:t>1. Based on sell-out volumes from pharmacies; 2.%PPG &amp; %CAGR calculations are based on MAT/03/23</a:t>
            </a:r>
          </a:p>
          <a:p>
            <a:r>
              <a:rPr lang="en-US" dirty="0"/>
              <a:t>Note: Excluding all L.3816 products; Classification by On patent, Off patent, Generics and Others is based on </a:t>
            </a:r>
            <a:r>
              <a:rPr lang="en-US" dirty="0" err="1"/>
              <a:t>Sfee</a:t>
            </a:r>
            <a:r>
              <a:rPr lang="en-US" dirty="0"/>
              <a:t>/IQVIA flag; Other includes mainly vaccines</a:t>
            </a:r>
            <a:r>
              <a:rPr lang="el-GR" dirty="0"/>
              <a:t>, </a:t>
            </a:r>
            <a:r>
              <a:rPr lang="en-US" dirty="0"/>
              <a:t>supplements</a:t>
            </a:r>
            <a:r>
              <a:rPr lang="el-GR" dirty="0"/>
              <a:t> </a:t>
            </a:r>
            <a:r>
              <a:rPr lang="en-US" dirty="0"/>
              <a:t>and diabetes tes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arket size in volume</a:t>
            </a:r>
            <a:r>
              <a:rPr lang="en-US" baseline="30000" dirty="0"/>
              <a:t>1</a:t>
            </a:r>
            <a:r>
              <a:rPr lang="en-US" dirty="0"/>
              <a:t> – By product type – Annual – 2018-2022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n terms of volume, Reimbursed market in MAT/03/23 increased by ~3.7%, reaching to ~268M units</a:t>
            </a:r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126" name="Oval 106"/>
          <p:cNvSpPr>
            <a:spLocks noChangeArrowheads="1"/>
          </p:cNvSpPr>
          <p:nvPr/>
        </p:nvSpPr>
        <p:spPr bwMode="auto">
          <a:xfrm>
            <a:off x="1261210" y="5581237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l-GR" sz="1000" dirty="0"/>
              <a:t>31.8</a:t>
            </a:r>
            <a:r>
              <a:rPr lang="en-US" sz="1000" dirty="0">
                <a:latin typeface="+mn-lt"/>
              </a:rPr>
              <a:t>%</a:t>
            </a:r>
          </a:p>
        </p:txBody>
      </p:sp>
      <p:sp>
        <p:nvSpPr>
          <p:cNvPr id="128" name="Oval 106"/>
          <p:cNvSpPr>
            <a:spLocks noChangeArrowheads="1"/>
          </p:cNvSpPr>
          <p:nvPr/>
        </p:nvSpPr>
        <p:spPr bwMode="auto">
          <a:xfrm>
            <a:off x="2397743" y="5581237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l-GR" sz="1000" dirty="0"/>
              <a:t>32.6</a:t>
            </a:r>
            <a:r>
              <a:rPr lang="en-US" sz="1000" dirty="0">
                <a:latin typeface="+mn-lt"/>
              </a:rPr>
              <a:t>%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CE131F08-8E46-F8ED-2A4F-FFC30E4BA6C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33947757"/>
              </p:ext>
            </p:extLst>
          </p:nvPr>
        </p:nvGraphicFramePr>
        <p:xfrm>
          <a:off x="519113" y="2043113"/>
          <a:ext cx="8421687" cy="3278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459320C3-1E83-4F68-9386-941095744BB4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2578100" y="3406775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22B3755-71D9-4C9B-8FA7-A4EC1E64AAE7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1482725" y="3406775"/>
            <a:ext cx="1095375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E023A9C-BEA7-4509-BE54-DB32D3B812C9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gray">
          <a:xfrm flipV="1">
            <a:off x="1482725" y="3406775"/>
            <a:ext cx="0" cy="182563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252185F-2D35-4E7F-A49F-FEB25C9DF058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2654300" y="3344863"/>
            <a:ext cx="1058863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19F9093-CAC4-4C9A-AB46-2A3CE470FCE3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V="1">
            <a:off x="2654300" y="3344863"/>
            <a:ext cx="0" cy="214313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2DCE5E7-B800-4293-AD01-7A6FA7355621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gray">
          <a:xfrm>
            <a:off x="3713163" y="3344863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2D2EE56-1AD7-45FD-A7AA-AB45D82C3ED8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 flipV="1">
            <a:off x="1482725" y="3021013"/>
            <a:ext cx="4538663" cy="17938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1A55798-DD72-4681-A9CC-CC1D63D5091D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V="1">
            <a:off x="3789363" y="3308350"/>
            <a:ext cx="0" cy="188913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3463C25-522E-420E-A8F3-8A730B01302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3789363" y="3308350"/>
            <a:ext cx="1058863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5B6961C-ED57-4BC6-9A19-62969B7BB1C3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4848225" y="3308350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B634814-DB19-40D4-BB5B-E80904FB8AF4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4924425" y="3257550"/>
            <a:ext cx="1096963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8017A6A-2F2E-4DDD-8EF6-511F98722686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 flipV="1">
            <a:off x="4924425" y="3257550"/>
            <a:ext cx="0" cy="2032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C7646DB-4F6E-417F-9BAD-C0429235EC92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6021388" y="3257550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C99CF22-FA88-446B-B61C-96E64DED2B41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8289925" y="3232150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3A63DD1-FDCA-44F3-9F7E-79F58CB20688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 flipV="1">
            <a:off x="7154863" y="3232150"/>
            <a:ext cx="0" cy="211138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1E1312D-6B7D-4DC9-A7F1-71F8084A2ACF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7154863" y="3232150"/>
            <a:ext cx="1135063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Text Placeholder 37">
            <a:extLst>
              <a:ext uri="{FF2B5EF4-FFF2-40B4-BE49-F238E27FC236}">
                <a16:creationId xmlns:a16="http://schemas.microsoft.com/office/drawing/2014/main" id="{C1685AC8-119B-4550-A4E7-4BE9CAC8AAB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482850" y="5268913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76C3494-9BFD-4F01-A79D-C4A37B3A659B}" type="datetime'20''''''''''''''''1''''''9'''''''''''''''''''''''''''''">
              <a:rPr lang="en-US" altLang="en-US" sz="900" smtClean="0">
                <a:solidFill>
                  <a:schemeClr val="tx1"/>
                </a:solidFill>
              </a:rPr>
              <a:pPr/>
              <a:t>2019</a:t>
            </a:fld>
            <a:endParaRPr lang="el-GR" sz="900">
              <a:solidFill>
                <a:schemeClr val="tx1"/>
              </a:solidFill>
              <a:sym typeface="Arial"/>
            </a:endParaRPr>
          </a:p>
        </p:txBody>
      </p:sp>
      <p:sp>
        <p:nvSpPr>
          <p:cNvPr id="29" name="Text Placeholder 37">
            <a:extLst>
              <a:ext uri="{FF2B5EF4-FFF2-40B4-BE49-F238E27FC236}">
                <a16:creationId xmlns:a16="http://schemas.microsoft.com/office/drawing/2014/main" id="{93C11F7B-D4BB-25EE-0B75-3DE51E404D2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005638" y="5268912"/>
            <a:ext cx="298450" cy="27305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0650DF6-75EC-411B-B4ED-1D99B6ACF20A}" type="datetime'M''''''''AT''''''''''''''''''''''''&#10;03/''''''''''2''''''''2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MAT
03/22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894312AC-FE74-426F-9D07-1DA9206DC0AD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3640138" y="3535363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675A5B7-FA92-4D3E-B94C-EB88CE70F9BA}" type="datetime'''''''''2''''''''''5''''''''''''''''''0'''''''''''''''''''">
              <a:rPr lang="en-US" altLang="en-US" sz="900" smtClean="0">
                <a:solidFill>
                  <a:schemeClr val="tx1"/>
                </a:solidFill>
              </a:rPr>
              <a:pPr/>
              <a:t>25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11" name="Text Placeholder 37">
            <a:extLst>
              <a:ext uri="{FF2B5EF4-FFF2-40B4-BE49-F238E27FC236}">
                <a16:creationId xmlns:a16="http://schemas.microsoft.com/office/drawing/2014/main" id="{2594D448-473D-4CC0-B12E-303DC629987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349375" y="5268913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D0EA27B-5809-46E7-9FC9-076C3764E893}" type="datetime'''''20''''''''''''1''''''8'''''''''''''''''''''''''''''''''">
              <a:rPr lang="en-US" altLang="en-US" sz="900" smtClean="0">
                <a:solidFill>
                  <a:schemeClr val="tx1"/>
                </a:solidFill>
              </a:rPr>
              <a:pPr/>
              <a:t>2018</a:t>
            </a:fld>
            <a:endParaRPr lang="el-GR" sz="900">
              <a:solidFill>
                <a:schemeClr val="tx1"/>
              </a:solidFill>
              <a:sym typeface="Arial"/>
            </a:endParaRPr>
          </a:p>
        </p:txBody>
      </p:sp>
      <p:sp>
        <p:nvSpPr>
          <p:cNvPr id="107" name="Rectangle 79">
            <a:extLst>
              <a:ext uri="{FF2B5EF4-FFF2-40B4-BE49-F238E27FC236}">
                <a16:creationId xmlns:a16="http://schemas.microsoft.com/office/drawing/2014/main" id="{8C3FCD47-B711-4DA3-961E-E6F5B5B8FDC8}"/>
              </a:ext>
            </a:extLst>
          </p:cNvPr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8955088" y="5162550"/>
            <a:ext cx="29845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r>
              <a:rPr lang="en-US" sz="900" dirty="0">
                <a:latin typeface="Arial"/>
                <a:cs typeface="Arial"/>
                <a:sym typeface="Arial"/>
              </a:rPr>
              <a:t>Years</a:t>
            </a:r>
          </a:p>
        </p:txBody>
      </p:sp>
      <p:sp>
        <p:nvSpPr>
          <p:cNvPr id="30" name="Text Placeholder 37">
            <a:extLst>
              <a:ext uri="{FF2B5EF4-FFF2-40B4-BE49-F238E27FC236}">
                <a16:creationId xmlns:a16="http://schemas.microsoft.com/office/drawing/2014/main" id="{6FE876EE-F335-E04D-DDF5-81730856BEA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140700" y="5268912"/>
            <a:ext cx="298450" cy="27305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7FBE145D-5BC7-428D-8673-4C170AACD602}" type="datetime'''''''M''''''''''''''''A''''''''T''&#10;''''''03/''''23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MAT
03/23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09" name="Rectangle 19">
            <a:extLst>
              <a:ext uri="{FF2B5EF4-FFF2-40B4-BE49-F238E27FC236}">
                <a16:creationId xmlns:a16="http://schemas.microsoft.com/office/drawing/2014/main" id="{98F0D10A-8240-4F5C-A50B-597E611CD2F2}"/>
              </a:ext>
            </a:extLst>
          </p:cNvPr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820738" y="1900238"/>
            <a:ext cx="1905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anchor="b"/>
          <a:lstStyle/>
          <a:p>
            <a:pPr algn="ctr"/>
            <a:r>
              <a:rPr lang="en-US" sz="900">
                <a:latin typeface="Arial"/>
                <a:cs typeface="Arial"/>
                <a:sym typeface="Arial"/>
              </a:rPr>
              <a:t>M</a:t>
            </a:r>
            <a:r>
              <a:rPr lang="el-GR" sz="900">
                <a:latin typeface="Arial"/>
                <a:cs typeface="Arial"/>
                <a:sym typeface="Arial"/>
              </a:rPr>
              <a:t> </a:t>
            </a:r>
            <a:r>
              <a:rPr lang="en-US" sz="900">
                <a:latin typeface="Arial"/>
                <a:cs typeface="Arial"/>
                <a:sym typeface="Arial"/>
              </a:rPr>
              <a:t>€</a:t>
            </a:r>
            <a:endParaRPr lang="en-US" sz="900" dirty="0">
              <a:latin typeface="Arial"/>
              <a:cs typeface="Arial"/>
              <a:sym typeface="Arial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66447FEE-655A-4BA5-B733-C94A31E3411A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5910263" y="3448050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FBA30C7-A25B-4868-8AB2-C3E1B4685FD3}" type="datetime'''''''''''''2''''''''''''''6''''''''''''''4'''">
              <a:rPr lang="en-US" altLang="en-US" sz="900" smtClean="0">
                <a:solidFill>
                  <a:schemeClr val="tx1"/>
                </a:solidFill>
              </a:rPr>
              <a:pPr/>
              <a:t>264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85" name="Text Placeholder 37">
            <a:extLst>
              <a:ext uri="{FF2B5EF4-FFF2-40B4-BE49-F238E27FC236}">
                <a16:creationId xmlns:a16="http://schemas.microsoft.com/office/drawing/2014/main" id="{2AB3CC59-69C0-4FCB-8586-7FEB3C3A376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617913" y="5268913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2C49847-EC0D-41EE-8912-FEA01CB4FCF7}" type="datetime'''''''20''''''''''''''''''''''''''2''''''0'''''''''''''">
              <a:rPr lang="en-US" altLang="en-US" sz="900" smtClean="0">
                <a:solidFill>
                  <a:schemeClr val="tx1"/>
                </a:solidFill>
              </a:rPr>
              <a:pPr/>
              <a:t>2020</a:t>
            </a:fld>
            <a:endParaRPr lang="el-GR" sz="900">
              <a:solidFill>
                <a:schemeClr val="tx1"/>
              </a:solidFill>
              <a:sym typeface="Arial"/>
            </a:endParaRPr>
          </a:p>
        </p:txBody>
      </p:sp>
      <p:sp>
        <p:nvSpPr>
          <p:cNvPr id="67" name="Text Placeholder 37">
            <a:extLst>
              <a:ext uri="{FF2B5EF4-FFF2-40B4-BE49-F238E27FC236}">
                <a16:creationId xmlns:a16="http://schemas.microsoft.com/office/drawing/2014/main" id="{9D71BDC4-22DF-41EE-AAC5-28D9A82F9A8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752975" y="5268913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7770670-0DA4-4660-84A4-53FFA07EFA53}" type="datetime'''2''''''''''''''''''''02''''''''1''''''''''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2021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60" name="Text Placeholder 37">
            <a:extLst>
              <a:ext uri="{FF2B5EF4-FFF2-40B4-BE49-F238E27FC236}">
                <a16:creationId xmlns:a16="http://schemas.microsoft.com/office/drawing/2014/main" id="{7D6B0216-E601-4381-8CC6-0CC060177C32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888038" y="5268913"/>
            <a:ext cx="2667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A5F82B0-20FE-46B1-9D62-59E79E91F0C9}" type="datetime'''''''2''0''''''''''2''''''2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2022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42A3261C-D209-29E3-FD66-912E22FA1F54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7043738" y="3481388"/>
            <a:ext cx="2222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3A29007-3D56-4A86-B077-B79CF7D1DFE9}" type="datetime'''''''2''''''''5''''''''''''''''''''''''8'''''''''''''''''''">
              <a:rPr lang="en-US" altLang="en-US" sz="900" smtClean="0">
                <a:solidFill>
                  <a:schemeClr val="tx1"/>
                </a:solidFill>
              </a:rPr>
              <a:pPr/>
              <a:t>258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889D09D9-6F27-4B50-9FF7-8DC95AC9221F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1371600" y="3627438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BDF2713-61FC-4A62-9FBA-B2C498F626BE}" type="datetime'''''''''''''23''''''''''5''''''''''''''''''''''''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235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61687C07-5E82-4402-B60D-28BF111AB4EF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2505075" y="3597275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C67DF18-ED32-4771-8AA3-1914270CE1F3}" type="datetime'''''''''''''''''2''''''''''''''''''''''''40'''''''''''''''''">
              <a:rPr lang="en-US" altLang="en-US" sz="900" smtClean="0">
                <a:solidFill>
                  <a:schemeClr val="tx1"/>
                </a:solidFill>
              </a:rPr>
              <a:pPr/>
              <a:t>24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1C125528-FA54-DDA7-E3A2-F58F081592A4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8178800" y="3422650"/>
            <a:ext cx="2222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F3B4FB6-13B8-401E-B20B-86411E7B6A41}" type="datetime'''''''26''''''''''''''''''''''''''''''8'''''''''''">
              <a:rPr lang="en-US" altLang="en-US" sz="900" smtClean="0">
                <a:solidFill>
                  <a:schemeClr val="tx1"/>
                </a:solidFill>
              </a:rPr>
              <a:pPr/>
              <a:t>268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F1BDA19-C595-40E0-AC3C-1925DA5AA497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4775200" y="3498850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0655B08-B2F9-43D4-A943-FD9D5245BDB9}" type="datetime'''2''''''''''''''''''''''''''''''''''5''''''''''5'">
              <a:rPr lang="en-US" altLang="en-US" sz="900" smtClean="0">
                <a:solidFill>
                  <a:schemeClr val="tx1"/>
                </a:solidFill>
              </a:rPr>
              <a:pPr/>
              <a:t>255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DB69C290-779A-4DBB-985A-8E7A93838920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1798638" y="3309938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C880BAA-47BD-496C-A3CB-0D71D4F90B9D}" type="datetime'''''''''''''''''+''''''''''''''2''.''''''''''''1%''''''''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2.1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B3DFB55-C6A2-4544-883A-2ED29F2A55A3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2951163" y="3248025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036201E-06DB-4A69-94BB-E660F233E177}" type="datetime'''''''''''''+''''''4''''.2''''''''''''''''''''''''''''''%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4.2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2B6EDEB2-B197-403B-BB83-A7D543FF32CD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3519488" y="3013075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E082E1D-35B8-4919-B903-837BCAE97E39}" type="datetime'''''''''''''''''+''''''2''''''''''.''9''''%''''''''''''''''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2.9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45E7030-EC6F-40D1-A7BD-5F61729BDEDE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4086225" y="3211513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4655AD1-7130-45EA-8025-4224574742C2}" type="datetime'''+''''''''2.''''''''''''''''''''''''''''''3''''''%''''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2.3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F782032-BF47-4290-A7D6-FC633BD5CF82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5287963" y="3160713"/>
            <a:ext cx="36830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rgbClr val="18A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777D1A-E04F-42CB-AE3D-28E2E6B5EB81}" type="datetime'3''''''''''''''''''''.''''''''''''''''''''''''''''''2%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3.2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189FE1F-619F-410D-8118-860C74911D76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7489825" y="3135313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1EAE34D-1071-4BE0-92DD-4C098E12DDA6}" type="datetime'''''''''''''''''+''''3''''.''''''''''''''''''7''%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3.7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6C6BC01A-97F5-4261-B766-4C08B0EA35F1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9340850" y="1611313"/>
            <a:ext cx="160338" cy="120650"/>
          </a:xfrm>
          <a:prstGeom prst="rect">
            <a:avLst/>
          </a:prstGeom>
          <a:solidFill>
            <a:srgbClr val="CAE3FF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5B5A8D4E-3854-4221-B583-E6C2D6F890CA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9340850" y="1798638"/>
            <a:ext cx="160338" cy="120650"/>
          </a:xfrm>
          <a:prstGeom prst="rect">
            <a:avLst/>
          </a:prstGeom>
          <a:solidFill>
            <a:srgbClr val="18AFFF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F9CEE3F0-77A4-416C-AF2E-278B60317B29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9340850" y="1985963"/>
            <a:ext cx="160338" cy="1206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E72A3F1-AA78-4748-A7F0-118EF79AFDA0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9340850" y="2173288"/>
            <a:ext cx="160338" cy="120650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B61F476B-7D45-426D-A363-F3D6C2B05374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9551988" y="1608138"/>
            <a:ext cx="285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2C5996D-CAC2-46D1-813B-4E8DC55E4EC5}" type="datetime'''''O''''th''''''''e''''''''''''''''''''''''''''''''r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Other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8D6574DE-1631-43AE-9981-78CDD924F312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9551988" y="2170113"/>
            <a:ext cx="5016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6D21B9D-113C-4BCF-BDEB-3990114D64E8}" type="datetime'O''n'' p''''''''a''''''''''''te''''''''''''''''''n''''t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On patent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5FA875FB-5B9D-46E7-9C38-23C0E04290DB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9551988" y="1795463"/>
            <a:ext cx="4572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BF04960-F579-41AD-9971-472B1CB78D90}" type="datetime'''''G''''''''e''''''n''''er''''''''ic''''''''''s''''''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Generics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9C39D595-9AFD-4014-88F7-4A1BCC4EFD84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9551988" y="1982788"/>
            <a:ext cx="5016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710EE4B-A2B8-48B1-B586-08B4C3DBF914}" type="datetime'''''''''O''ff'''''''''''' ''''p''a''''''te''n''''t''''''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Off patent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AF62DB37-3830-48BE-8C41-28FAB7B464A5}"/>
              </a:ext>
            </a:extLst>
          </p:cNvPr>
          <p:cNvSpPr/>
          <p:nvPr/>
        </p:nvSpPr>
        <p:spPr>
          <a:xfrm>
            <a:off x="9278938" y="2854262"/>
            <a:ext cx="757238" cy="28800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400" dirty="0">
              <a:latin typeface="Arial"/>
            </a:endParaRPr>
          </a:p>
        </p:txBody>
      </p:sp>
      <p:sp>
        <p:nvSpPr>
          <p:cNvPr id="78" name="TextBox 60">
            <a:extLst>
              <a:ext uri="{FF2B5EF4-FFF2-40B4-BE49-F238E27FC236}">
                <a16:creationId xmlns:a16="http://schemas.microsoft.com/office/drawing/2014/main" id="{1E8B6A8C-13C1-4632-8A83-FBFDBA7877BD}"/>
              </a:ext>
            </a:extLst>
          </p:cNvPr>
          <p:cNvSpPr txBox="1">
            <a:spLocks/>
          </p:cNvSpPr>
          <p:nvPr/>
        </p:nvSpPr>
        <p:spPr bwMode="auto">
          <a:xfrm>
            <a:off x="9278938" y="2883519"/>
            <a:ext cx="822325" cy="24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36000" rIns="0" bIns="36000">
            <a:spAutoFit/>
          </a:bodyPr>
          <a:lstStyle>
            <a:defPPr>
              <a:defRPr lang="en-US"/>
            </a:defPPr>
            <a:lvl1pPr algn="ctr">
              <a:defRPr sz="1100" b="1">
                <a:solidFill>
                  <a:srgbClr val="C00000"/>
                </a:solidFill>
                <a:latin typeface="+mn-lt"/>
              </a:defRPr>
            </a:lvl1pPr>
          </a:lstStyle>
          <a:p>
            <a:r>
              <a:rPr lang="el-GR" dirty="0">
                <a:solidFill>
                  <a:srgbClr val="007770"/>
                </a:solidFill>
              </a:rPr>
              <a:t>+</a:t>
            </a:r>
            <a:r>
              <a:rPr lang="en-US" dirty="0">
                <a:solidFill>
                  <a:srgbClr val="007770"/>
                </a:solidFill>
              </a:rPr>
              <a:t>3.7</a:t>
            </a:r>
            <a:r>
              <a:rPr lang="el-GR" dirty="0">
                <a:solidFill>
                  <a:srgbClr val="007770"/>
                </a:solidFill>
              </a:rPr>
              <a:t>%</a:t>
            </a:r>
          </a:p>
        </p:txBody>
      </p:sp>
      <p:sp>
        <p:nvSpPr>
          <p:cNvPr id="79" name="Rounded Rectangle 169">
            <a:extLst>
              <a:ext uri="{FF2B5EF4-FFF2-40B4-BE49-F238E27FC236}">
                <a16:creationId xmlns:a16="http://schemas.microsoft.com/office/drawing/2014/main" id="{CA49CC60-FD24-40B8-81D8-DDECAC81AD91}"/>
              </a:ext>
            </a:extLst>
          </p:cNvPr>
          <p:cNvSpPr>
            <a:spLocks/>
          </p:cNvSpPr>
          <p:nvPr/>
        </p:nvSpPr>
        <p:spPr bwMode="auto">
          <a:xfrm>
            <a:off x="9294123" y="4723826"/>
            <a:ext cx="763588" cy="390546"/>
          </a:xfrm>
          <a:prstGeom prst="roundRect">
            <a:avLst/>
          </a:prstGeom>
          <a:solidFill>
            <a:srgbClr val="005587"/>
          </a:solidFill>
          <a:ln w="15875" cap="flat" cmpd="sng" algn="ctr">
            <a:solidFill>
              <a:schemeClr val="accent1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chemeClr val="bg1"/>
                </a:solidFill>
              </a:rPr>
              <a:t>+3.0%</a:t>
            </a:r>
            <a:endParaRPr kumimoji="0" lang="en-US" sz="11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80" name="Rounded Rectangle 170">
            <a:extLst>
              <a:ext uri="{FF2B5EF4-FFF2-40B4-BE49-F238E27FC236}">
                <a16:creationId xmlns:a16="http://schemas.microsoft.com/office/drawing/2014/main" id="{5A28FAC9-E26E-4015-B0C6-7A0DA34BC630}"/>
              </a:ext>
            </a:extLst>
          </p:cNvPr>
          <p:cNvSpPr>
            <a:spLocks/>
          </p:cNvSpPr>
          <p:nvPr/>
        </p:nvSpPr>
        <p:spPr bwMode="auto">
          <a:xfrm>
            <a:off x="9294123" y="3394149"/>
            <a:ext cx="763588" cy="390546"/>
          </a:xfrm>
          <a:prstGeom prst="roundRect">
            <a:avLst/>
          </a:prstGeom>
          <a:solidFill>
            <a:srgbClr val="25B4FF"/>
          </a:solidFill>
          <a:ln w="15875" cap="flat" cmpd="sng" algn="ctr">
            <a:solidFill>
              <a:schemeClr val="accent1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+</a:t>
            </a:r>
            <a:r>
              <a:rPr lang="en-US" sz="1100" dirty="0">
                <a:solidFill>
                  <a:schemeClr val="bg1"/>
                </a:solidFill>
              </a:rPr>
              <a:t>7</a:t>
            </a:r>
            <a:r>
              <a:rPr kumimoji="0" lang="en-US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.8%</a:t>
            </a:r>
          </a:p>
        </p:txBody>
      </p:sp>
      <p:sp>
        <p:nvSpPr>
          <p:cNvPr id="93" name="Rounded Rectangle 169">
            <a:extLst>
              <a:ext uri="{FF2B5EF4-FFF2-40B4-BE49-F238E27FC236}">
                <a16:creationId xmlns:a16="http://schemas.microsoft.com/office/drawing/2014/main" id="{C6382282-17E2-41FF-AA9A-3281BD43B2E5}"/>
              </a:ext>
            </a:extLst>
          </p:cNvPr>
          <p:cNvSpPr>
            <a:spLocks/>
          </p:cNvSpPr>
          <p:nvPr/>
        </p:nvSpPr>
        <p:spPr bwMode="auto">
          <a:xfrm>
            <a:off x="9294123" y="4041651"/>
            <a:ext cx="763588" cy="390546"/>
          </a:xfrm>
          <a:prstGeom prst="roundRect">
            <a:avLst/>
          </a:prstGeom>
          <a:solidFill>
            <a:srgbClr val="0070C0"/>
          </a:solidFill>
          <a:ln w="15875" cap="flat" cmpd="sng" algn="ctr">
            <a:solidFill>
              <a:schemeClr val="accent1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l-GR" sz="1100" dirty="0">
                <a:solidFill>
                  <a:schemeClr val="bg1"/>
                </a:solidFill>
              </a:rPr>
              <a:t>+</a:t>
            </a:r>
            <a:r>
              <a:rPr lang="en-US" sz="1100" dirty="0">
                <a:solidFill>
                  <a:schemeClr val="bg1"/>
                </a:solidFill>
              </a:rPr>
              <a:t>3.3%</a:t>
            </a:r>
            <a:endParaRPr kumimoji="0" lang="en-US" sz="11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05" name="Oval 106">
            <a:extLst>
              <a:ext uri="{FF2B5EF4-FFF2-40B4-BE49-F238E27FC236}">
                <a16:creationId xmlns:a16="http://schemas.microsoft.com/office/drawing/2014/main" id="{C93E098E-45FA-4292-B4C3-8A5745F85E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4276" y="5593510"/>
            <a:ext cx="432000" cy="203727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l-GR" sz="1000" dirty="0"/>
              <a:t>32.7</a:t>
            </a:r>
            <a:r>
              <a:rPr lang="en-US" sz="1000" dirty="0">
                <a:latin typeface="+mn-lt"/>
              </a:rPr>
              <a:t>%</a:t>
            </a:r>
          </a:p>
        </p:txBody>
      </p:sp>
      <p:sp>
        <p:nvSpPr>
          <p:cNvPr id="87" name="Oval 106">
            <a:extLst>
              <a:ext uri="{FF2B5EF4-FFF2-40B4-BE49-F238E27FC236}">
                <a16:creationId xmlns:a16="http://schemas.microsoft.com/office/drawing/2014/main" id="{0945A41A-3C6A-4435-BD58-FD11CB3C54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1284" y="5581237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>
                <a:latin typeface="+mn-lt"/>
              </a:rPr>
              <a:t>32.8%</a:t>
            </a:r>
          </a:p>
        </p:txBody>
      </p:sp>
      <p:sp>
        <p:nvSpPr>
          <p:cNvPr id="64" name="TextBox 51">
            <a:extLst>
              <a:ext uri="{FF2B5EF4-FFF2-40B4-BE49-F238E27FC236}">
                <a16:creationId xmlns:a16="http://schemas.microsoft.com/office/drawing/2014/main" id="{FD34C2DD-E318-457A-983F-73F310BEE3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36277" y="2489820"/>
            <a:ext cx="8223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 b="1" i="1" dirty="0">
                <a:latin typeface="+mn-lt"/>
              </a:rPr>
              <a:t>%PPG</a:t>
            </a:r>
            <a:r>
              <a:rPr lang="en-US" sz="1000" b="1" i="1" baseline="30000" dirty="0">
                <a:latin typeface="+mn-lt"/>
              </a:rPr>
              <a:t>2</a:t>
            </a:r>
            <a:endParaRPr lang="el-GR" sz="1000" b="1" i="1" baseline="30000" dirty="0">
              <a:latin typeface="+mn-lt"/>
            </a:endParaRPr>
          </a:p>
        </p:txBody>
      </p:sp>
      <p:sp>
        <p:nvSpPr>
          <p:cNvPr id="82" name="Oval 106">
            <a:extLst>
              <a:ext uri="{FF2B5EF4-FFF2-40B4-BE49-F238E27FC236}">
                <a16:creationId xmlns:a16="http://schemas.microsoft.com/office/drawing/2014/main" id="{99AFACE5-C842-413B-A179-6E14801E2E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7817" y="5581237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>
                <a:latin typeface="+mn-lt"/>
              </a:rPr>
              <a:t>33.9%</a:t>
            </a:r>
          </a:p>
        </p:txBody>
      </p:sp>
      <p:sp>
        <p:nvSpPr>
          <p:cNvPr id="84" name="Text Box 123">
            <a:extLst>
              <a:ext uri="{FF2B5EF4-FFF2-40B4-BE49-F238E27FC236}">
                <a16:creationId xmlns:a16="http://schemas.microsoft.com/office/drawing/2014/main" id="{7145DFCB-B3CF-4950-8EA5-67FA7E09DE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2644" y="5581237"/>
            <a:ext cx="579324" cy="2354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900" i="1" dirty="0">
                <a:latin typeface="+mj-lt"/>
              </a:rPr>
              <a:t>Generics</a:t>
            </a:r>
          </a:p>
          <a:p>
            <a:pPr algn="ctr">
              <a:lnSpc>
                <a:spcPct val="85000"/>
              </a:lnSpc>
            </a:pPr>
            <a:r>
              <a:rPr lang="en-US" sz="900" i="1" dirty="0" err="1">
                <a:latin typeface="+mj-lt"/>
              </a:rPr>
              <a:t>m.s</a:t>
            </a:r>
            <a:r>
              <a:rPr lang="en-US" sz="900" i="1" dirty="0">
                <a:latin typeface="+mj-lt"/>
              </a:rPr>
              <a:t> (%)</a:t>
            </a:r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C345A77F-7C96-3DF1-95E3-3AA69EC250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6250" y="6397625"/>
            <a:ext cx="7561263" cy="111125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  <p:sp>
        <p:nvSpPr>
          <p:cNvPr id="43" name="Oval 106">
            <a:extLst>
              <a:ext uri="{FF2B5EF4-FFF2-40B4-BE49-F238E27FC236}">
                <a16:creationId xmlns:a16="http://schemas.microsoft.com/office/drawing/2014/main" id="{5C46A2F3-80F0-7384-6CEB-26584E25EF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4350" y="5581237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>
                <a:latin typeface="+mn-lt"/>
              </a:rPr>
              <a:t>33.0%</a:t>
            </a:r>
          </a:p>
        </p:txBody>
      </p:sp>
      <p:sp>
        <p:nvSpPr>
          <p:cNvPr id="44" name="Oval 106">
            <a:extLst>
              <a:ext uri="{FF2B5EF4-FFF2-40B4-BE49-F238E27FC236}">
                <a16:creationId xmlns:a16="http://schemas.microsoft.com/office/drawing/2014/main" id="{F28E5D17-416C-B268-4F30-EC9B58B8B4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1358" y="5581237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dirty="0">
                <a:latin typeface="+mn-lt"/>
              </a:rPr>
              <a:t>34.3%</a:t>
            </a:r>
          </a:p>
        </p:txBody>
      </p:sp>
    </p:spTree>
    <p:extLst>
      <p:ext uri="{BB962C8B-B14F-4D97-AF65-F5344CB8AC3E}">
        <p14:creationId xmlns:p14="http://schemas.microsoft.com/office/powerpoint/2010/main" val="21188028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248764A-8947-426D-9B8F-679FB0D21B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8666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6" imgW="592" imgH="591" progId="TCLayout.ActiveDocument.1">
                  <p:embed/>
                </p:oleObj>
              </mc:Choice>
              <mc:Fallback>
                <p:oleObj name="think-cell Slide" r:id="rId76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248764A-8947-426D-9B8F-679FB0D21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5" name="Rectangle 654"/>
          <p:cNvSpPr>
            <a:spLocks/>
          </p:cNvSpPr>
          <p:nvPr/>
        </p:nvSpPr>
        <p:spPr bwMode="auto">
          <a:xfrm>
            <a:off x="1781416" y="2249180"/>
            <a:ext cx="1258722" cy="30678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lang="en-US" sz="1000" b="1" i="1" dirty="0">
                <a:solidFill>
                  <a:schemeClr val="accent2"/>
                </a:solidFill>
                <a:latin typeface="+mn-lt"/>
              </a:rPr>
              <a:t>2016</a:t>
            </a:r>
          </a:p>
        </p:txBody>
      </p:sp>
      <p:sp>
        <p:nvSpPr>
          <p:cNvPr id="149" name="Rectangle 148"/>
          <p:cNvSpPr>
            <a:spLocks/>
          </p:cNvSpPr>
          <p:nvPr/>
        </p:nvSpPr>
        <p:spPr bwMode="auto">
          <a:xfrm>
            <a:off x="4333951" y="2249180"/>
            <a:ext cx="1225186" cy="30678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lang="en-US" sz="1000" b="1" i="1" dirty="0">
                <a:solidFill>
                  <a:schemeClr val="accent2"/>
                </a:solidFill>
                <a:latin typeface="+mn-lt"/>
              </a:rPr>
              <a:t>2018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FA678BCF-7E46-46EB-B510-4AE857EB368F}"/>
              </a:ext>
            </a:extLst>
          </p:cNvPr>
          <p:cNvSpPr>
            <a:spLocks/>
          </p:cNvSpPr>
          <p:nvPr/>
        </p:nvSpPr>
        <p:spPr bwMode="auto">
          <a:xfrm>
            <a:off x="6803707" y="2249180"/>
            <a:ext cx="1371600" cy="30678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lang="en-US" sz="1000" b="1" i="1" dirty="0">
                <a:solidFill>
                  <a:schemeClr val="accent2"/>
                </a:solidFill>
                <a:latin typeface="+mn-lt"/>
              </a:rPr>
              <a:t>2020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6EE5CFAA-4F7F-4E8D-8BF8-284A1A664373}"/>
              </a:ext>
            </a:extLst>
          </p:cNvPr>
          <p:cNvSpPr>
            <a:spLocks/>
          </p:cNvSpPr>
          <p:nvPr/>
        </p:nvSpPr>
        <p:spPr bwMode="auto">
          <a:xfrm>
            <a:off x="9385364" y="2249180"/>
            <a:ext cx="1237328" cy="30678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lang="en-US" sz="1000" b="1" i="1" dirty="0">
                <a:solidFill>
                  <a:schemeClr val="accent2"/>
                </a:solidFill>
                <a:latin typeface="+mn-lt"/>
              </a:rPr>
              <a:t>2022</a:t>
            </a:r>
          </a:p>
        </p:txBody>
      </p:sp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900" dirty="0" err="1">
              <a:cs typeface="Arial" panose="020B0604020202020204" pitchFamily="34" charset="0"/>
              <a:sym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F4E4E8-7E42-4B25-9CC8-49B618F9D8B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TOTAL MARKET</a:t>
            </a:r>
            <a:endParaRPr lang="el-GR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C2F8F7-85C5-496F-8D0F-A4F6F6E7E5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7012" y="6007481"/>
            <a:ext cx="11246241" cy="221599"/>
          </a:xfrm>
        </p:spPr>
        <p:txBody>
          <a:bodyPr/>
          <a:lstStyle/>
          <a:p>
            <a:r>
              <a:rPr lang="en-US" dirty="0"/>
              <a:t>1. Based on PSPs</a:t>
            </a:r>
          </a:p>
          <a:p>
            <a:r>
              <a:rPr lang="en-US" dirty="0"/>
              <a:t>Note: Excluding all L.3816 products; Total market figures (2015-2016) have been adjusted subject to IQVIA market restatement in 2018; Classification by On patent, Off patent, Generics and Others is based on </a:t>
            </a:r>
            <a:r>
              <a:rPr lang="en-US" dirty="0" err="1"/>
              <a:t>Sfee</a:t>
            </a:r>
            <a:r>
              <a:rPr lang="en-US" dirty="0"/>
              <a:t>/IQVIA flag; Other includes mainly vaccines</a:t>
            </a:r>
            <a:r>
              <a:rPr lang="el-GR" dirty="0"/>
              <a:t>, </a:t>
            </a:r>
            <a:r>
              <a:rPr lang="en-US" dirty="0"/>
              <a:t>supplements</a:t>
            </a:r>
            <a:r>
              <a:rPr lang="el-GR" dirty="0"/>
              <a:t> </a:t>
            </a:r>
            <a:r>
              <a:rPr lang="en-US" dirty="0"/>
              <a:t>and diabetes tes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arket size in values</a:t>
            </a:r>
            <a:r>
              <a:rPr lang="en-US" baseline="30000" dirty="0"/>
              <a:t>1</a:t>
            </a:r>
            <a:r>
              <a:rPr lang="en-US" dirty="0"/>
              <a:t> (PSP): By patent status – By semester – 2015-2022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1/23 market values increased by ~9.0% vs. Q1/22</a:t>
            </a:r>
          </a:p>
        </p:txBody>
      </p:sp>
      <p:sp>
        <p:nvSpPr>
          <p:cNvPr id="430" name="Oval 106"/>
          <p:cNvSpPr>
            <a:spLocks noChangeArrowheads="1"/>
          </p:cNvSpPr>
          <p:nvPr/>
        </p:nvSpPr>
        <p:spPr bwMode="auto">
          <a:xfrm>
            <a:off x="875713" y="2251689"/>
            <a:ext cx="555625" cy="223695"/>
          </a:xfrm>
          <a:prstGeom prst="round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b="1" i="1" dirty="0">
                <a:solidFill>
                  <a:schemeClr val="accent2"/>
                </a:solidFill>
                <a:latin typeface="+mn-lt"/>
              </a:rPr>
              <a:t>2015</a:t>
            </a:r>
          </a:p>
        </p:txBody>
      </p:sp>
      <p:sp>
        <p:nvSpPr>
          <p:cNvPr id="435" name="Oval 106"/>
          <p:cNvSpPr>
            <a:spLocks noChangeArrowheads="1"/>
          </p:cNvSpPr>
          <p:nvPr/>
        </p:nvSpPr>
        <p:spPr bwMode="auto">
          <a:xfrm>
            <a:off x="667960" y="5735638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22.9</a:t>
            </a:r>
          </a:p>
        </p:txBody>
      </p:sp>
      <p:sp>
        <p:nvSpPr>
          <p:cNvPr id="436" name="Oval 106"/>
          <p:cNvSpPr>
            <a:spLocks noChangeArrowheads="1"/>
          </p:cNvSpPr>
          <p:nvPr/>
        </p:nvSpPr>
        <p:spPr bwMode="auto">
          <a:xfrm>
            <a:off x="1935484" y="5735638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23.9</a:t>
            </a:r>
          </a:p>
        </p:txBody>
      </p:sp>
      <p:sp>
        <p:nvSpPr>
          <p:cNvPr id="445" name="Oval 106"/>
          <p:cNvSpPr>
            <a:spLocks noChangeArrowheads="1"/>
          </p:cNvSpPr>
          <p:nvPr/>
        </p:nvSpPr>
        <p:spPr bwMode="auto">
          <a:xfrm>
            <a:off x="1290849" y="5735638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23.3</a:t>
            </a:r>
          </a:p>
        </p:txBody>
      </p:sp>
      <p:sp>
        <p:nvSpPr>
          <p:cNvPr id="446" name="Oval 106"/>
          <p:cNvSpPr>
            <a:spLocks noChangeArrowheads="1"/>
          </p:cNvSpPr>
          <p:nvPr/>
        </p:nvSpPr>
        <p:spPr bwMode="auto">
          <a:xfrm>
            <a:off x="2571240" y="5735638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23.0</a:t>
            </a:r>
          </a:p>
        </p:txBody>
      </p:sp>
      <p:sp>
        <p:nvSpPr>
          <p:cNvPr id="447" name="Oval 106"/>
          <p:cNvSpPr>
            <a:spLocks noChangeArrowheads="1"/>
          </p:cNvSpPr>
          <p:nvPr/>
        </p:nvSpPr>
        <p:spPr bwMode="auto">
          <a:xfrm>
            <a:off x="3206996" y="5735638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23.0</a:t>
            </a:r>
          </a:p>
        </p:txBody>
      </p:sp>
      <p:sp>
        <p:nvSpPr>
          <p:cNvPr id="448" name="Oval 106"/>
          <p:cNvSpPr>
            <a:spLocks noChangeArrowheads="1"/>
          </p:cNvSpPr>
          <p:nvPr/>
        </p:nvSpPr>
        <p:spPr bwMode="auto">
          <a:xfrm>
            <a:off x="3846175" y="5735638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22.1</a:t>
            </a:r>
          </a:p>
        </p:txBody>
      </p:sp>
      <p:sp>
        <p:nvSpPr>
          <p:cNvPr id="451" name="Oval 106"/>
          <p:cNvSpPr>
            <a:spLocks noChangeArrowheads="1"/>
          </p:cNvSpPr>
          <p:nvPr/>
        </p:nvSpPr>
        <p:spPr bwMode="auto">
          <a:xfrm>
            <a:off x="4475498" y="5735638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22.6</a:t>
            </a:r>
          </a:p>
        </p:txBody>
      </p:sp>
      <p:sp>
        <p:nvSpPr>
          <p:cNvPr id="452" name="Oval 106"/>
          <p:cNvSpPr>
            <a:spLocks noChangeArrowheads="1"/>
          </p:cNvSpPr>
          <p:nvPr/>
        </p:nvSpPr>
        <p:spPr bwMode="auto">
          <a:xfrm>
            <a:off x="5096921" y="5735638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22.2</a:t>
            </a:r>
          </a:p>
        </p:txBody>
      </p:sp>
      <p:sp>
        <p:nvSpPr>
          <p:cNvPr id="456" name="Oval 106"/>
          <p:cNvSpPr>
            <a:spLocks noChangeArrowheads="1"/>
          </p:cNvSpPr>
          <p:nvPr/>
        </p:nvSpPr>
        <p:spPr bwMode="auto">
          <a:xfrm>
            <a:off x="5741555" y="5735638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23.2</a:t>
            </a:r>
          </a:p>
        </p:txBody>
      </p:sp>
      <p:sp>
        <p:nvSpPr>
          <p:cNvPr id="475" name="Rectangle 8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736013" y="1768475"/>
            <a:ext cx="160338" cy="120650"/>
          </a:xfrm>
          <a:prstGeom prst="rect">
            <a:avLst/>
          </a:prstGeom>
          <a:solidFill>
            <a:srgbClr val="CAE3FF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algn="ctr"/>
            <a:endParaRPr lang="el-GR" sz="1000" dirty="0"/>
          </a:p>
        </p:txBody>
      </p:sp>
      <p:sp>
        <p:nvSpPr>
          <p:cNvPr id="473" name="Rectangle 472"/>
          <p:cNvSpPr/>
          <p:nvPr>
            <p:custDataLst>
              <p:tags r:id="rId4"/>
            </p:custDataLst>
          </p:nvPr>
        </p:nvSpPr>
        <p:spPr bwMode="auto">
          <a:xfrm>
            <a:off x="9505950" y="1768475"/>
            <a:ext cx="160338" cy="1206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400" dirty="0">
              <a:latin typeface="Arial"/>
            </a:endParaRPr>
          </a:p>
        </p:txBody>
      </p:sp>
      <p:sp>
        <p:nvSpPr>
          <p:cNvPr id="474" name="Rectangle 8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736013" y="1955800"/>
            <a:ext cx="160338" cy="120650"/>
          </a:xfrm>
          <a:prstGeom prst="rect">
            <a:avLst/>
          </a:prstGeom>
          <a:solidFill>
            <a:srgbClr val="25B4FF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algn="ctr"/>
            <a:endParaRPr lang="el-GR" sz="1000" dirty="0"/>
          </a:p>
        </p:txBody>
      </p:sp>
      <p:sp>
        <p:nvSpPr>
          <p:cNvPr id="472" name="Rectangle 8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505950" y="1955800"/>
            <a:ext cx="160338" cy="120650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algn="ctr"/>
            <a:endParaRPr lang="el-GR" sz="1000" dirty="0"/>
          </a:p>
        </p:txBody>
      </p:sp>
      <p:sp>
        <p:nvSpPr>
          <p:cNvPr id="479" name="Rectangle 5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947150" y="1765300"/>
            <a:ext cx="28575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fld id="{B7FDA2BE-B8D0-4DF2-97A3-63B4BA79B15A}" type="datetime'''''''O''''''''''''''''''''the''''''''r'''''''''''">
              <a:rPr lang="en-US" altLang="en-US" sz="900" smtClean="0">
                <a:cs typeface="Arial" panose="020B0604020202020204" pitchFamily="34" charset="0"/>
              </a:rPr>
              <a:pPr/>
              <a:t>Other</a:t>
            </a:fld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476" name="Rectangle 6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9717088" y="1952625"/>
            <a:ext cx="50165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fld id="{D31A1A6D-BA77-4A79-9081-E4D0ECE2AA3E}" type="datetime'On'''''''''''''''''''' p''''a''''''''''''''t''''e''nt'''''">
              <a:rPr lang="en-US" altLang="en-US" sz="900" smtClean="0">
                <a:cs typeface="Arial" panose="020B0604020202020204" pitchFamily="34" charset="0"/>
              </a:rPr>
              <a:pPr/>
              <a:t>On patent</a:t>
            </a:fld>
            <a:endParaRPr lang="en-US" sz="9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478" name="Rectangle 59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947150" y="1952625"/>
            <a:ext cx="45720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fld id="{5F912A0B-0E16-4BFC-A04A-ED767A122D4C}" type="datetime'''''''''''''''''''Ge''n''e''''''''''r''''''''''''ic''s'">
              <a:rPr lang="en-US" altLang="en-US" sz="900" smtClean="0">
                <a:cs typeface="Arial" panose="020B0604020202020204" pitchFamily="34" charset="0"/>
              </a:rPr>
              <a:pPr/>
              <a:t>Generics</a:t>
            </a:fld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477" name="Rectangle 59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717088" y="1765300"/>
            <a:ext cx="50165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fld id="{9EDD97A5-7613-4FB1-A72A-C99D76F56D70}" type="datetime'''''''''''''O''''''f''''''''''''''''''f'''' ''p''a''''t''ent'">
              <a:rPr lang="en-US" altLang="en-US" sz="900" smtClean="0">
                <a:cs typeface="Arial" panose="020B0604020202020204" pitchFamily="34" charset="0"/>
              </a:rPr>
              <a:pPr/>
              <a:t>Off patent</a:t>
            </a:fld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657" name="Oval 106"/>
          <p:cNvSpPr>
            <a:spLocks noChangeArrowheads="1"/>
          </p:cNvSpPr>
          <p:nvPr/>
        </p:nvSpPr>
        <p:spPr bwMode="auto">
          <a:xfrm>
            <a:off x="3395939" y="2251689"/>
            <a:ext cx="557213" cy="223695"/>
          </a:xfrm>
          <a:prstGeom prst="round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b="1" i="1" dirty="0">
                <a:solidFill>
                  <a:schemeClr val="accent2"/>
                </a:solidFill>
                <a:latin typeface="+mn-lt"/>
              </a:rPr>
              <a:t>2017</a:t>
            </a:r>
          </a:p>
        </p:txBody>
      </p:sp>
      <p:sp>
        <p:nvSpPr>
          <p:cNvPr id="658" name="Oval 106"/>
          <p:cNvSpPr>
            <a:spLocks noChangeArrowheads="1"/>
          </p:cNvSpPr>
          <p:nvPr/>
        </p:nvSpPr>
        <p:spPr bwMode="auto">
          <a:xfrm>
            <a:off x="5902286" y="2251689"/>
            <a:ext cx="555625" cy="223695"/>
          </a:xfrm>
          <a:prstGeom prst="round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b="1" i="1" dirty="0">
                <a:solidFill>
                  <a:schemeClr val="accent2"/>
                </a:solidFill>
                <a:latin typeface="+mn-lt"/>
              </a:rPr>
              <a:t>2019</a:t>
            </a:r>
          </a:p>
        </p:txBody>
      </p:sp>
      <p:sp>
        <p:nvSpPr>
          <p:cNvPr id="131" name="Oval 106">
            <a:extLst>
              <a:ext uri="{FF2B5EF4-FFF2-40B4-BE49-F238E27FC236}">
                <a16:creationId xmlns:a16="http://schemas.microsoft.com/office/drawing/2014/main" id="{9E432FD6-1893-4A87-A59E-49FB41B058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1856" y="5735638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23.2</a:t>
            </a:r>
          </a:p>
        </p:txBody>
      </p:sp>
      <p:sp>
        <p:nvSpPr>
          <p:cNvPr id="103" name="Oval 106">
            <a:extLst>
              <a:ext uri="{FF2B5EF4-FFF2-40B4-BE49-F238E27FC236}">
                <a16:creationId xmlns:a16="http://schemas.microsoft.com/office/drawing/2014/main" id="{C5C2D6DA-831E-42EE-89A1-AA2F874347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98734" y="5735638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2</a:t>
            </a:r>
            <a:r>
              <a:rPr lang="el-GR" sz="900" dirty="0">
                <a:latin typeface="+mn-lt"/>
              </a:rPr>
              <a:t>4.3</a:t>
            </a:r>
            <a:endParaRPr lang="en-US" sz="900" dirty="0">
              <a:latin typeface="+mn-lt"/>
            </a:endParaRPr>
          </a:p>
        </p:txBody>
      </p:sp>
      <p:sp>
        <p:nvSpPr>
          <p:cNvPr id="118" name="Oval 106">
            <a:extLst>
              <a:ext uri="{FF2B5EF4-FFF2-40B4-BE49-F238E27FC236}">
                <a16:creationId xmlns:a16="http://schemas.microsoft.com/office/drawing/2014/main" id="{84286C4B-C6F3-44E3-98CA-79D21E7DA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490" y="5735638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2</a:t>
            </a:r>
            <a:r>
              <a:rPr lang="en-US" sz="900" dirty="0"/>
              <a:t>3</a:t>
            </a:r>
            <a:r>
              <a:rPr lang="el-GR" sz="900" dirty="0">
                <a:latin typeface="+mn-lt"/>
              </a:rPr>
              <a:t>.</a:t>
            </a:r>
            <a:r>
              <a:rPr lang="el-GR" sz="900" dirty="0"/>
              <a:t>3</a:t>
            </a:r>
            <a:endParaRPr lang="en-US" sz="900" dirty="0">
              <a:latin typeface="+mn-lt"/>
            </a:endParaRPr>
          </a:p>
        </p:txBody>
      </p:sp>
      <p:sp>
        <p:nvSpPr>
          <p:cNvPr id="454" name="Rectangle 453" hidden="1">
            <a:extLst>
              <a:ext uri="{FF2B5EF4-FFF2-40B4-BE49-F238E27FC236}">
                <a16:creationId xmlns:a16="http://schemas.microsoft.com/office/drawing/2014/main" id="{7C87F585-470F-47C1-ADEA-0A0EE20C436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9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5" name="Rectangle 454" hidden="1">
            <a:extLst>
              <a:ext uri="{FF2B5EF4-FFF2-40B4-BE49-F238E27FC236}">
                <a16:creationId xmlns:a16="http://schemas.microsoft.com/office/drawing/2014/main" id="{1364AEBB-2F3B-4C22-B3D2-16421D683E4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458" name="Rectangle 457" hidden="1">
            <a:extLst>
              <a:ext uri="{FF2B5EF4-FFF2-40B4-BE49-F238E27FC236}">
                <a16:creationId xmlns:a16="http://schemas.microsoft.com/office/drawing/2014/main" id="{77E1D962-284E-46BB-8DC8-598418B9BC1E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9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9" name="Rectangle 458" hidden="1">
            <a:extLst>
              <a:ext uri="{FF2B5EF4-FFF2-40B4-BE49-F238E27FC236}">
                <a16:creationId xmlns:a16="http://schemas.microsoft.com/office/drawing/2014/main" id="{3AA4AC81-CC88-4D2A-BC72-A9D728C37151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133" name="Text Box 123">
            <a:extLst>
              <a:ext uri="{FF2B5EF4-FFF2-40B4-BE49-F238E27FC236}">
                <a16:creationId xmlns:a16="http://schemas.microsoft.com/office/drawing/2014/main" id="{FD47BA73-5AFC-40DF-A7F1-7B37248DF4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5721350"/>
            <a:ext cx="6556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800" i="1" dirty="0">
                <a:latin typeface="+mn-lt"/>
              </a:rPr>
              <a:t>Generics</a:t>
            </a:r>
          </a:p>
          <a:p>
            <a:pPr algn="ctr">
              <a:lnSpc>
                <a:spcPct val="85000"/>
              </a:lnSpc>
            </a:pPr>
            <a:r>
              <a:rPr lang="en-US" sz="800" i="1" dirty="0">
                <a:latin typeface="+mn-lt"/>
              </a:rPr>
              <a:t>m.s. (%)</a:t>
            </a:r>
          </a:p>
        </p:txBody>
      </p:sp>
      <p:sp>
        <p:nvSpPr>
          <p:cNvPr id="136" name="Oval 106">
            <a:extLst>
              <a:ext uri="{FF2B5EF4-FFF2-40B4-BE49-F238E27FC236}">
                <a16:creationId xmlns:a16="http://schemas.microsoft.com/office/drawing/2014/main" id="{5573D8D3-0E21-4BC0-83D6-BC568FA167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71713" y="5735638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24</a:t>
            </a:r>
            <a:r>
              <a:rPr lang="el-GR" sz="900" dirty="0">
                <a:latin typeface="+mn-lt"/>
              </a:rPr>
              <a:t>.</a:t>
            </a:r>
            <a:r>
              <a:rPr lang="en-US" sz="900" dirty="0"/>
              <a:t>9</a:t>
            </a:r>
            <a:endParaRPr lang="en-US" sz="900" dirty="0">
              <a:latin typeface="+mn-lt"/>
            </a:endParaRP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09975F3-0CF1-4BE1-A01A-9C2FBC59BC79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2800" b="1" dirty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135" name="Oval 106">
            <a:extLst>
              <a:ext uri="{FF2B5EF4-FFF2-40B4-BE49-F238E27FC236}">
                <a16:creationId xmlns:a16="http://schemas.microsoft.com/office/drawing/2014/main" id="{B57EA6D8-4376-4610-BA61-9733E61637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98587" y="5735638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25</a:t>
            </a:r>
            <a:r>
              <a:rPr lang="el-GR" sz="900" dirty="0">
                <a:latin typeface="+mn-lt"/>
              </a:rPr>
              <a:t>.</a:t>
            </a:r>
            <a:r>
              <a:rPr lang="en-US" sz="900" dirty="0"/>
              <a:t>4</a:t>
            </a:r>
            <a:endParaRPr lang="en-US" sz="900" dirty="0">
              <a:latin typeface="+mn-lt"/>
            </a:endParaRPr>
          </a:p>
        </p:txBody>
      </p:sp>
      <p:sp>
        <p:nvSpPr>
          <p:cNvPr id="144" name="Oval 106">
            <a:extLst>
              <a:ext uri="{FF2B5EF4-FFF2-40B4-BE49-F238E27FC236}">
                <a16:creationId xmlns:a16="http://schemas.microsoft.com/office/drawing/2014/main" id="{2253683C-F271-4D9E-8F2E-6D8A229240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8495" y="2251689"/>
            <a:ext cx="555625" cy="223695"/>
          </a:xfrm>
          <a:prstGeom prst="round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b="1" i="1" dirty="0">
                <a:solidFill>
                  <a:schemeClr val="accent2"/>
                </a:solidFill>
                <a:latin typeface="+mn-lt"/>
              </a:rPr>
              <a:t>2021</a:t>
            </a:r>
          </a:p>
        </p:txBody>
      </p:sp>
      <p:sp>
        <p:nvSpPr>
          <p:cNvPr id="154" name="Oval 106">
            <a:extLst>
              <a:ext uri="{FF2B5EF4-FFF2-40B4-BE49-F238E27FC236}">
                <a16:creationId xmlns:a16="http://schemas.microsoft.com/office/drawing/2014/main" id="{C62C48AB-AB5B-4B50-8D14-CA9C6B0F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44020" y="5735638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26.3</a:t>
            </a:r>
          </a:p>
        </p:txBody>
      </p:sp>
      <p:sp>
        <p:nvSpPr>
          <p:cNvPr id="160" name="Oval 106">
            <a:extLst>
              <a:ext uri="{FF2B5EF4-FFF2-40B4-BE49-F238E27FC236}">
                <a16:creationId xmlns:a16="http://schemas.microsoft.com/office/drawing/2014/main" id="{5C2C2581-BBEF-42DD-A77B-76038EC317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71412" y="5735638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26.5</a:t>
            </a:r>
          </a:p>
        </p:txBody>
      </p:sp>
      <p:sp>
        <p:nvSpPr>
          <p:cNvPr id="461" name="Rounded Rectangular Callout 460"/>
          <p:cNvSpPr/>
          <p:nvPr/>
        </p:nvSpPr>
        <p:spPr bwMode="auto">
          <a:xfrm>
            <a:off x="2893182" y="2801439"/>
            <a:ext cx="431800" cy="249705"/>
          </a:xfrm>
          <a:prstGeom prst="wedgeRoundRectCallout">
            <a:avLst>
              <a:gd name="adj1" fmla="val -126970"/>
              <a:gd name="adj2" fmla="val 195713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75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62" name="Rounded Rectangular Callout 461"/>
          <p:cNvSpPr/>
          <p:nvPr/>
        </p:nvSpPr>
        <p:spPr bwMode="auto">
          <a:xfrm>
            <a:off x="638932" y="2923793"/>
            <a:ext cx="539750" cy="216000"/>
          </a:xfrm>
          <a:prstGeom prst="wedgeRoundRectCallout">
            <a:avLst>
              <a:gd name="adj1" fmla="val -7344"/>
              <a:gd name="adj2" fmla="val 178336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50" b="1" dirty="0">
                <a:latin typeface="+mn-lt"/>
              </a:rPr>
              <a:t>New P.L.</a:t>
            </a:r>
          </a:p>
        </p:txBody>
      </p:sp>
      <p:sp>
        <p:nvSpPr>
          <p:cNvPr id="463" name="Rounded Rectangular Callout 462"/>
          <p:cNvSpPr/>
          <p:nvPr/>
        </p:nvSpPr>
        <p:spPr bwMode="auto">
          <a:xfrm>
            <a:off x="1038982" y="2562300"/>
            <a:ext cx="679450" cy="288000"/>
          </a:xfrm>
          <a:prstGeom prst="wedgeRoundRectCallout">
            <a:avLst>
              <a:gd name="adj1" fmla="val 32636"/>
              <a:gd name="adj2" fmla="val 253891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50" b="1" dirty="0">
                <a:latin typeface="+mn-lt"/>
              </a:rPr>
              <a:t>Referendum/</a:t>
            </a:r>
          </a:p>
          <a:p>
            <a:pPr algn="ctr"/>
            <a:r>
              <a:rPr lang="en-US" sz="750" b="1" dirty="0">
                <a:latin typeface="+mn-lt"/>
              </a:rPr>
              <a:t>Elections</a:t>
            </a:r>
          </a:p>
        </p:txBody>
      </p:sp>
      <p:sp>
        <p:nvSpPr>
          <p:cNvPr id="464" name="Rounded Rectangular Callout 463"/>
          <p:cNvSpPr/>
          <p:nvPr/>
        </p:nvSpPr>
        <p:spPr bwMode="auto">
          <a:xfrm>
            <a:off x="1766057" y="2896837"/>
            <a:ext cx="431800" cy="288000"/>
          </a:xfrm>
          <a:prstGeom prst="wedgeRoundRectCallout">
            <a:avLst>
              <a:gd name="adj1" fmla="val -44375"/>
              <a:gd name="adj2" fmla="val 144378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50" b="1" dirty="0">
                <a:latin typeface="+mn-lt"/>
              </a:rPr>
              <a:t>Price bulletin</a:t>
            </a:r>
          </a:p>
        </p:txBody>
      </p:sp>
      <p:sp>
        <p:nvSpPr>
          <p:cNvPr id="465" name="Rounded Rectangular Callout 464"/>
          <p:cNvSpPr/>
          <p:nvPr/>
        </p:nvSpPr>
        <p:spPr bwMode="auto">
          <a:xfrm>
            <a:off x="2332795" y="2789466"/>
            <a:ext cx="347663" cy="249705"/>
          </a:xfrm>
          <a:prstGeom prst="wedgeRoundRectCallout">
            <a:avLst>
              <a:gd name="adj1" fmla="val -19215"/>
              <a:gd name="adj2" fmla="val 122496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50" b="1" dirty="0">
                <a:latin typeface="+mn-lt"/>
              </a:rPr>
              <a:t>New P.L.</a:t>
            </a:r>
          </a:p>
        </p:txBody>
      </p:sp>
      <p:sp>
        <p:nvSpPr>
          <p:cNvPr id="466" name="Rounded Rectangular Callout 465"/>
          <p:cNvSpPr/>
          <p:nvPr/>
        </p:nvSpPr>
        <p:spPr bwMode="auto">
          <a:xfrm>
            <a:off x="2893182" y="2801439"/>
            <a:ext cx="431800" cy="249705"/>
          </a:xfrm>
          <a:prstGeom prst="wedgeRoundRectCallout">
            <a:avLst>
              <a:gd name="adj1" fmla="val 18915"/>
              <a:gd name="adj2" fmla="val 159128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50" b="1" dirty="0">
                <a:latin typeface="+mn-lt"/>
              </a:rPr>
              <a:t>Price bulletin</a:t>
            </a:r>
          </a:p>
        </p:txBody>
      </p:sp>
      <p:sp>
        <p:nvSpPr>
          <p:cNvPr id="467" name="Rounded Rectangular Callout 466"/>
          <p:cNvSpPr/>
          <p:nvPr/>
        </p:nvSpPr>
        <p:spPr bwMode="auto">
          <a:xfrm>
            <a:off x="3985382" y="3004991"/>
            <a:ext cx="346075" cy="249705"/>
          </a:xfrm>
          <a:prstGeom prst="wedgeRoundRectCallout">
            <a:avLst>
              <a:gd name="adj1" fmla="val 56193"/>
              <a:gd name="adj2" fmla="val 133673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50" b="1" dirty="0">
                <a:latin typeface="+mn-lt"/>
              </a:rPr>
              <a:t>New P.L.</a:t>
            </a:r>
          </a:p>
        </p:txBody>
      </p:sp>
      <p:sp>
        <p:nvSpPr>
          <p:cNvPr id="155" name="Rounded Rectangular Callout 154"/>
          <p:cNvSpPr/>
          <p:nvPr/>
        </p:nvSpPr>
        <p:spPr bwMode="auto">
          <a:xfrm>
            <a:off x="5187120" y="2790554"/>
            <a:ext cx="346075" cy="249705"/>
          </a:xfrm>
          <a:prstGeom prst="wedgeRoundRectCallout">
            <a:avLst>
              <a:gd name="adj1" fmla="val -50309"/>
              <a:gd name="adj2" fmla="val 163909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50" b="1" dirty="0">
                <a:latin typeface="+mn-lt"/>
              </a:rPr>
              <a:t>New P.L.</a:t>
            </a:r>
          </a:p>
        </p:txBody>
      </p:sp>
      <p:sp>
        <p:nvSpPr>
          <p:cNvPr id="158" name="Rounded Rectangular Callout 157"/>
          <p:cNvSpPr/>
          <p:nvPr/>
        </p:nvSpPr>
        <p:spPr bwMode="auto">
          <a:xfrm>
            <a:off x="4633082" y="2781599"/>
            <a:ext cx="431800" cy="249705"/>
          </a:xfrm>
          <a:prstGeom prst="wedgeRoundRectCallout">
            <a:avLst>
              <a:gd name="adj1" fmla="val -64867"/>
              <a:gd name="adj2" fmla="val 181123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75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59" name="Rounded Rectangular Callout 158"/>
          <p:cNvSpPr/>
          <p:nvPr/>
        </p:nvSpPr>
        <p:spPr bwMode="auto">
          <a:xfrm>
            <a:off x="4633082" y="2781599"/>
            <a:ext cx="431800" cy="249705"/>
          </a:xfrm>
          <a:prstGeom prst="wedgeRoundRectCallout">
            <a:avLst>
              <a:gd name="adj1" fmla="val 60075"/>
              <a:gd name="adj2" fmla="val 187158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50" b="1" dirty="0">
                <a:latin typeface="+mn-lt"/>
              </a:rPr>
              <a:t>Price bulletin</a:t>
            </a:r>
          </a:p>
        </p:txBody>
      </p:sp>
      <p:sp>
        <p:nvSpPr>
          <p:cNvPr id="138" name="Rounded Rectangular Callout 137"/>
          <p:cNvSpPr/>
          <p:nvPr/>
        </p:nvSpPr>
        <p:spPr bwMode="auto">
          <a:xfrm>
            <a:off x="5957057" y="2642012"/>
            <a:ext cx="431800" cy="249705"/>
          </a:xfrm>
          <a:prstGeom prst="wedgeRoundRectCallout">
            <a:avLst>
              <a:gd name="adj1" fmla="val -50993"/>
              <a:gd name="adj2" fmla="val 276712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50" b="1" dirty="0">
                <a:latin typeface="+mn-lt"/>
              </a:rPr>
              <a:t>Price bulletin</a:t>
            </a:r>
          </a:p>
        </p:txBody>
      </p:sp>
      <p:sp>
        <p:nvSpPr>
          <p:cNvPr id="139" name="Rounded Rectangular Callout 138"/>
          <p:cNvSpPr/>
          <p:nvPr/>
        </p:nvSpPr>
        <p:spPr bwMode="auto">
          <a:xfrm>
            <a:off x="5625270" y="2889442"/>
            <a:ext cx="346075" cy="249705"/>
          </a:xfrm>
          <a:prstGeom prst="wedgeRoundRectCallout">
            <a:avLst>
              <a:gd name="adj1" fmla="val -1514"/>
              <a:gd name="adj2" fmla="val 119819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50" b="1" dirty="0">
                <a:latin typeface="+mn-lt"/>
              </a:rPr>
              <a:t>New P.L.</a:t>
            </a:r>
          </a:p>
        </p:txBody>
      </p:sp>
      <p:sp>
        <p:nvSpPr>
          <p:cNvPr id="150" name="Rounded Rectangular Callout 137">
            <a:extLst>
              <a:ext uri="{FF2B5EF4-FFF2-40B4-BE49-F238E27FC236}">
                <a16:creationId xmlns:a16="http://schemas.microsoft.com/office/drawing/2014/main" id="{6C2A7036-7603-4289-83F9-34E509F6D8A6}"/>
              </a:ext>
            </a:extLst>
          </p:cNvPr>
          <p:cNvSpPr/>
          <p:nvPr/>
        </p:nvSpPr>
        <p:spPr bwMode="auto">
          <a:xfrm>
            <a:off x="8177970" y="2696701"/>
            <a:ext cx="431800" cy="249705"/>
          </a:xfrm>
          <a:prstGeom prst="wedgeRoundRectCallout">
            <a:avLst>
              <a:gd name="adj1" fmla="val 36392"/>
              <a:gd name="adj2" fmla="val 165847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50" b="1" dirty="0">
                <a:latin typeface="+mn-lt"/>
              </a:rPr>
              <a:t>Price bulletin</a:t>
            </a:r>
          </a:p>
        </p:txBody>
      </p:sp>
      <p:sp>
        <p:nvSpPr>
          <p:cNvPr id="152" name="Rounded Rectangular Callout 137">
            <a:extLst>
              <a:ext uri="{FF2B5EF4-FFF2-40B4-BE49-F238E27FC236}">
                <a16:creationId xmlns:a16="http://schemas.microsoft.com/office/drawing/2014/main" id="{F8EFE1D9-8BCA-48B0-A143-B4C1686E5C60}"/>
              </a:ext>
            </a:extLst>
          </p:cNvPr>
          <p:cNvSpPr/>
          <p:nvPr/>
        </p:nvSpPr>
        <p:spPr bwMode="auto">
          <a:xfrm>
            <a:off x="9112007" y="2570427"/>
            <a:ext cx="431800" cy="249705"/>
          </a:xfrm>
          <a:prstGeom prst="wedgeRoundRectCallout">
            <a:avLst>
              <a:gd name="adj1" fmla="val 2106"/>
              <a:gd name="adj2" fmla="val 106559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50" b="1" dirty="0">
                <a:latin typeface="+mn-lt"/>
              </a:rPr>
              <a:t>Price bulletin</a:t>
            </a:r>
          </a:p>
        </p:txBody>
      </p:sp>
      <p:sp>
        <p:nvSpPr>
          <p:cNvPr id="143" name="Rounded Rectangular Callout 154">
            <a:extLst>
              <a:ext uri="{FF2B5EF4-FFF2-40B4-BE49-F238E27FC236}">
                <a16:creationId xmlns:a16="http://schemas.microsoft.com/office/drawing/2014/main" id="{ECEF77C5-EC1D-4850-9FC5-2725FA5CB146}"/>
              </a:ext>
            </a:extLst>
          </p:cNvPr>
          <p:cNvSpPr/>
          <p:nvPr/>
        </p:nvSpPr>
        <p:spPr bwMode="auto">
          <a:xfrm>
            <a:off x="7618989" y="2455274"/>
            <a:ext cx="346075" cy="249705"/>
          </a:xfrm>
          <a:prstGeom prst="wedgeRoundRectCallout">
            <a:avLst>
              <a:gd name="adj1" fmla="val -2498"/>
              <a:gd name="adj2" fmla="val 132521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50" b="1" dirty="0">
                <a:latin typeface="+mn-lt"/>
              </a:rPr>
              <a:t>New P.L.</a:t>
            </a:r>
          </a:p>
        </p:txBody>
      </p:sp>
      <p:sp>
        <p:nvSpPr>
          <p:cNvPr id="119" name="Rounded Rectangular Callout 154">
            <a:extLst>
              <a:ext uri="{FF2B5EF4-FFF2-40B4-BE49-F238E27FC236}">
                <a16:creationId xmlns:a16="http://schemas.microsoft.com/office/drawing/2014/main" id="{ECEF77C5-EC1D-4850-9FC5-2725FA5CB146}"/>
              </a:ext>
            </a:extLst>
          </p:cNvPr>
          <p:cNvSpPr/>
          <p:nvPr/>
        </p:nvSpPr>
        <p:spPr bwMode="auto">
          <a:xfrm>
            <a:off x="8849481" y="2938387"/>
            <a:ext cx="346075" cy="249705"/>
          </a:xfrm>
          <a:prstGeom prst="wedgeRoundRectCallout">
            <a:avLst>
              <a:gd name="adj1" fmla="val -10047"/>
              <a:gd name="adj2" fmla="val 87183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b="1" dirty="0">
                <a:latin typeface="+mn-lt"/>
              </a:rPr>
              <a:t>New P.L.</a:t>
            </a:r>
          </a:p>
        </p:txBody>
      </p:sp>
      <p:sp>
        <p:nvSpPr>
          <p:cNvPr id="217" name="Rounded Rectangular Callout 137">
            <a:extLst>
              <a:ext uri="{FF2B5EF4-FFF2-40B4-BE49-F238E27FC236}">
                <a16:creationId xmlns:a16="http://schemas.microsoft.com/office/drawing/2014/main" id="{0B6640E9-1780-4EC7-B551-41A7539B9BBF}"/>
              </a:ext>
            </a:extLst>
          </p:cNvPr>
          <p:cNvSpPr/>
          <p:nvPr/>
        </p:nvSpPr>
        <p:spPr bwMode="auto">
          <a:xfrm>
            <a:off x="9811626" y="2441360"/>
            <a:ext cx="431800" cy="249705"/>
          </a:xfrm>
          <a:prstGeom prst="wedgeRoundRectCallout">
            <a:avLst>
              <a:gd name="adj1" fmla="val 2106"/>
              <a:gd name="adj2" fmla="val 106559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50" b="1" dirty="0">
                <a:latin typeface="+mn-lt"/>
              </a:rPr>
              <a:t>Price bulletin</a:t>
            </a:r>
          </a:p>
        </p:txBody>
      </p:sp>
      <p:sp>
        <p:nvSpPr>
          <p:cNvPr id="218" name="Rounded Rectangular Callout 154">
            <a:extLst>
              <a:ext uri="{FF2B5EF4-FFF2-40B4-BE49-F238E27FC236}">
                <a16:creationId xmlns:a16="http://schemas.microsoft.com/office/drawing/2014/main" id="{009BBE11-D835-4EC5-8E5B-DCC36F7C95B1}"/>
              </a:ext>
            </a:extLst>
          </p:cNvPr>
          <p:cNvSpPr/>
          <p:nvPr/>
        </p:nvSpPr>
        <p:spPr bwMode="auto">
          <a:xfrm>
            <a:off x="9549100" y="2933612"/>
            <a:ext cx="346075" cy="249705"/>
          </a:xfrm>
          <a:prstGeom prst="wedgeRoundRectCallout">
            <a:avLst>
              <a:gd name="adj1" fmla="val -10047"/>
              <a:gd name="adj2" fmla="val 87183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b="1" dirty="0">
                <a:latin typeface="+mn-lt"/>
              </a:rPr>
              <a:t>New P.L.</a:t>
            </a:r>
          </a:p>
        </p:txBody>
      </p:sp>
      <p:sp>
        <p:nvSpPr>
          <p:cNvPr id="151" name="Rounded Rectangular Callout 137">
            <a:extLst>
              <a:ext uri="{FF2B5EF4-FFF2-40B4-BE49-F238E27FC236}">
                <a16:creationId xmlns:a16="http://schemas.microsoft.com/office/drawing/2014/main" id="{00F96F21-9346-40CF-B8AB-A40D273A8874}"/>
              </a:ext>
            </a:extLst>
          </p:cNvPr>
          <p:cNvSpPr/>
          <p:nvPr/>
        </p:nvSpPr>
        <p:spPr bwMode="auto">
          <a:xfrm>
            <a:off x="10342709" y="2602437"/>
            <a:ext cx="431800" cy="249705"/>
          </a:xfrm>
          <a:prstGeom prst="wedgeRoundRectCallout">
            <a:avLst>
              <a:gd name="adj1" fmla="val 2106"/>
              <a:gd name="adj2" fmla="val 106559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50" b="1" dirty="0">
                <a:latin typeface="+mn-lt"/>
              </a:rPr>
              <a:t>Price bulletin</a:t>
            </a:r>
          </a:p>
        </p:txBody>
      </p:sp>
      <p:sp>
        <p:nvSpPr>
          <p:cNvPr id="153" name="Rounded Rectangular Callout 154">
            <a:extLst>
              <a:ext uri="{FF2B5EF4-FFF2-40B4-BE49-F238E27FC236}">
                <a16:creationId xmlns:a16="http://schemas.microsoft.com/office/drawing/2014/main" id="{FAAD7F7A-7C6A-42DD-86B7-4371E0D7FF57}"/>
              </a:ext>
            </a:extLst>
          </p:cNvPr>
          <p:cNvSpPr/>
          <p:nvPr/>
        </p:nvSpPr>
        <p:spPr bwMode="auto">
          <a:xfrm>
            <a:off x="10080183" y="2945230"/>
            <a:ext cx="346075" cy="249705"/>
          </a:xfrm>
          <a:prstGeom prst="wedgeRoundRectCallout">
            <a:avLst>
              <a:gd name="adj1" fmla="val -10047"/>
              <a:gd name="adj2" fmla="val 87183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b="1" dirty="0">
                <a:latin typeface="+mn-lt"/>
              </a:rPr>
              <a:t>New P.L.</a:t>
            </a:r>
          </a:p>
        </p:txBody>
      </p:sp>
      <p:graphicFrame>
        <p:nvGraphicFramePr>
          <p:cNvPr id="450" name="Chart 449">
            <a:extLst>
              <a:ext uri="{FF2B5EF4-FFF2-40B4-BE49-F238E27FC236}">
                <a16:creationId xmlns:a16="http://schemas.microsoft.com/office/drawing/2014/main" id="{0F15C03E-AD42-77A7-BDE4-FDB2C6AB5B7C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84466436"/>
              </p:ext>
            </p:extLst>
          </p:nvPr>
        </p:nvGraphicFramePr>
        <p:xfrm>
          <a:off x="20638" y="2120900"/>
          <a:ext cx="11342687" cy="3270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8"/>
          </a:graphicData>
        </a:graphic>
      </p:graphicFrame>
      <p:cxnSp>
        <p:nvCxnSpPr>
          <p:cNvPr id="525" name="Straight Connector 524">
            <a:extLst>
              <a:ext uri="{FF2B5EF4-FFF2-40B4-BE49-F238E27FC236}">
                <a16:creationId xmlns:a16="http://schemas.microsoft.com/office/drawing/2014/main" id="{08F06822-D375-4A4F-958B-DC1F695FEAF2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2690813" y="3513138"/>
            <a:ext cx="0" cy="15875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3" name="Straight Connector 522">
            <a:extLst>
              <a:ext uri="{FF2B5EF4-FFF2-40B4-BE49-F238E27FC236}">
                <a16:creationId xmlns:a16="http://schemas.microsoft.com/office/drawing/2014/main" id="{44E7CF3F-2E7E-432A-B9BF-DB3E84EA0ED4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 flipV="1">
            <a:off x="1462088" y="3513138"/>
            <a:ext cx="0" cy="17145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4" name="Straight Connector 523">
            <a:extLst>
              <a:ext uri="{FF2B5EF4-FFF2-40B4-BE49-F238E27FC236}">
                <a16:creationId xmlns:a16="http://schemas.microsoft.com/office/drawing/2014/main" id="{15834BF8-E7C6-4861-AFDA-2EF3288164F7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1462088" y="3513138"/>
            <a:ext cx="1228725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4" name="Straight Connector 493"/>
          <p:cNvCxnSpPr/>
          <p:nvPr>
            <p:custDataLst>
              <p:tags r:id="rId15"/>
            </p:custDataLst>
          </p:nvPr>
        </p:nvCxnSpPr>
        <p:spPr bwMode="gray">
          <a:xfrm>
            <a:off x="2767013" y="3532188"/>
            <a:ext cx="1190625" cy="0"/>
          </a:xfrm>
          <a:prstGeom prst="line">
            <a:avLst/>
          </a:prstGeom>
          <a:ln w="12700" cmpd="sng" algn="ctr">
            <a:solidFill>
              <a:schemeClr val="hlink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5" name="Straight Connector 494"/>
          <p:cNvCxnSpPr/>
          <p:nvPr>
            <p:custDataLst>
              <p:tags r:id="rId16"/>
            </p:custDataLst>
          </p:nvPr>
        </p:nvCxnSpPr>
        <p:spPr bwMode="gray">
          <a:xfrm flipV="1">
            <a:off x="2767013" y="3532188"/>
            <a:ext cx="0" cy="139700"/>
          </a:xfrm>
          <a:prstGeom prst="line">
            <a:avLst/>
          </a:prstGeom>
          <a:ln w="12700" cmpd="sng" algn="ctr">
            <a:solidFill>
              <a:schemeClr val="hlink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3" name="Straight Connector 492"/>
          <p:cNvCxnSpPr/>
          <p:nvPr>
            <p:custDataLst>
              <p:tags r:id="rId17"/>
            </p:custDataLst>
          </p:nvPr>
        </p:nvCxnSpPr>
        <p:spPr bwMode="gray">
          <a:xfrm>
            <a:off x="3957638" y="3532188"/>
            <a:ext cx="0" cy="152400"/>
          </a:xfrm>
          <a:prstGeom prst="line">
            <a:avLst/>
          </a:prstGeom>
          <a:ln w="12700" cmpd="sng" algn="ctr">
            <a:solidFill>
              <a:schemeClr val="hlink"/>
            </a:solidFill>
            <a:headEnd type="non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948D5AB-D335-4507-9816-FF24D27AAB79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4033838" y="3489325"/>
            <a:ext cx="1190625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DE07B1E-206A-4BBE-98AC-761BE342A1DB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 flipV="1">
            <a:off x="4033838" y="3489325"/>
            <a:ext cx="0" cy="195263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DA951B4-16B9-4621-94F8-FE0451060454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5224463" y="3489325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12EE806-DA9F-4AD9-92AF-6859428A2EDB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 flipV="1">
            <a:off x="5300663" y="3411538"/>
            <a:ext cx="0" cy="230188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DDDFF89-BEA4-4215-8744-26F99AF46CBE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5300663" y="3411538"/>
            <a:ext cx="1190625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99D7B8C-3025-41C5-831E-70A2D584227A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6491288" y="3411538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7183542-677A-46B7-A45A-BE9DFEA78B91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 flipV="1">
            <a:off x="6567488" y="3341688"/>
            <a:ext cx="0" cy="22225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1877C71-E1E3-4012-AD5F-F7E6D1856F63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>
            <a:off x="6567488" y="3341688"/>
            <a:ext cx="1190625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55970EC-F307-4A64-B735-7A5707B17131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7758113" y="3341688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585F94D-E085-4ADF-B53F-5AF0F7C2E914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9024938" y="3265488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49A47CF-1A56-4C01-B724-CE1E0179D8B4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7834313" y="3265488"/>
            <a:ext cx="1190625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AB2654B-DB5F-49D5-BA22-6D4EDC4B4E5C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 flipV="1">
            <a:off x="7834313" y="3265488"/>
            <a:ext cx="0" cy="2286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1" name="Straight Connector 470">
            <a:extLst>
              <a:ext uri="{FF2B5EF4-FFF2-40B4-BE49-F238E27FC236}">
                <a16:creationId xmlns:a16="http://schemas.microsoft.com/office/drawing/2014/main" id="{B9CC5248-05CF-4984-96BD-89C582C6EBF7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9101138" y="3189288"/>
            <a:ext cx="1228725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0" name="Straight Connector 479">
            <a:extLst>
              <a:ext uri="{FF2B5EF4-FFF2-40B4-BE49-F238E27FC236}">
                <a16:creationId xmlns:a16="http://schemas.microsoft.com/office/drawing/2014/main" id="{9CB17729-B446-400E-883E-BB8902778931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10329863" y="3189288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Straight Connector 469">
            <a:extLst>
              <a:ext uri="{FF2B5EF4-FFF2-40B4-BE49-F238E27FC236}">
                <a16:creationId xmlns:a16="http://schemas.microsoft.com/office/drawing/2014/main" id="{866630B4-F8CD-4163-897E-1F858940ADF4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 flipV="1">
            <a:off x="9101138" y="3189288"/>
            <a:ext cx="0" cy="2286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7" name="Rectangle 486">
            <a:extLst>
              <a:ext uri="{FF2B5EF4-FFF2-40B4-BE49-F238E27FC236}">
                <a16:creationId xmlns:a16="http://schemas.microsoft.com/office/drawing/2014/main" id="{F82BFA8E-439A-4DEA-B23B-9917855F683B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6434138" y="53387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66FB63-6681-42FC-8C9F-FAA2D5FBF6B1}" type="datetime'''''''''''H2''/&#10;''''''''''''''''''''''''1''''''''''''''9'">
              <a:rPr lang="en-US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2/
19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61CE44B3-CAEB-4471-9012-EF41A1A6F503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6370638" y="3602038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A13FFC1-3841-4A5B-80A0-B163DC85AA6A}" type="datetime'''''''''''''2,''0''''''0''''''''''''''''''''7''''''''''''''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2,007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488" name="Rectangle 487">
            <a:extLst>
              <a:ext uri="{FF2B5EF4-FFF2-40B4-BE49-F238E27FC236}">
                <a16:creationId xmlns:a16="http://schemas.microsoft.com/office/drawing/2014/main" id="{218393CC-2C94-4825-B497-A37513820A36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7067550" y="53387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F369F96-4FAA-40D6-B4F5-9F5DB5BF24F4}" type="datetime'''''''''''''''''Η''''''''''''''1''''''''''''/&#10;''2''0'''''">
              <a:rPr lang="el-GR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Η1/
20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8ACD4778-54BA-48A5-8E5D-F679652E60E9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10234613" y="53387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3263F21-D084-4C67-B73D-C8E526689155}" type="datetime'''''''''H2''''/''''''''''''''''''&#10;''2''''''2'''''''''''''">
              <a:rPr lang="en-US" altLang="en-US" sz="900" smtClean="0">
                <a:solidFill>
                  <a:schemeClr val="tx1"/>
                </a:solidFill>
              </a:rPr>
              <a:pPr/>
              <a:t>H2/
22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9" name="Rectangle 488">
            <a:extLst>
              <a:ext uri="{FF2B5EF4-FFF2-40B4-BE49-F238E27FC236}">
                <a16:creationId xmlns:a16="http://schemas.microsoft.com/office/drawing/2014/main" id="{C65330DF-5E14-4BA9-AAD5-B9172A17931D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7700963" y="53387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9708DFE-3320-4433-81E8-3FAFDD3E4E54}" type="datetime'''Η''''''2''''''''''/''''&#10;2''''''''''''''''0'''''''''''''''">
              <a:rPr lang="el-GR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Η2/
20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90" name="Rectangle 489">
            <a:extLst>
              <a:ext uri="{FF2B5EF4-FFF2-40B4-BE49-F238E27FC236}">
                <a16:creationId xmlns:a16="http://schemas.microsoft.com/office/drawing/2014/main" id="{D11C17A3-7669-4418-996E-FD6C1BF72FF1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8334375" y="53387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3A01A59-7053-4F88-9A9C-84414642454E}" type="datetime'Η''1''''/''''''''&#10;''''''''''''''''''''''''''''''''''2''1'''''">
              <a:rPr lang="el-GR" altLang="en-US" sz="900" smtClean="0">
                <a:solidFill>
                  <a:schemeClr val="tx1"/>
                </a:solidFill>
              </a:rPr>
              <a:pPr/>
              <a:t>Η1/
21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C8F74406-8DA4-4E9F-BC85-75016BF83307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8967788" y="53387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9EBA6F4-1CBA-4CD4-978F-1E1575402DD8}" type="datetime'''''''''''''''H''''''2''''/''''''''''''''''''&#10;''2''1'''''''''">
              <a:rPr lang="en-US" altLang="en-US" sz="900" smtClean="0">
                <a:solidFill>
                  <a:schemeClr val="tx1"/>
                </a:solidFill>
              </a:rPr>
              <a:pPr/>
              <a:t>H2/
21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/>
          <p:cNvSpPr/>
          <p:nvPr>
            <p:custDataLst>
              <p:tags r:id="rId40"/>
            </p:custDataLst>
          </p:nvPr>
        </p:nvSpPr>
        <p:spPr bwMode="gray">
          <a:xfrm>
            <a:off x="2570163" y="3709988"/>
            <a:ext cx="317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rtlCol="0" anchor="b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4B76F8F-653A-4B18-9BBC-155A094039A1}" type="datetime'''''''1'''''''''''''''''''''''''''''''',''''''''''''851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1,851</a:t>
            </a:fld>
            <a:endParaRPr lang="el-GR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1" name="Rectangle 10"/>
          <p:cNvSpPr/>
          <p:nvPr>
            <p:custDataLst>
              <p:tags r:id="rId41"/>
            </p:custDataLst>
          </p:nvPr>
        </p:nvSpPr>
        <p:spPr bwMode="gray">
          <a:xfrm>
            <a:off x="3836988" y="3722688"/>
            <a:ext cx="317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rtlCol="0" anchor="b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5EF6710-A8E8-425D-9991-FDC9F561B3D4}" type="datetime'''''''''''''''''''''''''''''''''''''''''1'',8''3''''''''''3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1,833</a:t>
            </a:fld>
            <a:endParaRPr lang="el-GR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9270F0F4-B2BB-4F93-943E-DC2FCA72DB0F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9601200" y="53387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330E4A-2537-4FC5-BFF9-A4D55C2288E2}" type="datetime'''''Η''1''''''/''''''''''''''&#10;''''''''''2''''2'''''">
              <a:rPr lang="el-GR" altLang="en-US" sz="900" smtClean="0">
                <a:solidFill>
                  <a:schemeClr val="tx1"/>
                </a:solidFill>
              </a:rPr>
              <a:pPr/>
              <a:t>Η1/
22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6" name="Rectangle 525">
            <a:extLst>
              <a:ext uri="{FF2B5EF4-FFF2-40B4-BE49-F238E27FC236}">
                <a16:creationId xmlns:a16="http://schemas.microsoft.com/office/drawing/2014/main" id="{5B24FE77-0E66-56BD-60F9-4A80BE6F1B68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10814050" y="5338763"/>
            <a:ext cx="2984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08F49BF-8A34-4CC2-872E-FF6DA6C8210B}" type="datetime'''''''''''''MAT&#10;''0''''''''''''3''/''''2''''3'''''''''">
              <a:rPr lang="en-US" altLang="en-US" sz="900" smtClean="0">
                <a:solidFill>
                  <a:schemeClr val="tx1"/>
                </a:solidFill>
              </a:rPr>
              <a:pPr/>
              <a:t>MAT
03/23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09" name="Rectangle 19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433388" y="1978025"/>
            <a:ext cx="15875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anchor="b"/>
          <a:lstStyle/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M€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FFDD99C1-4558-4551-8D22-0D0D01DD3024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5737225" y="3641725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7EA3180-8D02-4CAE-A37E-8C5CB4226B95}" type="datetime'''1'''',''''''9''''''''''''''''''''''''''''''''5''''''''''''4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1,954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457" name="Rectangle 456">
            <a:extLst>
              <a:ext uri="{FF2B5EF4-FFF2-40B4-BE49-F238E27FC236}">
                <a16:creationId xmlns:a16="http://schemas.microsoft.com/office/drawing/2014/main" id="{BCC785B3-6FD3-4CD3-9984-4CA268D398CD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733425" y="53387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4656721-9305-4B11-9E78-FF7C0C6E5FE4}" type="datetime'''''H1''''''''''''/''&#10;''''''''''''15'''">
              <a:rPr lang="en-US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1/
15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>
            <p:custDataLst>
              <p:tags r:id="rId47"/>
            </p:custDataLst>
          </p:nvPr>
        </p:nvSpPr>
        <p:spPr bwMode="gray">
          <a:xfrm>
            <a:off x="3203575" y="3706813"/>
            <a:ext cx="317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rtlCol="0" anchor="b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82B1269-1747-420E-A700-1F5CAC4CAF08}" type="datetime'1'''',''''''''''''''''''8''''5''''''''''''''''''4''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1,854</a:t>
            </a:fld>
            <a:endParaRPr lang="el-GR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291024A-26DC-4998-BC88-79A87E94D48C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5103813" y="3679825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114CDA7-05BC-4774-8EAB-E8F47B7C3A6E}" type="datetime'''''''''''1'''''''''',9''''''''''''''''0''''''''4''''''''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1,904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460" name="Rectangle 459">
            <a:extLst>
              <a:ext uri="{FF2B5EF4-FFF2-40B4-BE49-F238E27FC236}">
                <a16:creationId xmlns:a16="http://schemas.microsoft.com/office/drawing/2014/main" id="{E9F29F71-3A6B-4CFE-BE46-DF09E8CE7B3B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1366838" y="53387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66C415C-B9D6-4C73-83E4-455476D8426E}" type="datetime'H''''''''''''''''2''''/''''''''''''''''''&#10;''''''''''''1''5'''">
              <a:rPr lang="en-US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2/
15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8" name="Rectangle 467">
            <a:extLst>
              <a:ext uri="{FF2B5EF4-FFF2-40B4-BE49-F238E27FC236}">
                <a16:creationId xmlns:a16="http://schemas.microsoft.com/office/drawing/2014/main" id="{D2314F80-9466-46A5-B090-8CC38EB73D94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2000250" y="53387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4D5546F-1885-49D7-9B98-A70C9A970647}" type="datetime'''''''''''H1''''''/''''''''''&#10;''''''''''''''1''''6'''''''">
              <a:rPr lang="en-US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1/
16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1" name="Rectangle 480">
            <a:extLst>
              <a:ext uri="{FF2B5EF4-FFF2-40B4-BE49-F238E27FC236}">
                <a16:creationId xmlns:a16="http://schemas.microsoft.com/office/drawing/2014/main" id="{615D8CC7-A1D0-4B3D-B224-1288609EB7FD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2633663" y="53387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ECDA84B-B64B-4231-AB7B-787F00D5DA54}" type="datetime'''''''''H''2/''''''&#10;1''''''''''''''''''''''''''6'''''''''''">
              <a:rPr lang="en-US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2/
16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2" name="Rectangle 481">
            <a:extLst>
              <a:ext uri="{FF2B5EF4-FFF2-40B4-BE49-F238E27FC236}">
                <a16:creationId xmlns:a16="http://schemas.microsoft.com/office/drawing/2014/main" id="{9663F898-753A-4C44-B4EF-488063B861E1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3267075" y="53387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DD99CE9-42AC-4E1F-902D-FE50A8CF1E4E}" type="datetime'H1''''''''''''''/&#10;''''''''1''''''''''''''''7'''''''">
              <a:rPr lang="en-US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1/
17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3" name="Rectangle 482">
            <a:extLst>
              <a:ext uri="{FF2B5EF4-FFF2-40B4-BE49-F238E27FC236}">
                <a16:creationId xmlns:a16="http://schemas.microsoft.com/office/drawing/2014/main" id="{8DC1994F-4840-427B-8E82-AA46A15858C2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3900488" y="53387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C488A34-F9F9-4AA1-841D-71964E3FB6F7}" type="datetime'''''H''''''''''''2''''''''''/''&#10;''''''''''1''''7'''">
              <a:rPr lang="en-US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2/
17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4" name="Rectangle 483">
            <a:extLst>
              <a:ext uri="{FF2B5EF4-FFF2-40B4-BE49-F238E27FC236}">
                <a16:creationId xmlns:a16="http://schemas.microsoft.com/office/drawing/2014/main" id="{66DEBB61-3344-4CEF-B6FC-E6D07B92A1F6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4533900" y="53387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9404072-0C5E-4B3D-9E4D-2EF42B019F74}" type="datetime'''H''1''''''''''''/''''''''''''''''&#10;''''''''''''''''''1''8'">
              <a:rPr lang="en-US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1/
18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5" name="Rectangle 484">
            <a:extLst>
              <a:ext uri="{FF2B5EF4-FFF2-40B4-BE49-F238E27FC236}">
                <a16:creationId xmlns:a16="http://schemas.microsoft.com/office/drawing/2014/main" id="{21D62356-A2F6-4345-BCEC-D212801A18EE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5167313" y="53387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33BAC60-F697-4CBF-9951-E3204C867F4D}" type="datetime'''H''''''''''''''''''''''''2''''/''''''&#10;''1''''8'''''''''''''">
              <a:rPr lang="en-US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2/
18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6" name="Rectangle 485">
            <a:extLst>
              <a:ext uri="{FF2B5EF4-FFF2-40B4-BE49-F238E27FC236}">
                <a16:creationId xmlns:a16="http://schemas.microsoft.com/office/drawing/2014/main" id="{925FEE26-AC95-4477-8512-E76F2B12A26F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5800725" y="53387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AC5B116-BA24-48B4-A178-A490B8F44387}" type="datetime'H1''''/''''''''&#10;''''''''''''''''1''''9'''''''''''''''''''">
              <a:rPr lang="en-US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1/
19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02304282-DDA7-4AB0-BDCF-EDE672ABD5CE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7637463" y="3532188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374AC9C-5831-417E-92C6-7F78582B2DB4}" type="datetime'''2'',''''''''''''0''''''''''''''''''''9''''''''7''''''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2,097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530" name="Text Placeholder 2"/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669925" y="3725863"/>
            <a:ext cx="3175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AC0835D-7EB9-420A-BFA4-5A4DCB6B8BEF}" type="datetime'''''''''''''''''''''''''''''''''''1,''''''''83''0'''">
              <a:rPr lang="en-US" altLang="en-US" sz="900" smtClean="0">
                <a:solidFill>
                  <a:schemeClr val="tx1"/>
                </a:solidFill>
              </a:rPr>
              <a:pPr/>
              <a:t>1,830</a:t>
            </a:fld>
            <a:endParaRPr lang="el-GR" sz="9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649" name="Text Placeholder 2"/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1303338" y="3722688"/>
            <a:ext cx="3175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4BC22E8-2D44-46AD-B258-D860D23ACEB8}" type="datetime'''''''''''''''''''1,''''8''''''''3''''''''''''''''''''''3'">
              <a:rPr lang="en-US" altLang="en-US" sz="900" smtClean="0">
                <a:solidFill>
                  <a:schemeClr val="tx1"/>
                </a:solidFill>
              </a:rPr>
              <a:pPr/>
              <a:t>1,833</a:t>
            </a:fld>
            <a:endParaRPr lang="en-US" sz="9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643" name="Text Placeholder 2"/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1936750" y="3686175"/>
            <a:ext cx="3175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47EA759-4C1F-4F97-8D81-A1048CCDDBC0}" type="datetime'''1'''''''''''''''''''''''',''''''880'''''''''">
              <a:rPr lang="en-US" altLang="en-US" sz="900" smtClean="0">
                <a:solidFill>
                  <a:schemeClr val="tx1"/>
                </a:solidFill>
              </a:rPr>
              <a:pPr/>
              <a:t>1,880</a:t>
            </a:fld>
            <a:endParaRPr lang="el-GR" sz="9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DB5768C-E301-4254-90DD-44CC75E9D64C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4470400" y="3700463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A97D7C9-A895-4766-8F27-F8434B63AF09}" type="datetime'''''''''''1'''',''''''''''''''''''''''''8''''''7''''8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1,878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DF153FA5-1E4D-455C-BCCB-FE077EB80745}"/>
              </a:ext>
            </a:extLst>
          </p:cNvPr>
          <p:cNvSpPr/>
          <p:nvPr>
            <p:custDataLst>
              <p:tags r:id="rId62"/>
            </p:custDataLst>
          </p:nvPr>
        </p:nvSpPr>
        <p:spPr bwMode="gray">
          <a:xfrm>
            <a:off x="7004050" y="3600450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B396C23-A272-4033-A893-7C203EB98097}" type="datetime'''''''''''2'''''''''''''''''',''''0''''0''''9''''''''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2,009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0B455DAF-820D-49B2-B2D0-67B185D527E9}"/>
              </a:ext>
            </a:extLst>
          </p:cNvPr>
          <p:cNvSpPr/>
          <p:nvPr>
            <p:custDataLst>
              <p:tags r:id="rId63"/>
            </p:custDataLst>
          </p:nvPr>
        </p:nvSpPr>
        <p:spPr bwMode="gray">
          <a:xfrm>
            <a:off x="8270875" y="3587750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F671E94-F715-4D12-AE20-4094E17C0030}" type="datetime'''''''''''''''''''''''''''''''''''''2'''''',''''0''''''''25'''">
              <a:rPr lang="en-US" altLang="en-US" sz="900" smtClean="0">
                <a:solidFill>
                  <a:schemeClr val="tx1"/>
                </a:solidFill>
              </a:rPr>
              <a:pPr/>
              <a:t>2,025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AEA2588C-97FA-4038-859E-36255741464A}"/>
              </a:ext>
            </a:extLst>
          </p:cNvPr>
          <p:cNvSpPr/>
          <p:nvPr>
            <p:custDataLst>
              <p:tags r:id="rId64"/>
            </p:custDataLst>
          </p:nvPr>
        </p:nvSpPr>
        <p:spPr bwMode="gray">
          <a:xfrm>
            <a:off x="8904288" y="3455988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7D0FBE7-C667-4B67-BDB8-C3F40B1E6497}" type="datetime'''''''''''''2'''',1''''''''''9''''''''''''6'''''''''''''">
              <a:rPr lang="en-US" altLang="en-US" sz="900" smtClean="0">
                <a:solidFill>
                  <a:schemeClr val="tx1"/>
                </a:solidFill>
              </a:rPr>
              <a:pPr/>
              <a:t>2,196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2F71183F-1E51-4C0B-8A15-462BC522D753}"/>
              </a:ext>
            </a:extLst>
          </p:cNvPr>
          <p:cNvSpPr/>
          <p:nvPr>
            <p:custDataLst>
              <p:tags r:id="rId65"/>
            </p:custDataLst>
          </p:nvPr>
        </p:nvSpPr>
        <p:spPr bwMode="gray">
          <a:xfrm>
            <a:off x="9537700" y="3482975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2A5BCFF-574A-4B99-B1DA-1D2C6A3D6A38}" type="datetime'''2'''',1''6''''''''''''''''0'''''''''">
              <a:rPr lang="en-US" altLang="en-US" sz="900" smtClean="0">
                <a:solidFill>
                  <a:schemeClr val="tx1"/>
                </a:solidFill>
              </a:rPr>
              <a:pPr/>
              <a:t>2,160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5D521C40-832B-4173-AAC2-2F6EE49F6E10}"/>
              </a:ext>
            </a:extLst>
          </p:cNvPr>
          <p:cNvSpPr/>
          <p:nvPr>
            <p:custDataLst>
              <p:tags r:id="rId66"/>
            </p:custDataLst>
          </p:nvPr>
        </p:nvSpPr>
        <p:spPr bwMode="gray">
          <a:xfrm>
            <a:off x="10171113" y="3379788"/>
            <a:ext cx="3175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DB4B12A-821A-44C4-AFDB-AC73F21EC195}" type="datetime'''''''''''''''2'''',''''''2''9''''''4'''''">
              <a:rPr lang="en-US" altLang="en-US" sz="900" smtClean="0">
                <a:solidFill>
                  <a:schemeClr val="tx1"/>
                </a:solidFill>
              </a:rPr>
              <a:pPr/>
              <a:t>2,294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503" name="Rectangle 502">
            <a:extLst>
              <a:ext uri="{FF2B5EF4-FFF2-40B4-BE49-F238E27FC236}">
                <a16:creationId xmlns:a16="http://schemas.microsoft.com/office/drawing/2014/main" id="{E4306353-4710-269D-AF85-5C957B3358DA}"/>
              </a:ext>
            </a:extLst>
          </p:cNvPr>
          <p:cNvSpPr/>
          <p:nvPr>
            <p:custDataLst>
              <p:tags r:id="rId67"/>
            </p:custDataLst>
          </p:nvPr>
        </p:nvSpPr>
        <p:spPr bwMode="gray">
          <a:xfrm>
            <a:off x="10804525" y="4252913"/>
            <a:ext cx="3175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98AB4AC-77CD-41E4-BC31-04EA6A751BA4}" type="datetime'''''''''''''''''''''''''1'''''''''',''1''''''6''''''''''''''3'">
              <a:rPr lang="en-US" altLang="en-US" sz="900" smtClean="0">
                <a:solidFill>
                  <a:schemeClr val="tx1"/>
                </a:solidFill>
              </a:rPr>
              <a:pPr/>
              <a:t>1,163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522" name="Oval 521">
            <a:extLst>
              <a:ext uri="{FF2B5EF4-FFF2-40B4-BE49-F238E27FC236}">
                <a16:creationId xmlns:a16="http://schemas.microsoft.com/office/drawing/2014/main" id="{099054FC-61E5-4056-9DFB-07E5AC6C2905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1844675" y="3416300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2A0C411-CF28-4A65-A8BF-6B717F913EAC}" type="datetime'''+''''''''''0''''''''''.''''''''''''9%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0.9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8" name="Text Placeholder 58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3151188" y="3444875"/>
            <a:ext cx="422275" cy="176213"/>
          </a:xfrm>
          <a:prstGeom prst="ellipse">
            <a:avLst/>
          </a:prstGeom>
          <a:solidFill>
            <a:srgbClr val="C30C3E"/>
          </a:solidFill>
          <a:ln w="9525">
            <a:solidFill>
              <a:schemeClr val="hlink"/>
            </a:solidFill>
          </a:ln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F5766286-3B49-4CED-AF8D-72D01FA6D2BE}" type="datetime'''''''-''''''1''.0''''''''''''''''''''''''''''%'''''''''">
              <a:rPr lang="en-US" altLang="en-US" sz="900" b="1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-1.0%</a:t>
            </a:fld>
            <a:endParaRPr lang="el-GR" sz="900" b="1" dirty="0">
              <a:solidFill>
                <a:schemeClr val="bg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0AA3CF9-0CEB-4C48-A02D-82452FDD53C1}"/>
              </a:ext>
            </a:extLst>
          </p:cNvPr>
          <p:cNvSpPr/>
          <p:nvPr>
            <p:custDataLst>
              <p:tags r:id="rId70"/>
            </p:custDataLst>
          </p:nvPr>
        </p:nvSpPr>
        <p:spPr bwMode="auto">
          <a:xfrm>
            <a:off x="4397375" y="3392488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858A65F-11B1-448A-86B5-2E4A231C017F}" type="datetime'''+3''''''''''''''''''''''.''''9''''''''''''''%''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3.9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5B14F19-285D-46DE-A0A6-5C39AB8DD2BE}"/>
              </a:ext>
            </a:extLst>
          </p:cNvPr>
          <p:cNvSpPr/>
          <p:nvPr>
            <p:custDataLst>
              <p:tags r:id="rId71"/>
            </p:custDataLst>
          </p:nvPr>
        </p:nvSpPr>
        <p:spPr bwMode="auto">
          <a:xfrm>
            <a:off x="5664200" y="3314700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DF938EA-AAC8-4177-AFD7-DA2EE3BF5E1E}" type="datetime'+''''''''''''''''5''''.''''''''''''''''''''''''''''4''%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5.4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2B3FC28-BB3C-4BA6-AFF3-3BED18C0107E}"/>
              </a:ext>
            </a:extLst>
          </p:cNvPr>
          <p:cNvSpPr/>
          <p:nvPr>
            <p:custDataLst>
              <p:tags r:id="rId72"/>
            </p:custDataLst>
          </p:nvPr>
        </p:nvSpPr>
        <p:spPr bwMode="auto">
          <a:xfrm>
            <a:off x="6931025" y="3244850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1C1B694-4F33-4F51-8837-11C59F8AD861}" type="datetime'''''''''''''+''''4''''''''''''''''''''''''''''.5''''''''%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4.5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6174753-5BFD-43D9-BA53-742F3D01CBBD}"/>
              </a:ext>
            </a:extLst>
          </p:cNvPr>
          <p:cNvSpPr/>
          <p:nvPr>
            <p:custDataLst>
              <p:tags r:id="rId73"/>
            </p:custDataLst>
          </p:nvPr>
        </p:nvSpPr>
        <p:spPr bwMode="auto">
          <a:xfrm>
            <a:off x="8245475" y="3168650"/>
            <a:ext cx="36830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6F7FE6-2A4B-4B88-B9BF-1C13B55F681F}" type="datetime'4''''''''''.5%''''''''''''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4.5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9" name="Oval 468">
            <a:extLst>
              <a:ext uri="{FF2B5EF4-FFF2-40B4-BE49-F238E27FC236}">
                <a16:creationId xmlns:a16="http://schemas.microsoft.com/office/drawing/2014/main" id="{F9AD5883-58C4-4731-879A-7770118CC4EC}"/>
              </a:ext>
            </a:extLst>
          </p:cNvPr>
          <p:cNvSpPr/>
          <p:nvPr>
            <p:custDataLst>
              <p:tags r:id="rId74"/>
            </p:custDataLst>
          </p:nvPr>
        </p:nvSpPr>
        <p:spPr bwMode="auto">
          <a:xfrm>
            <a:off x="9483725" y="3092450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l-GR" altLang="en-US" sz="900" b="1">
                <a:solidFill>
                  <a:schemeClr val="bg1"/>
                </a:solidFill>
                <a:cs typeface="Arial" panose="020B0604020202020204" pitchFamily="34" charset="0"/>
              </a:rPr>
              <a:t>+</a:t>
            </a:r>
            <a:fld id="{7726A79A-AC52-42C7-9795-F257922A7084}" type="datetime'''''4''''''.''5''''''''''''''%''''''''''''''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4.5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00" name="Text Placeholder 1">
            <a:extLst>
              <a:ext uri="{FF2B5EF4-FFF2-40B4-BE49-F238E27FC236}">
                <a16:creationId xmlns:a16="http://schemas.microsoft.com/office/drawing/2014/main" id="{5C0CC24A-BF80-A2D1-3E33-2AC9E1BE75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6250" y="6397625"/>
            <a:ext cx="7561263" cy="111125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  <p:sp>
        <p:nvSpPr>
          <p:cNvPr id="511" name="Oval 106">
            <a:extLst>
              <a:ext uri="{FF2B5EF4-FFF2-40B4-BE49-F238E27FC236}">
                <a16:creationId xmlns:a16="http://schemas.microsoft.com/office/drawing/2014/main" id="{BF837388-176F-2FE1-8409-02D3028BDC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08858" y="2251659"/>
            <a:ext cx="555625" cy="223695"/>
          </a:xfrm>
          <a:prstGeom prst="round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b="1" i="1" dirty="0">
                <a:solidFill>
                  <a:schemeClr val="accent2"/>
                </a:solidFill>
                <a:latin typeface="+mn-lt"/>
              </a:rPr>
              <a:t>2023</a:t>
            </a:r>
          </a:p>
        </p:txBody>
      </p:sp>
      <p:sp>
        <p:nvSpPr>
          <p:cNvPr id="531" name="Oval 106">
            <a:extLst>
              <a:ext uri="{FF2B5EF4-FFF2-40B4-BE49-F238E27FC236}">
                <a16:creationId xmlns:a16="http://schemas.microsoft.com/office/drawing/2014/main" id="{EDCCBC95-34EB-24DC-73EE-7113295716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19130" y="5735638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27.6</a:t>
            </a:r>
          </a:p>
        </p:txBody>
      </p:sp>
    </p:spTree>
    <p:extLst>
      <p:ext uri="{BB962C8B-B14F-4D97-AF65-F5344CB8AC3E}">
        <p14:creationId xmlns:p14="http://schemas.microsoft.com/office/powerpoint/2010/main" val="34591815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248764A-8947-426D-9B8F-679FB0D21B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4997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1" imgW="592" imgH="591" progId="TCLayout.ActiveDocument.1">
                  <p:embed/>
                </p:oleObj>
              </mc:Choice>
              <mc:Fallback>
                <p:oleObj name="think-cell Slide" r:id="rId91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248764A-8947-426D-9B8F-679FB0D21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900" dirty="0" err="1">
              <a:cs typeface="Arial" panose="020B0604020202020204" pitchFamily="34" charset="0"/>
              <a:sym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F4E4E8-7E42-4B25-9CC8-49B618F9D8B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TOTAL MARKET</a:t>
            </a:r>
            <a:endParaRPr lang="el-GR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C2F8F7-85C5-496F-8D0F-A4F6F6E7E5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7012" y="6007481"/>
            <a:ext cx="11246241" cy="221599"/>
          </a:xfrm>
        </p:spPr>
        <p:txBody>
          <a:bodyPr/>
          <a:lstStyle/>
          <a:p>
            <a:r>
              <a:rPr lang="en-US" dirty="0"/>
              <a:t>1. Based on sell-out volumes from pharmacies</a:t>
            </a:r>
          </a:p>
          <a:p>
            <a:r>
              <a:rPr lang="en-US" dirty="0"/>
              <a:t>Note: Excluding all L.3816 products; Total market figures (2015-2016) have been adjusted subject to IQVIA market restatement in 2018; Classification by On patent, Off patent, Generics and Others is based on </a:t>
            </a:r>
            <a:r>
              <a:rPr lang="en-US" dirty="0" err="1"/>
              <a:t>Sfee</a:t>
            </a:r>
            <a:r>
              <a:rPr lang="en-US" dirty="0"/>
              <a:t>/IQVIA flag; Other includes mainly vaccines</a:t>
            </a:r>
            <a:r>
              <a:rPr lang="el-GR" dirty="0"/>
              <a:t>, </a:t>
            </a:r>
            <a:r>
              <a:rPr lang="en-US" dirty="0"/>
              <a:t>supplements</a:t>
            </a:r>
            <a:r>
              <a:rPr lang="el-GR" dirty="0"/>
              <a:t> </a:t>
            </a:r>
            <a:r>
              <a:rPr lang="en-US" dirty="0"/>
              <a:t>and diabetes tes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arket size in volume</a:t>
            </a:r>
            <a:r>
              <a:rPr lang="en-US" baseline="30000" dirty="0"/>
              <a:t>1</a:t>
            </a:r>
            <a:r>
              <a:rPr lang="en-US" dirty="0"/>
              <a:t>: By patent status – By semester – 2015-2022</a:t>
            </a:r>
          </a:p>
        </p:txBody>
      </p:sp>
      <p:sp>
        <p:nvSpPr>
          <p:cNvPr id="435" name="Oval 106"/>
          <p:cNvSpPr>
            <a:spLocks noChangeArrowheads="1"/>
          </p:cNvSpPr>
          <p:nvPr/>
        </p:nvSpPr>
        <p:spPr bwMode="auto">
          <a:xfrm>
            <a:off x="625078" y="5735001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/>
              <a:t>33.3</a:t>
            </a:r>
            <a:endParaRPr lang="en-US" sz="900" dirty="0">
              <a:latin typeface="+mn-lt"/>
            </a:endParaRPr>
          </a:p>
        </p:txBody>
      </p:sp>
      <p:sp>
        <p:nvSpPr>
          <p:cNvPr id="436" name="Oval 106"/>
          <p:cNvSpPr>
            <a:spLocks noChangeArrowheads="1"/>
          </p:cNvSpPr>
          <p:nvPr/>
        </p:nvSpPr>
        <p:spPr bwMode="auto">
          <a:xfrm>
            <a:off x="1856484" y="5734364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/>
              <a:t>35.4</a:t>
            </a:r>
            <a:endParaRPr lang="en-US" sz="900" dirty="0">
              <a:latin typeface="+mn-lt"/>
            </a:endParaRPr>
          </a:p>
        </p:txBody>
      </p:sp>
      <p:sp>
        <p:nvSpPr>
          <p:cNvPr id="445" name="Oval 106"/>
          <p:cNvSpPr>
            <a:spLocks noChangeArrowheads="1"/>
          </p:cNvSpPr>
          <p:nvPr/>
        </p:nvSpPr>
        <p:spPr bwMode="auto">
          <a:xfrm>
            <a:off x="1240781" y="5733727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/>
              <a:t>34.2</a:t>
            </a:r>
            <a:endParaRPr lang="en-US" sz="900" dirty="0">
              <a:latin typeface="+mn-lt"/>
            </a:endParaRPr>
          </a:p>
        </p:txBody>
      </p:sp>
      <p:sp>
        <p:nvSpPr>
          <p:cNvPr id="446" name="Oval 106"/>
          <p:cNvSpPr>
            <a:spLocks noChangeArrowheads="1"/>
          </p:cNvSpPr>
          <p:nvPr/>
        </p:nvSpPr>
        <p:spPr bwMode="auto">
          <a:xfrm>
            <a:off x="2480576" y="5733090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/>
              <a:t>35.2</a:t>
            </a:r>
            <a:endParaRPr lang="en-US" sz="900" dirty="0">
              <a:latin typeface="+mn-lt"/>
            </a:endParaRPr>
          </a:p>
        </p:txBody>
      </p:sp>
      <p:sp>
        <p:nvSpPr>
          <p:cNvPr id="447" name="Oval 106"/>
          <p:cNvSpPr>
            <a:spLocks noChangeArrowheads="1"/>
          </p:cNvSpPr>
          <p:nvPr/>
        </p:nvSpPr>
        <p:spPr bwMode="auto">
          <a:xfrm>
            <a:off x="3113057" y="5732453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/>
              <a:t>35.5</a:t>
            </a:r>
            <a:endParaRPr lang="en-US" sz="900" dirty="0">
              <a:latin typeface="+mn-lt"/>
            </a:endParaRPr>
          </a:p>
        </p:txBody>
      </p:sp>
      <p:sp>
        <p:nvSpPr>
          <p:cNvPr id="448" name="Oval 106"/>
          <p:cNvSpPr>
            <a:spLocks noChangeArrowheads="1"/>
          </p:cNvSpPr>
          <p:nvPr/>
        </p:nvSpPr>
        <p:spPr bwMode="auto">
          <a:xfrm>
            <a:off x="3720371" y="5731816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35.3</a:t>
            </a:r>
          </a:p>
        </p:txBody>
      </p:sp>
      <p:sp>
        <p:nvSpPr>
          <p:cNvPr id="451" name="Oval 106"/>
          <p:cNvSpPr>
            <a:spLocks noChangeArrowheads="1"/>
          </p:cNvSpPr>
          <p:nvPr/>
        </p:nvSpPr>
        <p:spPr bwMode="auto">
          <a:xfrm>
            <a:off x="4352852" y="5731179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/>
              <a:t>3</a:t>
            </a:r>
            <a:r>
              <a:rPr lang="en-US" sz="900" dirty="0">
                <a:latin typeface="+mn-lt"/>
              </a:rPr>
              <a:t>6.0</a:t>
            </a:r>
          </a:p>
        </p:txBody>
      </p:sp>
      <p:sp>
        <p:nvSpPr>
          <p:cNvPr id="452" name="Oval 106"/>
          <p:cNvSpPr>
            <a:spLocks noChangeArrowheads="1"/>
          </p:cNvSpPr>
          <p:nvPr/>
        </p:nvSpPr>
        <p:spPr bwMode="auto">
          <a:xfrm>
            <a:off x="4985333" y="5730542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/>
              <a:t>36.1</a:t>
            </a:r>
            <a:endParaRPr lang="en-US" sz="900" dirty="0">
              <a:latin typeface="+mn-lt"/>
            </a:endParaRPr>
          </a:p>
        </p:txBody>
      </p:sp>
      <p:sp>
        <p:nvSpPr>
          <p:cNvPr id="456" name="Oval 106"/>
          <p:cNvSpPr>
            <a:spLocks noChangeArrowheads="1"/>
          </p:cNvSpPr>
          <p:nvPr/>
        </p:nvSpPr>
        <p:spPr bwMode="auto">
          <a:xfrm>
            <a:off x="5609425" y="5729905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/>
              <a:t>36.8</a:t>
            </a:r>
            <a:endParaRPr lang="en-US" sz="900" dirty="0">
              <a:latin typeface="+mn-lt"/>
            </a:endParaRPr>
          </a:p>
        </p:txBody>
      </p:sp>
      <p:sp>
        <p:nvSpPr>
          <p:cNvPr id="131" name="Oval 106">
            <a:extLst>
              <a:ext uri="{FF2B5EF4-FFF2-40B4-BE49-F238E27FC236}">
                <a16:creationId xmlns:a16="http://schemas.microsoft.com/office/drawing/2014/main" id="{9E432FD6-1893-4A87-A59E-49FB41B058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33517" y="5744027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37.0</a:t>
            </a:r>
          </a:p>
        </p:txBody>
      </p:sp>
      <p:sp>
        <p:nvSpPr>
          <p:cNvPr id="103" name="Oval 106">
            <a:extLst>
              <a:ext uri="{FF2B5EF4-FFF2-40B4-BE49-F238E27FC236}">
                <a16:creationId xmlns:a16="http://schemas.microsoft.com/office/drawing/2014/main" id="{C5C2D6DA-831E-42EE-89A1-AA2F874347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9220" y="5729268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/>
              <a:t>38.1</a:t>
            </a:r>
            <a:endParaRPr lang="en-US" sz="900" dirty="0">
              <a:latin typeface="+mn-lt"/>
            </a:endParaRPr>
          </a:p>
        </p:txBody>
      </p:sp>
      <p:sp>
        <p:nvSpPr>
          <p:cNvPr id="229" name="Rectangle 81">
            <a:extLst>
              <a:ext uri="{FF2B5EF4-FFF2-40B4-BE49-F238E27FC236}">
                <a16:creationId xmlns:a16="http://schemas.microsoft.com/office/drawing/2014/main" id="{62F355BF-4282-472D-8391-E07E82FC5B69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736013" y="1768475"/>
            <a:ext cx="160338" cy="120650"/>
          </a:xfrm>
          <a:prstGeom prst="rect">
            <a:avLst/>
          </a:prstGeom>
          <a:solidFill>
            <a:srgbClr val="CAE3FF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algn="ctr"/>
            <a:endParaRPr lang="el-GR" sz="1000" dirty="0"/>
          </a:p>
        </p:txBody>
      </p:sp>
      <p:sp>
        <p:nvSpPr>
          <p:cNvPr id="230" name="Rectangle 82">
            <a:extLst>
              <a:ext uri="{FF2B5EF4-FFF2-40B4-BE49-F238E27FC236}">
                <a16:creationId xmlns:a16="http://schemas.microsoft.com/office/drawing/2014/main" id="{E83D59B0-86AC-42EF-AA20-E45F85B9C9ED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36013" y="1955800"/>
            <a:ext cx="160338" cy="120650"/>
          </a:xfrm>
          <a:prstGeom prst="rect">
            <a:avLst/>
          </a:prstGeom>
          <a:solidFill>
            <a:srgbClr val="25B4FF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algn="ctr"/>
            <a:endParaRPr lang="el-GR" sz="1000" dirty="0"/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C074F319-DB5A-4C43-8517-0B44EE73F4D8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505950" y="1768475"/>
            <a:ext cx="160338" cy="1206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400" dirty="0">
              <a:latin typeface="Arial"/>
            </a:endParaRPr>
          </a:p>
        </p:txBody>
      </p:sp>
      <p:sp>
        <p:nvSpPr>
          <p:cNvPr id="227" name="Rectangle 83">
            <a:extLst>
              <a:ext uri="{FF2B5EF4-FFF2-40B4-BE49-F238E27FC236}">
                <a16:creationId xmlns:a16="http://schemas.microsoft.com/office/drawing/2014/main" id="{897B4053-641A-4DF5-9645-9752476F0225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505950" y="1955800"/>
            <a:ext cx="160338" cy="120650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algn="ctr"/>
            <a:endParaRPr lang="el-GR" sz="1000" dirty="0"/>
          </a:p>
        </p:txBody>
      </p:sp>
      <p:sp>
        <p:nvSpPr>
          <p:cNvPr id="232" name="Rectangle 58">
            <a:extLst>
              <a:ext uri="{FF2B5EF4-FFF2-40B4-BE49-F238E27FC236}">
                <a16:creationId xmlns:a16="http://schemas.microsoft.com/office/drawing/2014/main" id="{30A3E78F-5E36-4C2B-B5B5-5D5D5C7AEB51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947150" y="1765300"/>
            <a:ext cx="28575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fld id="{CBB248E2-2AAA-4EB1-A3B4-E63BB052D24D}" type="datetime'Ot''''''''''''''''h''e''''r'''''''''''''">
              <a:rPr lang="en-US" altLang="en-US" sz="900" smtClean="0">
                <a:cs typeface="Arial" panose="020B0604020202020204" pitchFamily="34" charset="0"/>
              </a:rPr>
              <a:pPr/>
              <a:t>Other</a:t>
            </a:fld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231" name="Rectangle 59">
            <a:extLst>
              <a:ext uri="{FF2B5EF4-FFF2-40B4-BE49-F238E27FC236}">
                <a16:creationId xmlns:a16="http://schemas.microsoft.com/office/drawing/2014/main" id="{9BC04280-2B1C-4957-A8A0-04371EE4A33B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9717088" y="1765300"/>
            <a:ext cx="50165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fld id="{78F3BB46-578D-459E-9AE8-E53EC5A14D49}" type="datetime'O''''''ff'''''''''' ''''p''''a''''''te''n''''t'''''''''''''">
              <a:rPr lang="en-US" altLang="en-US" sz="900" smtClean="0">
                <a:cs typeface="Arial" panose="020B0604020202020204" pitchFamily="34" charset="0"/>
              </a:rPr>
              <a:pPr/>
              <a:t>Off patent</a:t>
            </a:fld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234" name="Rectangle 59">
            <a:extLst>
              <a:ext uri="{FF2B5EF4-FFF2-40B4-BE49-F238E27FC236}">
                <a16:creationId xmlns:a16="http://schemas.microsoft.com/office/drawing/2014/main" id="{76EC8E00-4470-4178-A1A1-DC3A5EE069E1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947150" y="1952625"/>
            <a:ext cx="45720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fld id="{41C93DE0-AF68-43EB-A8C2-4FE233455287}" type="datetime'G''''''''''''e''n''''e''r''ic''''s'''''''''''''''''''''">
              <a:rPr lang="en-US" altLang="en-US" sz="900" smtClean="0">
                <a:cs typeface="Arial" panose="020B0604020202020204" pitchFamily="34" charset="0"/>
              </a:rPr>
              <a:pPr/>
              <a:t>Generics</a:t>
            </a:fld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233" name="Rectangle 64">
            <a:extLst>
              <a:ext uri="{FF2B5EF4-FFF2-40B4-BE49-F238E27FC236}">
                <a16:creationId xmlns:a16="http://schemas.microsoft.com/office/drawing/2014/main" id="{E1A55A5B-97BD-4CAA-A9D2-F25A95F3112C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717088" y="1952625"/>
            <a:ext cx="50165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fld id="{1EE66435-EF40-4DAF-8071-3143286CEB38}" type="datetime'''O''''''''''''n'' ''''''p''a''t''e''''''n''t'">
              <a:rPr lang="en-US" altLang="en-US" sz="900" smtClean="0">
                <a:cs typeface="Arial" panose="020B0604020202020204" pitchFamily="34" charset="0"/>
              </a:rPr>
              <a:pPr/>
              <a:t>On patent</a:t>
            </a:fld>
            <a:endParaRPr lang="en-US" sz="9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n terms of volume, Q1/23 increased by ~7.0% vs. Q1/22</a:t>
            </a:r>
          </a:p>
        </p:txBody>
      </p:sp>
      <p:sp>
        <p:nvSpPr>
          <p:cNvPr id="119" name="Oval 106">
            <a:extLst>
              <a:ext uri="{FF2B5EF4-FFF2-40B4-BE49-F238E27FC236}">
                <a16:creationId xmlns:a16="http://schemas.microsoft.com/office/drawing/2014/main" id="{40E17F36-5828-44FB-9C7B-42396281D9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73312" y="5728631"/>
            <a:ext cx="274320" cy="180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/>
              <a:t>37.</a:t>
            </a:r>
            <a:r>
              <a:rPr lang="el-GR" sz="900" dirty="0"/>
              <a:t>0</a:t>
            </a:r>
            <a:endParaRPr lang="en-US" sz="900" dirty="0">
              <a:latin typeface="+mn-lt"/>
            </a:endParaRPr>
          </a:p>
        </p:txBody>
      </p:sp>
      <p:sp>
        <p:nvSpPr>
          <p:cNvPr id="116" name="Text Box 123">
            <a:extLst>
              <a:ext uri="{FF2B5EF4-FFF2-40B4-BE49-F238E27FC236}">
                <a16:creationId xmlns:a16="http://schemas.microsoft.com/office/drawing/2014/main" id="{9D6376C1-1048-4FB3-8F10-7D33761716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5721350"/>
            <a:ext cx="6556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800" i="1" dirty="0">
                <a:latin typeface="+mn-lt"/>
              </a:rPr>
              <a:t>Generics</a:t>
            </a:r>
          </a:p>
          <a:p>
            <a:pPr algn="ctr">
              <a:lnSpc>
                <a:spcPct val="85000"/>
              </a:lnSpc>
            </a:pPr>
            <a:r>
              <a:rPr lang="en-US" sz="800" i="1" dirty="0">
                <a:latin typeface="+mn-lt"/>
              </a:rPr>
              <a:t>m.s. (%)</a:t>
            </a:r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56AB2B65-54CA-4C6D-87CA-89D1B40F331D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132" name="Oval 106">
            <a:extLst>
              <a:ext uri="{FF2B5EF4-FFF2-40B4-BE49-F238E27FC236}">
                <a16:creationId xmlns:a16="http://schemas.microsoft.com/office/drawing/2014/main" id="{D0A73E30-B895-4835-B47A-D99AE632FB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05793" y="5727357"/>
            <a:ext cx="283755" cy="186191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/>
              <a:t>38</a:t>
            </a:r>
            <a:r>
              <a:rPr lang="el-GR" sz="900" dirty="0">
                <a:latin typeface="+mn-lt"/>
              </a:rPr>
              <a:t>.</a:t>
            </a:r>
            <a:r>
              <a:rPr lang="en-US" sz="900" dirty="0">
                <a:latin typeface="+mn-lt"/>
              </a:rPr>
              <a:t>1</a:t>
            </a:r>
          </a:p>
        </p:txBody>
      </p:sp>
      <p:sp>
        <p:nvSpPr>
          <p:cNvPr id="134" name="Oval 106">
            <a:extLst>
              <a:ext uri="{FF2B5EF4-FFF2-40B4-BE49-F238E27FC236}">
                <a16:creationId xmlns:a16="http://schemas.microsoft.com/office/drawing/2014/main" id="{F3DBFED4-30CD-4521-A51B-87C40A830C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4153" y="5732911"/>
            <a:ext cx="283464" cy="186191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38.9</a:t>
            </a:r>
          </a:p>
        </p:txBody>
      </p:sp>
      <p:sp>
        <p:nvSpPr>
          <p:cNvPr id="150" name="Oval 106">
            <a:extLst>
              <a:ext uri="{FF2B5EF4-FFF2-40B4-BE49-F238E27FC236}">
                <a16:creationId xmlns:a16="http://schemas.microsoft.com/office/drawing/2014/main" id="{599C75D1-60DB-4513-B31F-77366F7615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55777" y="5738466"/>
            <a:ext cx="283464" cy="186191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40.0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475130DB-BD5A-4BDE-B76C-02AADDE585CA}"/>
              </a:ext>
            </a:extLst>
          </p:cNvPr>
          <p:cNvSpPr>
            <a:spLocks/>
          </p:cNvSpPr>
          <p:nvPr/>
        </p:nvSpPr>
        <p:spPr bwMode="auto">
          <a:xfrm>
            <a:off x="1756249" y="2249180"/>
            <a:ext cx="1230546" cy="30678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lang="en-US" sz="1000" b="1" i="1" dirty="0">
                <a:solidFill>
                  <a:schemeClr val="accent2"/>
                </a:solidFill>
                <a:latin typeface="+mn-lt"/>
              </a:rPr>
              <a:t>2016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F99CDE21-BDD3-47E4-917E-7A9F0397E6D9}"/>
              </a:ext>
            </a:extLst>
          </p:cNvPr>
          <p:cNvSpPr>
            <a:spLocks/>
          </p:cNvSpPr>
          <p:nvPr/>
        </p:nvSpPr>
        <p:spPr bwMode="auto">
          <a:xfrm>
            <a:off x="4178516" y="2249180"/>
            <a:ext cx="1320290" cy="30678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lang="en-US" sz="1000" b="1" i="1" dirty="0">
                <a:solidFill>
                  <a:schemeClr val="accent2"/>
                </a:solidFill>
                <a:latin typeface="+mn-lt"/>
              </a:rPr>
              <a:t>2018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9DD163B2-CBE6-47DB-885B-A0771ECCC745}"/>
              </a:ext>
            </a:extLst>
          </p:cNvPr>
          <p:cNvSpPr>
            <a:spLocks/>
          </p:cNvSpPr>
          <p:nvPr/>
        </p:nvSpPr>
        <p:spPr bwMode="auto">
          <a:xfrm>
            <a:off x="6761762" y="2249180"/>
            <a:ext cx="1214546" cy="30678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lang="en-US" sz="1000" b="1" i="1" dirty="0">
                <a:solidFill>
                  <a:schemeClr val="accent2"/>
                </a:solidFill>
                <a:latin typeface="+mn-lt"/>
              </a:rPr>
              <a:t>2020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1945DC5E-9940-4EDA-9FE7-5E2ACF9D2B82}"/>
              </a:ext>
            </a:extLst>
          </p:cNvPr>
          <p:cNvSpPr>
            <a:spLocks/>
          </p:cNvSpPr>
          <p:nvPr/>
        </p:nvSpPr>
        <p:spPr bwMode="auto">
          <a:xfrm>
            <a:off x="9217584" y="2249180"/>
            <a:ext cx="1282140" cy="30678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lang="en-US" sz="1000" b="1" i="1" dirty="0">
                <a:solidFill>
                  <a:schemeClr val="accent2"/>
                </a:solidFill>
                <a:latin typeface="+mn-lt"/>
              </a:rPr>
              <a:t>2022</a:t>
            </a:r>
          </a:p>
        </p:txBody>
      </p:sp>
      <p:sp>
        <p:nvSpPr>
          <p:cNvPr id="155" name="Oval 106">
            <a:extLst>
              <a:ext uri="{FF2B5EF4-FFF2-40B4-BE49-F238E27FC236}">
                <a16:creationId xmlns:a16="http://schemas.microsoft.com/office/drawing/2014/main" id="{46F6E13A-4CB3-42C6-9F60-43963DCD3F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01442" y="2251689"/>
            <a:ext cx="555625" cy="223695"/>
          </a:xfrm>
          <a:prstGeom prst="round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b="1" i="1" dirty="0">
                <a:solidFill>
                  <a:schemeClr val="accent2"/>
                </a:solidFill>
                <a:latin typeface="+mn-lt"/>
              </a:rPr>
              <a:t>2017</a:t>
            </a:r>
          </a:p>
        </p:txBody>
      </p:sp>
      <p:sp>
        <p:nvSpPr>
          <p:cNvPr id="157" name="Rounded Rectangular Callout 461">
            <a:extLst>
              <a:ext uri="{FF2B5EF4-FFF2-40B4-BE49-F238E27FC236}">
                <a16:creationId xmlns:a16="http://schemas.microsoft.com/office/drawing/2014/main" id="{7855BFA7-9D80-48DB-826A-192C918ED4D7}"/>
              </a:ext>
            </a:extLst>
          </p:cNvPr>
          <p:cNvSpPr/>
          <p:nvPr/>
        </p:nvSpPr>
        <p:spPr bwMode="auto">
          <a:xfrm>
            <a:off x="562732" y="2923793"/>
            <a:ext cx="539750" cy="216000"/>
          </a:xfrm>
          <a:prstGeom prst="wedgeRoundRectCallout">
            <a:avLst>
              <a:gd name="adj1" fmla="val -7344"/>
              <a:gd name="adj2" fmla="val 178336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50" b="1" dirty="0">
                <a:latin typeface="+mn-lt"/>
              </a:rPr>
              <a:t>New P.L.</a:t>
            </a:r>
          </a:p>
        </p:txBody>
      </p:sp>
      <p:sp>
        <p:nvSpPr>
          <p:cNvPr id="158" name="Rounded Rectangular Callout 462">
            <a:extLst>
              <a:ext uri="{FF2B5EF4-FFF2-40B4-BE49-F238E27FC236}">
                <a16:creationId xmlns:a16="http://schemas.microsoft.com/office/drawing/2014/main" id="{14AD7719-8878-4AA6-B1F9-7C5D504A494E}"/>
              </a:ext>
            </a:extLst>
          </p:cNvPr>
          <p:cNvSpPr/>
          <p:nvPr/>
        </p:nvSpPr>
        <p:spPr bwMode="auto">
          <a:xfrm>
            <a:off x="962782" y="2562300"/>
            <a:ext cx="679450" cy="288000"/>
          </a:xfrm>
          <a:prstGeom prst="wedgeRoundRectCallout">
            <a:avLst>
              <a:gd name="adj1" fmla="val 32636"/>
              <a:gd name="adj2" fmla="val 253891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50" b="1" dirty="0">
                <a:latin typeface="+mn-lt"/>
              </a:rPr>
              <a:t>Referendum/</a:t>
            </a:r>
          </a:p>
          <a:p>
            <a:pPr algn="ctr"/>
            <a:r>
              <a:rPr lang="en-US" sz="750" b="1" dirty="0">
                <a:latin typeface="+mn-lt"/>
              </a:rPr>
              <a:t>Elections</a:t>
            </a:r>
          </a:p>
        </p:txBody>
      </p:sp>
      <p:sp>
        <p:nvSpPr>
          <p:cNvPr id="160" name="Rounded Rectangular Callout 464">
            <a:extLst>
              <a:ext uri="{FF2B5EF4-FFF2-40B4-BE49-F238E27FC236}">
                <a16:creationId xmlns:a16="http://schemas.microsoft.com/office/drawing/2014/main" id="{899C00A5-D527-43C8-A043-7A8AD8C083C8}"/>
              </a:ext>
            </a:extLst>
          </p:cNvPr>
          <p:cNvSpPr/>
          <p:nvPr/>
        </p:nvSpPr>
        <p:spPr bwMode="auto">
          <a:xfrm>
            <a:off x="2256595" y="2789466"/>
            <a:ext cx="347663" cy="249705"/>
          </a:xfrm>
          <a:prstGeom prst="wedgeRoundRectCallout">
            <a:avLst>
              <a:gd name="adj1" fmla="val -19215"/>
              <a:gd name="adj2" fmla="val 122496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50" b="1" dirty="0">
                <a:latin typeface="+mn-lt"/>
              </a:rPr>
              <a:t>New P.L.</a:t>
            </a:r>
          </a:p>
        </p:txBody>
      </p:sp>
      <p:sp>
        <p:nvSpPr>
          <p:cNvPr id="162" name="Rounded Rectangular Callout 466">
            <a:extLst>
              <a:ext uri="{FF2B5EF4-FFF2-40B4-BE49-F238E27FC236}">
                <a16:creationId xmlns:a16="http://schemas.microsoft.com/office/drawing/2014/main" id="{260315A2-F81E-43CE-8660-A2C1D65AF17F}"/>
              </a:ext>
            </a:extLst>
          </p:cNvPr>
          <p:cNvSpPr/>
          <p:nvPr/>
        </p:nvSpPr>
        <p:spPr bwMode="auto">
          <a:xfrm>
            <a:off x="3909182" y="3004991"/>
            <a:ext cx="346075" cy="249705"/>
          </a:xfrm>
          <a:prstGeom prst="wedgeRoundRectCallout">
            <a:avLst>
              <a:gd name="adj1" fmla="val 56193"/>
              <a:gd name="adj2" fmla="val 133673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50" b="1" dirty="0">
                <a:latin typeface="+mn-lt"/>
              </a:rPr>
              <a:t>New P.L.</a:t>
            </a:r>
          </a:p>
        </p:txBody>
      </p:sp>
      <p:sp>
        <p:nvSpPr>
          <p:cNvPr id="163" name="Oval 106">
            <a:extLst>
              <a:ext uri="{FF2B5EF4-FFF2-40B4-BE49-F238E27FC236}">
                <a16:creationId xmlns:a16="http://schemas.microsoft.com/office/drawing/2014/main" id="{F67AB7E5-18C8-4634-8FE3-6B4C1643A6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50243" y="2251689"/>
            <a:ext cx="557213" cy="223695"/>
          </a:xfrm>
          <a:prstGeom prst="round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b="1" i="1" dirty="0">
                <a:solidFill>
                  <a:schemeClr val="accent2"/>
                </a:solidFill>
                <a:latin typeface="+mn-lt"/>
              </a:rPr>
              <a:t>2019</a:t>
            </a:r>
          </a:p>
        </p:txBody>
      </p:sp>
      <p:sp>
        <p:nvSpPr>
          <p:cNvPr id="164" name="Oval 106">
            <a:extLst>
              <a:ext uri="{FF2B5EF4-FFF2-40B4-BE49-F238E27FC236}">
                <a16:creationId xmlns:a16="http://schemas.microsoft.com/office/drawing/2014/main" id="{A16955E2-403B-4515-BB7E-F5CD98464E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21461" y="2251689"/>
            <a:ext cx="555625" cy="223695"/>
          </a:xfrm>
          <a:prstGeom prst="round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b="1" i="1" dirty="0">
                <a:solidFill>
                  <a:schemeClr val="accent2"/>
                </a:solidFill>
                <a:latin typeface="+mn-lt"/>
              </a:rPr>
              <a:t>2021</a:t>
            </a:r>
          </a:p>
        </p:txBody>
      </p:sp>
      <p:sp>
        <p:nvSpPr>
          <p:cNvPr id="165" name="Rounded Rectangular Callout 154">
            <a:extLst>
              <a:ext uri="{FF2B5EF4-FFF2-40B4-BE49-F238E27FC236}">
                <a16:creationId xmlns:a16="http://schemas.microsoft.com/office/drawing/2014/main" id="{6EF4DBC2-CD6E-40FD-BD7D-2D3F578BF646}"/>
              </a:ext>
            </a:extLst>
          </p:cNvPr>
          <p:cNvSpPr/>
          <p:nvPr/>
        </p:nvSpPr>
        <p:spPr bwMode="auto">
          <a:xfrm>
            <a:off x="5110920" y="2790554"/>
            <a:ext cx="346075" cy="249705"/>
          </a:xfrm>
          <a:prstGeom prst="wedgeRoundRectCallout">
            <a:avLst>
              <a:gd name="adj1" fmla="val -50309"/>
              <a:gd name="adj2" fmla="val 163909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50" b="1" dirty="0">
                <a:latin typeface="+mn-lt"/>
              </a:rPr>
              <a:t>New P.L.</a:t>
            </a:r>
          </a:p>
        </p:txBody>
      </p:sp>
      <p:sp>
        <p:nvSpPr>
          <p:cNvPr id="170" name="Rounded Rectangular Callout 138">
            <a:extLst>
              <a:ext uri="{FF2B5EF4-FFF2-40B4-BE49-F238E27FC236}">
                <a16:creationId xmlns:a16="http://schemas.microsoft.com/office/drawing/2014/main" id="{1E753F33-C1F6-4EE5-AA2F-1324D6766A84}"/>
              </a:ext>
            </a:extLst>
          </p:cNvPr>
          <p:cNvSpPr/>
          <p:nvPr/>
        </p:nvSpPr>
        <p:spPr bwMode="auto">
          <a:xfrm>
            <a:off x="5549070" y="2889442"/>
            <a:ext cx="346075" cy="249705"/>
          </a:xfrm>
          <a:prstGeom prst="wedgeRoundRectCallout">
            <a:avLst>
              <a:gd name="adj1" fmla="val -1514"/>
              <a:gd name="adj2" fmla="val 119819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50" b="1" dirty="0">
                <a:latin typeface="+mn-lt"/>
              </a:rPr>
              <a:t>New P.L.</a:t>
            </a:r>
          </a:p>
        </p:txBody>
      </p:sp>
      <p:sp>
        <p:nvSpPr>
          <p:cNvPr id="173" name="Rounded Rectangular Callout 154">
            <a:extLst>
              <a:ext uri="{FF2B5EF4-FFF2-40B4-BE49-F238E27FC236}">
                <a16:creationId xmlns:a16="http://schemas.microsoft.com/office/drawing/2014/main" id="{9EDD133B-00EC-41D2-BFD3-290F4D2FC092}"/>
              </a:ext>
            </a:extLst>
          </p:cNvPr>
          <p:cNvSpPr/>
          <p:nvPr/>
        </p:nvSpPr>
        <p:spPr bwMode="auto">
          <a:xfrm>
            <a:off x="7542789" y="2455274"/>
            <a:ext cx="346075" cy="249705"/>
          </a:xfrm>
          <a:prstGeom prst="wedgeRoundRectCallout">
            <a:avLst>
              <a:gd name="adj1" fmla="val -2498"/>
              <a:gd name="adj2" fmla="val 132521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50" b="1" dirty="0">
                <a:latin typeface="+mn-lt"/>
              </a:rPr>
              <a:t>New P.L.</a:t>
            </a:r>
          </a:p>
        </p:txBody>
      </p:sp>
      <p:sp>
        <p:nvSpPr>
          <p:cNvPr id="174" name="Rounded Rectangular Callout 154">
            <a:extLst>
              <a:ext uri="{FF2B5EF4-FFF2-40B4-BE49-F238E27FC236}">
                <a16:creationId xmlns:a16="http://schemas.microsoft.com/office/drawing/2014/main" id="{FD290652-ACFF-4A3A-AA5B-4AF864C4BFEE}"/>
              </a:ext>
            </a:extLst>
          </p:cNvPr>
          <p:cNvSpPr/>
          <p:nvPr/>
        </p:nvSpPr>
        <p:spPr bwMode="auto">
          <a:xfrm>
            <a:off x="8773281" y="2938387"/>
            <a:ext cx="346075" cy="249705"/>
          </a:xfrm>
          <a:prstGeom prst="wedgeRoundRectCallout">
            <a:avLst>
              <a:gd name="adj1" fmla="val -10047"/>
              <a:gd name="adj2" fmla="val 87183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b="1" dirty="0">
                <a:latin typeface="+mn-lt"/>
              </a:rPr>
              <a:t>New P.L.</a:t>
            </a:r>
          </a:p>
        </p:txBody>
      </p:sp>
      <p:sp>
        <p:nvSpPr>
          <p:cNvPr id="176" name="Rounded Rectangular Callout 154">
            <a:extLst>
              <a:ext uri="{FF2B5EF4-FFF2-40B4-BE49-F238E27FC236}">
                <a16:creationId xmlns:a16="http://schemas.microsoft.com/office/drawing/2014/main" id="{FFD62291-1CB0-47F7-B8CB-ED31FD2F259E}"/>
              </a:ext>
            </a:extLst>
          </p:cNvPr>
          <p:cNvSpPr/>
          <p:nvPr/>
        </p:nvSpPr>
        <p:spPr bwMode="auto">
          <a:xfrm>
            <a:off x="9472900" y="2667272"/>
            <a:ext cx="346075" cy="249705"/>
          </a:xfrm>
          <a:prstGeom prst="wedgeRoundRectCallout">
            <a:avLst>
              <a:gd name="adj1" fmla="val -10047"/>
              <a:gd name="adj2" fmla="val 87183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b="1" dirty="0">
                <a:latin typeface="+mn-lt"/>
              </a:rPr>
              <a:t>New P.L.</a:t>
            </a:r>
          </a:p>
        </p:txBody>
      </p:sp>
      <p:sp>
        <p:nvSpPr>
          <p:cNvPr id="177" name="Oval 106">
            <a:extLst>
              <a:ext uri="{FF2B5EF4-FFF2-40B4-BE49-F238E27FC236}">
                <a16:creationId xmlns:a16="http://schemas.microsoft.com/office/drawing/2014/main" id="{10C5CF1C-0BCB-4A70-9CFA-1C1598609A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21322" y="2251689"/>
            <a:ext cx="555625" cy="223695"/>
          </a:xfrm>
          <a:prstGeom prst="round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b="1" i="1" dirty="0">
                <a:solidFill>
                  <a:schemeClr val="accent2"/>
                </a:solidFill>
                <a:latin typeface="+mn-lt"/>
              </a:rPr>
              <a:t>2023</a:t>
            </a:r>
          </a:p>
        </p:txBody>
      </p:sp>
      <p:sp>
        <p:nvSpPr>
          <p:cNvPr id="178" name="Oval 106">
            <a:extLst>
              <a:ext uri="{FF2B5EF4-FFF2-40B4-BE49-F238E27FC236}">
                <a16:creationId xmlns:a16="http://schemas.microsoft.com/office/drawing/2014/main" id="{ACB5076B-8EC5-43BF-A88B-0ADC234D86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380" y="2251689"/>
            <a:ext cx="557213" cy="223695"/>
          </a:xfrm>
          <a:prstGeom prst="round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000" b="1" i="1" dirty="0">
                <a:solidFill>
                  <a:schemeClr val="accent2"/>
                </a:solidFill>
                <a:latin typeface="+mn-lt"/>
              </a:rPr>
              <a:t>2015</a:t>
            </a:r>
          </a:p>
        </p:txBody>
      </p:sp>
      <p:sp>
        <p:nvSpPr>
          <p:cNvPr id="183" name="Rounded Rectangular Callout 154">
            <a:extLst>
              <a:ext uri="{FF2B5EF4-FFF2-40B4-BE49-F238E27FC236}">
                <a16:creationId xmlns:a16="http://schemas.microsoft.com/office/drawing/2014/main" id="{4E2D8829-3BD0-45B6-8980-6C8B425D206D}"/>
              </a:ext>
            </a:extLst>
          </p:cNvPr>
          <p:cNvSpPr/>
          <p:nvPr/>
        </p:nvSpPr>
        <p:spPr bwMode="auto">
          <a:xfrm>
            <a:off x="10003983" y="2803182"/>
            <a:ext cx="346075" cy="249705"/>
          </a:xfrm>
          <a:prstGeom prst="wedgeRoundRectCallout">
            <a:avLst>
              <a:gd name="adj1" fmla="val -10047"/>
              <a:gd name="adj2" fmla="val 87183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50" b="1" dirty="0">
                <a:latin typeface="+mn-lt"/>
              </a:rPr>
              <a:t>New P.L.</a:t>
            </a:r>
          </a:p>
        </p:txBody>
      </p:sp>
      <p:sp>
        <p:nvSpPr>
          <p:cNvPr id="141" name="Oval 106">
            <a:extLst>
              <a:ext uri="{FF2B5EF4-FFF2-40B4-BE49-F238E27FC236}">
                <a16:creationId xmlns:a16="http://schemas.microsoft.com/office/drawing/2014/main" id="{B5A860D9-21A2-44B1-9C95-BE6C600A92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11625" y="5738466"/>
            <a:ext cx="283464" cy="186191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40.5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D6653623-7796-9D3F-5210-2F9F3A7F530A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81485777"/>
              </p:ext>
            </p:extLst>
          </p:nvPr>
        </p:nvGraphicFramePr>
        <p:xfrm>
          <a:off x="79375" y="2132013"/>
          <a:ext cx="11101388" cy="3270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3"/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119C6B4-9F13-49E0-BE17-FA2C644A83B9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>
            <a:off x="1412875" y="3459163"/>
            <a:ext cx="1211263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C058834-2A03-4A5C-9485-203470992707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 flipV="1">
            <a:off x="1412875" y="3459163"/>
            <a:ext cx="0" cy="198438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040BC69-F0FF-41B5-B3E8-75225BD07D3A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2624138" y="3459163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17A99E1-95C3-45D4-BA66-ADB0DC2AF004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gray">
          <a:xfrm flipV="1">
            <a:off x="2700338" y="3446463"/>
            <a:ext cx="0" cy="1651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957B118-1B08-4D68-A04F-9DDB62FF3555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2700338" y="3446463"/>
            <a:ext cx="1173163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498BEAE-C57E-44F0-9DB8-46C974929454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3873500" y="3446463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Straight Connector 241">
            <a:extLst>
              <a:ext uri="{FF2B5EF4-FFF2-40B4-BE49-F238E27FC236}">
                <a16:creationId xmlns:a16="http://schemas.microsoft.com/office/drawing/2014/main" id="{240463B3-6277-486B-ADCD-042A78236B81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 flipV="1">
            <a:off x="3949700" y="3405188"/>
            <a:ext cx="0" cy="193675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Straight Connector 243">
            <a:extLst>
              <a:ext uri="{FF2B5EF4-FFF2-40B4-BE49-F238E27FC236}">
                <a16:creationId xmlns:a16="http://schemas.microsoft.com/office/drawing/2014/main" id="{8D04D441-983D-46A0-BB5A-B8F7D3BE3327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3949700" y="3405188"/>
            <a:ext cx="1173163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Straight Connector 242">
            <a:extLst>
              <a:ext uri="{FF2B5EF4-FFF2-40B4-BE49-F238E27FC236}">
                <a16:creationId xmlns:a16="http://schemas.microsoft.com/office/drawing/2014/main" id="{E54B1EDB-7340-4416-9F34-5C64C5EB9DEC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5122863" y="3405188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Straight Connector 246">
            <a:extLst>
              <a:ext uri="{FF2B5EF4-FFF2-40B4-BE49-F238E27FC236}">
                <a16:creationId xmlns:a16="http://schemas.microsoft.com/office/drawing/2014/main" id="{6D41DA27-6CD8-4A1F-A7B1-15AF88504B34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5199063" y="3386138"/>
            <a:ext cx="1173163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Connector 244">
            <a:extLst>
              <a:ext uri="{FF2B5EF4-FFF2-40B4-BE49-F238E27FC236}">
                <a16:creationId xmlns:a16="http://schemas.microsoft.com/office/drawing/2014/main" id="{9C5DCD2F-97E2-4785-9119-7AE922A647BB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 flipV="1">
            <a:off x="5199063" y="3386138"/>
            <a:ext cx="0" cy="17145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Straight Connector 245">
            <a:extLst>
              <a:ext uri="{FF2B5EF4-FFF2-40B4-BE49-F238E27FC236}">
                <a16:creationId xmlns:a16="http://schemas.microsoft.com/office/drawing/2014/main" id="{4F45B1C9-F94E-4E56-B353-130FF2F08453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6372225" y="3386138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BB59D386-233B-4A22-9EBE-1C58D26ACB58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 flipV="1">
            <a:off x="6448425" y="3376613"/>
            <a:ext cx="0" cy="161925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57E4C219-661C-4DC6-B8B1-E101A7C27E84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>
            <a:off x="6448425" y="3376613"/>
            <a:ext cx="1173163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Connector 249">
            <a:extLst>
              <a:ext uri="{FF2B5EF4-FFF2-40B4-BE49-F238E27FC236}">
                <a16:creationId xmlns:a16="http://schemas.microsoft.com/office/drawing/2014/main" id="{B2A1AD07-8DB1-4981-9FBE-BA7318BF99D0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7621588" y="3376613"/>
            <a:ext cx="0" cy="17145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C19E95C-4D72-4865-8A88-7B4C4F03C200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 flipV="1">
            <a:off x="7697788" y="3289300"/>
            <a:ext cx="0" cy="258763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6B713C-1377-464B-AAD1-9CAC63FB4A27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7697788" y="3289300"/>
            <a:ext cx="1174750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769F815-6B51-4E6D-AF6D-1A88B5D45DFA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8872538" y="3289300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C758AE25-0F4E-46DF-A71E-F991F0DF799D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10160000" y="3254375"/>
            <a:ext cx="0" cy="15240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2" name="Straight Connector 261">
            <a:extLst>
              <a:ext uri="{FF2B5EF4-FFF2-40B4-BE49-F238E27FC236}">
                <a16:creationId xmlns:a16="http://schemas.microsoft.com/office/drawing/2014/main" id="{F4768CB2-13D3-4647-B362-ED727260E34D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 flipV="1">
            <a:off x="8948738" y="3254375"/>
            <a:ext cx="0" cy="187325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3" name="Straight Connector 262">
            <a:extLst>
              <a:ext uri="{FF2B5EF4-FFF2-40B4-BE49-F238E27FC236}">
                <a16:creationId xmlns:a16="http://schemas.microsoft.com/office/drawing/2014/main" id="{03451E17-7546-413D-9EA4-6F715DACC872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8948738" y="3254375"/>
            <a:ext cx="1211263" cy="0"/>
          </a:xfrm>
          <a:prstGeom prst="line">
            <a:avLst/>
          </a:prstGeom>
          <a:ln w="12700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6D6592BF-0157-4D75-B74D-FB85F79D89D3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3190875" y="53895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7526472-93E6-41E1-94BB-A32344CACB80}" type="datetime'H''''''1''''''''''''/''&#10;''''''''''''''''17'''''''''">
              <a:rPr lang="en-US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1/
17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521890A2-8B06-466B-BEF6-B8CD2AFF9015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6330950" y="5203825"/>
            <a:ext cx="15875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ED15F2D-32A8-49D7-9A42-C30C7F39DD18}" type="datetime'''''''''''''1''''''''''''''''''''''2'''''''''''''''">
              <a:rPr lang="en-US" altLang="en-US" sz="900" smtClean="0">
                <a:solidFill>
                  <a:schemeClr val="bg1"/>
                </a:solidFill>
                <a:cs typeface="Arial" panose="020B0604020202020204" pitchFamily="34" charset="0"/>
              </a:rPr>
              <a:pPr/>
              <a:t>12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8B2ABCEA-C7F1-4339-BEB5-108CD595A685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3832225" y="5195888"/>
            <a:ext cx="15875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11E07CC-CE62-4C61-95EF-D3D2A93BE0FE}" type="datetime'1''''''2'''''''''''''''''''''''''''''''''''''">
              <a:rPr lang="en-US" altLang="en-US" sz="900" smtClean="0">
                <a:solidFill>
                  <a:schemeClr val="bg1"/>
                </a:solidFill>
                <a:cs typeface="Arial" panose="020B0604020202020204" pitchFamily="34" charset="0"/>
              </a:rPr>
              <a:pPr/>
              <a:t>12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90BCA206-6CD0-4BBA-9088-757ACC66A539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1957388" y="5202238"/>
            <a:ext cx="15875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BC68DD3-BB5B-43DF-A0B2-D99E81B7AF22}" type="datetime'''''''1''''''''''''''''''''''''''''''''''0'''''''''''''''''''">
              <a:rPr lang="en-US" altLang="en-US" sz="900" smtClean="0">
                <a:solidFill>
                  <a:schemeClr val="bg1"/>
                </a:solidFill>
                <a:cs typeface="Arial" panose="020B0604020202020204" pitchFamily="34" charset="0"/>
              </a:rPr>
              <a:pPr/>
              <a:t>10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B1D79899-6721-436B-8A32-2AECE8205574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3816350" y="53895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B0EA113-503E-4B59-842A-820EC8E89EC8}" type="datetime'''''''''''''H2''''''''''/''''&#10;''''''17'''''''''''">
              <a:rPr lang="en-US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2/
17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73AE5B04-34E1-4499-8303-17CD0DE0E257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4457700" y="5197475"/>
            <a:ext cx="15875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D476D3A-4164-43ED-9485-BBD5882132DF}" type="datetime'''1''''''''''''''''''''3'''''''''''''''''">
              <a:rPr lang="en-US" altLang="en-US" sz="900" smtClean="0">
                <a:solidFill>
                  <a:schemeClr val="bg1"/>
                </a:solidFill>
                <a:cs typeface="Arial" panose="020B0604020202020204" pitchFamily="34" charset="0"/>
              </a:rPr>
              <a:pPr/>
              <a:t>13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A1CA18BE-42CC-4E61-A276-6ED77F5AA465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4441825" y="53895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485D9F8-EE8B-4139-A5E8-989D4EB6ECD0}" type="datetime'''''''''H''''1''''''''''/''''''''''''''&#10;''''1''8'''''''">
              <a:rPr lang="en-US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1/
18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B53E2863-0032-4096-9112-5B3397C734EE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10080625" y="5203825"/>
            <a:ext cx="15875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CAF8B16-DB19-43D6-912F-6BC38397CE2B}" type="datetime'''''''''''''''''''''''''''''12'''''''">
              <a:rPr lang="en-US" altLang="en-US" sz="900" smtClean="0">
                <a:solidFill>
                  <a:schemeClr val="bg1"/>
                </a:solidFill>
                <a:effectLst/>
              </a:rPr>
              <a:pPr/>
              <a:t>12</a:t>
            </a:fld>
            <a:endParaRPr lang="en-US" sz="900" dirty="0" err="1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BB6476C9-85A5-47CE-9116-1E7B0E9D2A1F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6956425" y="5205413"/>
            <a:ext cx="15875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7E021D3-BC74-4C47-88C8-39E339A7D99F}" type="datetime'''''''''''''''1''''''''''''2'''''''''''''''''''">
              <a:rPr lang="en-US" altLang="en-US" sz="900" smtClean="0">
                <a:solidFill>
                  <a:schemeClr val="bg1"/>
                </a:solidFill>
                <a:cs typeface="Arial" panose="020B0604020202020204" pitchFamily="34" charset="0"/>
              </a:rPr>
              <a:pPr/>
              <a:t>12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F80F4A60-D98E-4432-B5EA-EACA7C1E234C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5081588" y="5199063"/>
            <a:ext cx="15875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DE7283D-EBED-4E8B-B5BF-B1C47006C9E6}" type="datetime'''''''''1''''''''''''''''''''''''''''''''''''''3'''">
              <a:rPr lang="en-US" altLang="en-US" sz="900" smtClean="0">
                <a:solidFill>
                  <a:schemeClr val="bg1"/>
                </a:solidFill>
                <a:cs typeface="Arial" panose="020B0604020202020204" pitchFamily="34" charset="0"/>
              </a:rPr>
              <a:pPr/>
              <a:t>13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3EDCCE78-6DBF-44AB-8854-27ED277E1A03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5065713" y="53895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36335D0-F456-49E6-9655-FC4AB8FCD4A1}" type="datetime'H''''''''2''''''''''''/&#10;1''''''''''''''''''''''''''''8'">
              <a:rPr lang="en-US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2/
18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2BCA52FA-8695-4EB1-9E4A-7D20B4B6495C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8815388" y="53895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6032D08-5E38-4253-AA0D-D28251D4A568}" type="datetime'''''''''H2''''''''''''''''/''&#10;''''''''''''''2''''''''''1'''">
              <a:rPr lang="en-US" altLang="en-US" sz="900" smtClean="0">
                <a:solidFill>
                  <a:schemeClr val="tx1"/>
                </a:solidFill>
              </a:rPr>
              <a:pPr/>
              <a:t>H2/
21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4A9B173A-470B-4B77-A3CA-B74B660D3338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5691188" y="53895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96BD0BA-1EA4-44AD-8033-9FFF3830FBEF}" type="datetime'''''H''''''''1''''''''''''/''''''''''&#10;''1''''''''9'">
              <a:rPr lang="en-US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1/
19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F40CEBC4-0594-46C6-93DB-5F1076CEB0BA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6315075" y="53895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97E2CC4-E13B-42BD-8C7E-BA6B717FF67B}" type="datetime'''''''''H''''2''''''''''''''''''''''''''''/&#10;1''9'''''">
              <a:rPr lang="en-US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2/
19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A910D14A-AFDB-4E1E-A05A-AC47134C6C58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6940550" y="53895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575B81E-06D1-4858-8C04-EFCFA0D6FC3B}" type="datetime'Η''''''1/''''''''''''''&#10;''''2''''''''''0'''''''''''''''''''">
              <a:rPr lang="el-GR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Η1/
20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D37FC8DD-E470-48E8-AD44-FE12C3B148A5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7580313" y="5208588"/>
            <a:ext cx="15875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49D584F-8F2A-4D43-B3EE-431BD8D8413A}" type="datetime'''''''''''''''''''''''''''''''''''1''''''''''''''''1'''''">
              <a:rPr lang="en-US" altLang="en-US" sz="900" smtClean="0">
                <a:solidFill>
                  <a:schemeClr val="bg1"/>
                </a:solidFill>
                <a:cs typeface="Arial" panose="020B0604020202020204" pitchFamily="34" charset="0"/>
              </a:rPr>
              <a:pPr/>
              <a:t>11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95A436F0-155B-44BB-88BB-C90254BA8558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7564438" y="53895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F85EC6C-DCDD-4AB8-8D10-D482769CD85F}" type="datetime'Η2''''''''''/&#10;''2''''''''0'''''''''''''''''''''''''">
              <a:rPr lang="el-GR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Η2/
20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4951203F-7DAD-4945-882D-DE76685E225A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9439275" y="53895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394C58F-FAAF-4BEC-A053-1CE38825518A}" type="datetime'H''''''''''1/''''&#10;2''''''''''''''''2'''''''">
              <a:rPr lang="en-US" altLang="en-US" sz="900" smtClean="0">
                <a:solidFill>
                  <a:schemeClr val="tx1"/>
                </a:solidFill>
              </a:rPr>
              <a:pPr/>
              <a:t>H1/
22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0EAED63E-77FD-47C0-85A4-9EB07EE53922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8831263" y="5205413"/>
            <a:ext cx="15875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D35595E-6828-4736-959D-7E1EC36A39AF}" type="datetime'''''11'''''''''''''''''''">
              <a:rPr lang="en-US" altLang="en-US" sz="900" smtClean="0">
                <a:solidFill>
                  <a:schemeClr val="bg1"/>
                </a:solidFill>
                <a:effectLst/>
                <a:sym typeface="Arial" panose="020B0604020202020204" pitchFamily="34" charset="0"/>
              </a:rPr>
              <a:pPr/>
              <a:t>11</a:t>
            </a:fld>
            <a:endParaRPr lang="en-US" sz="900" dirty="0" err="1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672C18AC-5EB7-4575-A661-D2D214366A7C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10064750" y="53895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F8E75AE-2178-4D2B-849E-65A6C9F2D912}" type="datetime'''''''''''''''''''''''''''''''H''2''/''''''''&#10;''2''''''2'''">
              <a:rPr lang="en-US" altLang="en-US" sz="900" smtClean="0">
                <a:solidFill>
                  <a:schemeClr val="tx1"/>
                </a:solidFill>
              </a:rPr>
              <a:pPr/>
              <a:t>H2/
22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4" name="Text Placeholder 2">
            <a:extLst>
              <a:ext uri="{FF2B5EF4-FFF2-40B4-BE49-F238E27FC236}">
                <a16:creationId xmlns:a16="http://schemas.microsoft.com/office/drawing/2014/main" id="{AA6A03AD-DB24-415E-9E29-749E5260E388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1925638" y="3665538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B1515DBE-9616-4074-BA9C-FDB477997E04}" type="datetime'''''''''1''''''''''''''''''''''''''9''''''''2'''">
              <a:rPr lang="en-US" altLang="en-US" sz="900" smtClean="0">
                <a:solidFill>
                  <a:schemeClr val="tx1"/>
                </a:solidFill>
              </a:rPr>
              <a:pPr/>
              <a:t>192</a:t>
            </a:fld>
            <a:endParaRPr lang="el-GR" sz="9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474" name="Rectangle 473">
            <a:extLst>
              <a:ext uri="{FF2B5EF4-FFF2-40B4-BE49-F238E27FC236}">
                <a16:creationId xmlns:a16="http://schemas.microsoft.com/office/drawing/2014/main" id="{822AE56B-00CD-F9B7-DC26-03A9C451BD8B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10634663" y="5389563"/>
            <a:ext cx="2984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29DF332-142E-435D-9B6D-77793E33F971}" type="datetime'''MA''T''&#10;''0''3''''''''''''''''/2''''''''''''''''''''''''''3'">
              <a:rPr lang="en-US" altLang="en-US" sz="900" smtClean="0">
                <a:solidFill>
                  <a:schemeClr val="tx1"/>
                </a:solidFill>
              </a:rPr>
              <a:pPr/>
              <a:t>MAT
03/23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2C17D8D-8E86-4535-962F-4A5C22302ECA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2566988" y="53895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4922B7E-B3AC-44AC-9AEF-D0E09BE8BE93}" type="datetime'''''''''''''''H''2''/&#10;''''''1''''''''6'''">
              <a:rPr lang="en-US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2/
16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93D6AF92-A3DE-4B1F-9601-5D8F8AF670B8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9455150" y="5203825"/>
            <a:ext cx="15875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0A143A4-C417-4882-B6B5-D976133A79C9}" type="datetime'''''''1''''''''''''''''''''''''''2'">
              <a:rPr lang="en-US" altLang="en-US" sz="900" smtClean="0">
                <a:solidFill>
                  <a:schemeClr val="bg1"/>
                </a:solidFill>
                <a:effectLst/>
              </a:rPr>
              <a:pPr/>
              <a:t>12</a:t>
            </a:fld>
            <a:endParaRPr lang="en-US" sz="900" dirty="0" err="1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BB4122BA-BD51-42A3-94E8-7CD75CAC1B81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8205788" y="5207000"/>
            <a:ext cx="15875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1B53F28-E682-4AD2-B9E3-5FF1CA6ED33E}" type="datetime'''''1''''''''''''''''''''1'''''''''''''''">
              <a:rPr lang="en-US" altLang="en-US" sz="900" smtClean="0">
                <a:solidFill>
                  <a:schemeClr val="bg1"/>
                </a:solidFill>
              </a:rPr>
              <a:pPr/>
              <a:t>11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B192075-CB66-4BAD-B537-4046D1121644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692150" y="53895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B5CADDE-8F23-4E2D-82A4-D35C2D089C9E}" type="datetime'''''''''''''H1''''''''''''''''''''/''''''''&#10;1''5'">
              <a:rPr lang="en-US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1/
15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9" name="Rectangle 448">
            <a:extLst>
              <a:ext uri="{FF2B5EF4-FFF2-40B4-BE49-F238E27FC236}">
                <a16:creationId xmlns:a16="http://schemas.microsoft.com/office/drawing/2014/main" id="{637A81E7-E91B-64F5-C12B-69C76A0299E9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10736263" y="5227638"/>
            <a:ext cx="95250" cy="1238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E01B626-97CE-4CFC-BD7D-E92FE430C4B7}" type="datetime'''6'''''''''''''''''''">
              <a:rPr lang="en-US" altLang="en-US" sz="900" smtClean="0">
                <a:solidFill>
                  <a:schemeClr val="bg1"/>
                </a:solidFill>
                <a:effectLst/>
                <a:sym typeface="Arial" panose="020B0604020202020204" pitchFamily="34" charset="0"/>
              </a:rPr>
              <a:pPr/>
              <a:t>6</a:t>
            </a:fld>
            <a:endParaRPr lang="en-US" sz="900" dirty="0" err="1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253" name="Rectangle 19">
            <a:extLst>
              <a:ext uri="{FF2B5EF4-FFF2-40B4-BE49-F238E27FC236}">
                <a16:creationId xmlns:a16="http://schemas.microsoft.com/office/drawing/2014/main" id="{42BAA0F1-014A-49D5-8547-88388F6F0307}"/>
              </a:ext>
            </a:extLst>
          </p:cNvPr>
          <p:cNvSpPr>
            <a:spLocks noChangeArrowheads="1"/>
          </p:cNvSpPr>
          <p:nvPr>
            <p:custDataLst>
              <p:tags r:id="rId60"/>
            </p:custDataLst>
          </p:nvPr>
        </p:nvSpPr>
        <p:spPr bwMode="auto">
          <a:xfrm>
            <a:off x="428625" y="1989138"/>
            <a:ext cx="9525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anchor="b"/>
          <a:lstStyle/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M</a:t>
            </a: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1E95B87F-3CDF-455E-B662-27CF9838E45A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8189913" y="53895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052E95F-001A-44AA-9570-16EE42A5B8A8}" type="datetime'''''''''''''H1''''''/''&#10;''''''''''''''2''''''1'''''''">
              <a:rPr lang="en-US" altLang="en-US" sz="900" smtClean="0">
                <a:solidFill>
                  <a:schemeClr val="tx1"/>
                </a:solidFill>
              </a:rPr>
              <a:pPr/>
              <a:t>H1/
21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3" name="Rectangle 382">
            <a:extLst>
              <a:ext uri="{FF2B5EF4-FFF2-40B4-BE49-F238E27FC236}">
                <a16:creationId xmlns:a16="http://schemas.microsoft.com/office/drawing/2014/main" id="{24400802-9165-4968-9C12-12932FC10EAC}"/>
              </a:ext>
            </a:extLst>
          </p:cNvPr>
          <p:cNvSpPr/>
          <p:nvPr>
            <p:custDataLst>
              <p:tags r:id="rId62"/>
            </p:custDataLst>
          </p:nvPr>
        </p:nvSpPr>
        <p:spPr bwMode="gray">
          <a:xfrm>
            <a:off x="708025" y="5184775"/>
            <a:ext cx="15875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487CF41-42FF-48CB-A401-393732060384}" type="datetime'''''1''''''''''''''''''''5'''''''''">
              <a:rPr lang="en-US" altLang="en-US" sz="900" smtClean="0">
                <a:solidFill>
                  <a:schemeClr val="bg1"/>
                </a:solidFill>
                <a:cs typeface="Arial" panose="020B0604020202020204" pitchFamily="34" charset="0"/>
              </a:rPr>
              <a:pPr/>
              <a:t>15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0013DE3-829C-45B6-9B4E-CA6A56E1F9B1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1317625" y="53895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FBFE92F-966A-4962-A7CC-F58A60066593}" type="datetime'''''H''2''/''''&#10;''''''1''''''''''''5'''''''''''''''''''''''">
              <a:rPr lang="en-US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2/
15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7E4CD3E5-70E4-42D2-9BF0-61DCA0A2D19E}"/>
              </a:ext>
            </a:extLst>
          </p:cNvPr>
          <p:cNvSpPr/>
          <p:nvPr>
            <p:custDataLst>
              <p:tags r:id="rId64"/>
            </p:custDataLst>
          </p:nvPr>
        </p:nvSpPr>
        <p:spPr bwMode="gray">
          <a:xfrm>
            <a:off x="2582863" y="5200650"/>
            <a:ext cx="15875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49F940B-9BDA-4655-B8A1-6F26E4C80BE8}" type="datetime'''''''1''''''''''1'''''''">
              <a:rPr lang="en-US" altLang="en-US" sz="900" smtClean="0">
                <a:solidFill>
                  <a:schemeClr val="bg1"/>
                </a:solidFill>
                <a:cs typeface="Arial" panose="020B0604020202020204" pitchFamily="34" charset="0"/>
              </a:rPr>
              <a:pPr/>
              <a:t>11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00ABC5E-8504-4DEF-8E44-3FBE680BB1CD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1941513" y="5389563"/>
            <a:ext cx="1905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AC82A56-C586-4D95-B21B-F2601ED2E85F}" type="datetime'''H''''1''''''''''/&#10;''''''''''''''''1''''''6'''''''''">
              <a:rPr lang="en-US" altLang="en-US"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1/
16</a:t>
            </a:fld>
            <a:endParaRPr lang="en-US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CBE9AAD7-4AC6-4A03-B9DE-A88B52F10EAD}"/>
              </a:ext>
            </a:extLst>
          </p:cNvPr>
          <p:cNvSpPr/>
          <p:nvPr>
            <p:custDataLst>
              <p:tags r:id="rId66"/>
            </p:custDataLst>
          </p:nvPr>
        </p:nvSpPr>
        <p:spPr bwMode="gray">
          <a:xfrm>
            <a:off x="3206750" y="5197475"/>
            <a:ext cx="158750" cy="1365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992695F-C8FA-4E9D-965E-35E5B4EF217E}" type="datetime'''''''''''''''1''2'''''''">
              <a:rPr lang="en-US" altLang="en-US" sz="900" smtClean="0">
                <a:solidFill>
                  <a:schemeClr val="bg1"/>
                </a:solidFill>
                <a:cs typeface="Arial" panose="020B0604020202020204" pitchFamily="34" charset="0"/>
              </a:rPr>
              <a:pPr/>
              <a:t>12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F416155F-4F35-413E-B560-B1BA6B08A03D}"/>
              </a:ext>
            </a:extLst>
          </p:cNvPr>
          <p:cNvSpPr/>
          <p:nvPr>
            <p:custDataLst>
              <p:tags r:id="rId67"/>
            </p:custDataLst>
          </p:nvPr>
        </p:nvSpPr>
        <p:spPr bwMode="gray">
          <a:xfrm>
            <a:off x="10048875" y="3444875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ADC4411-5584-443B-88AF-49306A988C87}" type="datetime'''''''''''''''2''''''''''''2''''2'''''''''''''''''''">
              <a:rPr lang="en-US" altLang="en-US" sz="900" smtClean="0">
                <a:solidFill>
                  <a:schemeClr val="tx1"/>
                </a:solidFill>
              </a:rPr>
              <a:pPr/>
              <a:t>222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384" name="Text Placeholder 2">
            <a:extLst>
              <a:ext uri="{FF2B5EF4-FFF2-40B4-BE49-F238E27FC236}">
                <a16:creationId xmlns:a16="http://schemas.microsoft.com/office/drawing/2014/main" id="{6DB87318-58FF-4772-9A08-52EAD29903D2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1301750" y="3695700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A7DB52A-269A-4237-B818-9269C23CB198}" type="datetime'''''''1''''''''''''''''''''8''''8'''''''''">
              <a:rPr lang="en-US" altLang="en-US" sz="900" smtClean="0">
                <a:solidFill>
                  <a:schemeClr val="tx1"/>
                </a:solidFill>
              </a:rPr>
              <a:pPr/>
              <a:t>188</a:t>
            </a:fld>
            <a:endParaRPr lang="el-GR" sz="9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382" name="Text Placeholder 2">
            <a:extLst>
              <a:ext uri="{FF2B5EF4-FFF2-40B4-BE49-F238E27FC236}">
                <a16:creationId xmlns:a16="http://schemas.microsoft.com/office/drawing/2014/main" id="{436F8D70-3D14-4930-B516-B07743BC814D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676275" y="3679825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AAEDCAD1-45AD-4F43-882A-2AD018A30F52}" type="datetime'''''''''''''''''''''''''''''''''19''''''''''''''''''0'''''''">
              <a:rPr lang="en-US" altLang="en-US" sz="900" smtClean="0">
                <a:solidFill>
                  <a:schemeClr val="tx1"/>
                </a:solidFill>
              </a:rPr>
              <a:pPr/>
              <a:t>190</a:t>
            </a:fld>
            <a:endParaRPr lang="el-GR" sz="9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4B668CE1-293C-4F2F-B575-5C6910C49CA5}"/>
              </a:ext>
            </a:extLst>
          </p:cNvPr>
          <p:cNvSpPr/>
          <p:nvPr>
            <p:custDataLst>
              <p:tags r:id="rId70"/>
            </p:custDataLst>
          </p:nvPr>
        </p:nvSpPr>
        <p:spPr bwMode="gray">
          <a:xfrm>
            <a:off x="2551113" y="3649663"/>
            <a:ext cx="2222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rtlCol="0" anchor="b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350364F-C541-4596-A07E-B4680960BE14}" type="datetime'''''''''''''''''''''''''''''''''''''''19''''4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194</a:t>
            </a:fld>
            <a:endParaRPr lang="el-GR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EDEFE444-EF27-4239-AB36-AB896A783C9A}"/>
              </a:ext>
            </a:extLst>
          </p:cNvPr>
          <p:cNvSpPr/>
          <p:nvPr>
            <p:custDataLst>
              <p:tags r:id="rId71"/>
            </p:custDataLst>
          </p:nvPr>
        </p:nvSpPr>
        <p:spPr bwMode="gray">
          <a:xfrm>
            <a:off x="3175000" y="3630613"/>
            <a:ext cx="2222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rtlCol="0" anchor="b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368A085-DFB0-4AB8-9F4E-21FD9F8276AF}" type="datetime'''1''''''''''''''9''''''''''''''''''''''7''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197</a:t>
            </a:fld>
            <a:endParaRPr lang="el-GR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B9B8E14F-0CFD-43C4-8F44-0DD213E370C5}"/>
              </a:ext>
            </a:extLst>
          </p:cNvPr>
          <p:cNvSpPr/>
          <p:nvPr>
            <p:custDataLst>
              <p:tags r:id="rId72"/>
            </p:custDataLst>
          </p:nvPr>
        </p:nvSpPr>
        <p:spPr bwMode="gray">
          <a:xfrm>
            <a:off x="3800475" y="3636963"/>
            <a:ext cx="2222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rtlCol="0" anchor="b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400A1B0-0055-4DDD-866D-5C8E6A42F908}" type="datetime'''1''''9''''6''''''''''''''''''''''''''''''''''''''''''''''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196</a:t>
            </a:fld>
            <a:endParaRPr lang="el-GR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69" name="Rectangle 268">
            <a:extLst>
              <a:ext uri="{FF2B5EF4-FFF2-40B4-BE49-F238E27FC236}">
                <a16:creationId xmlns:a16="http://schemas.microsoft.com/office/drawing/2014/main" id="{31209D36-C43C-416F-AD6D-D8F1508F747C}"/>
              </a:ext>
            </a:extLst>
          </p:cNvPr>
          <p:cNvSpPr/>
          <p:nvPr>
            <p:custDataLst>
              <p:tags r:id="rId73"/>
            </p:custDataLst>
          </p:nvPr>
        </p:nvSpPr>
        <p:spPr bwMode="gray">
          <a:xfrm>
            <a:off x="4425950" y="3606800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0DB9664-8FCD-4658-B745-B4C811F8D1B0}" type="datetime'2''''''''''''''''01''''''''''''''''''''''''''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201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C3776066-A81A-4DFD-BDE3-65F8AD0CC679}"/>
              </a:ext>
            </a:extLst>
          </p:cNvPr>
          <p:cNvSpPr/>
          <p:nvPr>
            <p:custDataLst>
              <p:tags r:id="rId74"/>
            </p:custDataLst>
          </p:nvPr>
        </p:nvSpPr>
        <p:spPr bwMode="gray">
          <a:xfrm>
            <a:off x="5049838" y="3595688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E433E96-EE62-4B36-98AF-CBD8E7C58A71}" type="datetime'''''2''''''0''''''''''''3''''''''''''''''''''''''''''''''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203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3751C249-FA88-495B-B6F3-E89AF675D4D0}"/>
              </a:ext>
            </a:extLst>
          </p:cNvPr>
          <p:cNvSpPr/>
          <p:nvPr>
            <p:custDataLst>
              <p:tags r:id="rId75"/>
            </p:custDataLst>
          </p:nvPr>
        </p:nvSpPr>
        <p:spPr bwMode="gray">
          <a:xfrm>
            <a:off x="5675313" y="3570288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FF047F0-8308-4C67-BCE4-AD2459CE36E7}" type="datetime'20''''''''''''''''''''''''''''''6''''''''''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206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77" name="Rectangle 276">
            <a:extLst>
              <a:ext uri="{FF2B5EF4-FFF2-40B4-BE49-F238E27FC236}">
                <a16:creationId xmlns:a16="http://schemas.microsoft.com/office/drawing/2014/main" id="{1FE7E872-1D94-47BF-8BED-5A5AA51E3CED}"/>
              </a:ext>
            </a:extLst>
          </p:cNvPr>
          <p:cNvSpPr/>
          <p:nvPr>
            <p:custDataLst>
              <p:tags r:id="rId76"/>
            </p:custDataLst>
          </p:nvPr>
        </p:nvSpPr>
        <p:spPr bwMode="gray">
          <a:xfrm>
            <a:off x="6299200" y="3576638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4CFE3EA-899F-4B0F-AFD9-975814DA0F3B}" type="datetime'''''''''2''''''''''''''0''''''''''''''''''''''''''''5''''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205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CE8AB699-7483-4000-80FC-13FC36D7F7BD}"/>
              </a:ext>
            </a:extLst>
          </p:cNvPr>
          <p:cNvSpPr/>
          <p:nvPr>
            <p:custDataLst>
              <p:tags r:id="rId77"/>
            </p:custDataLst>
          </p:nvPr>
        </p:nvSpPr>
        <p:spPr bwMode="gray">
          <a:xfrm>
            <a:off x="6924675" y="3549650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B35D8DB-9144-4320-973C-1E1E07EF5D18}" type="datetime'''''''''''''''''''''''''''''''''2''''''0''9''''''''''''''''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209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2839CB07-AE00-46BD-BBF8-C1591F256608}"/>
              </a:ext>
            </a:extLst>
          </p:cNvPr>
          <p:cNvSpPr/>
          <p:nvPr>
            <p:custDataLst>
              <p:tags r:id="rId78"/>
            </p:custDataLst>
          </p:nvPr>
        </p:nvSpPr>
        <p:spPr bwMode="gray">
          <a:xfrm>
            <a:off x="7548563" y="3586163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62CDC96-7942-4BC9-8E6F-E0F286739177}" type="datetime'2''''''''''0''''''''''''''''''''''''''''''4''''''''''''''''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204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4E6D5062-1BB5-4DF3-8E33-92F3331AD786}"/>
              </a:ext>
            </a:extLst>
          </p:cNvPr>
          <p:cNvSpPr/>
          <p:nvPr>
            <p:custDataLst>
              <p:tags r:id="rId79"/>
            </p:custDataLst>
          </p:nvPr>
        </p:nvSpPr>
        <p:spPr bwMode="gray">
          <a:xfrm>
            <a:off x="8174038" y="3611563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998DECD-21C2-46E1-B13E-D5EFD793F7EC}" type="datetime'''''''''''''2''''''''''''''''''''''''''0''''1'''''''''">
              <a:rPr lang="en-US" altLang="en-US" sz="900" smtClean="0">
                <a:solidFill>
                  <a:schemeClr val="tx1"/>
                </a:solidFill>
              </a:rPr>
              <a:pPr/>
              <a:t>201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EA0E6D49-D533-4EC7-8C35-693AA27B4F3D}"/>
              </a:ext>
            </a:extLst>
          </p:cNvPr>
          <p:cNvSpPr/>
          <p:nvPr>
            <p:custDataLst>
              <p:tags r:id="rId80"/>
            </p:custDataLst>
          </p:nvPr>
        </p:nvSpPr>
        <p:spPr bwMode="gray">
          <a:xfrm>
            <a:off x="8799513" y="3479800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5540EC9-9F4A-4F88-9F3C-EACB9500CD35}" type="datetime'''''''''''''''2''''''1''8'''''''''''''''''''''">
              <a:rPr lang="en-US" altLang="en-US" sz="900" smtClean="0">
                <a:solidFill>
                  <a:schemeClr val="tx1"/>
                </a:solidFill>
              </a:rPr>
              <a:pPr/>
              <a:t>218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BAB4FF85-BEB8-412F-A203-3043084D09F9}"/>
              </a:ext>
            </a:extLst>
          </p:cNvPr>
          <p:cNvSpPr/>
          <p:nvPr>
            <p:custDataLst>
              <p:tags r:id="rId81"/>
            </p:custDataLst>
          </p:nvPr>
        </p:nvSpPr>
        <p:spPr bwMode="gray">
          <a:xfrm>
            <a:off x="9423400" y="3533775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C638557-726D-4308-99FB-B953AFF70A02}" type="datetime'2''''''''''''''1''''''''''''''''''''''''''''''''1'">
              <a:rPr lang="en-US" altLang="en-US" sz="900" smtClean="0">
                <a:solidFill>
                  <a:schemeClr val="tx1"/>
                </a:solidFill>
              </a:rPr>
              <a:pPr/>
              <a:t>211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453" name="Rectangle 452">
            <a:extLst>
              <a:ext uri="{FF2B5EF4-FFF2-40B4-BE49-F238E27FC236}">
                <a16:creationId xmlns:a16="http://schemas.microsoft.com/office/drawing/2014/main" id="{09ACE116-4B6E-A482-D179-39C496BE7DCC}"/>
              </a:ext>
            </a:extLst>
          </p:cNvPr>
          <p:cNvSpPr/>
          <p:nvPr>
            <p:custDataLst>
              <p:tags r:id="rId82"/>
            </p:custDataLst>
          </p:nvPr>
        </p:nvSpPr>
        <p:spPr bwMode="gray">
          <a:xfrm>
            <a:off x="10672763" y="4294188"/>
            <a:ext cx="2222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ED9EA08-FB76-497C-AB6C-915EFD8DC3ED}" type="datetime'''''''''''''''''''''''1''''12'">
              <a:rPr lang="en-US" altLang="en-US" sz="900" smtClean="0">
                <a:solidFill>
                  <a:schemeClr val="tx1"/>
                </a:solidFill>
              </a:rPr>
              <a:pPr/>
              <a:t>112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ED53C32-2A2D-4AF2-8C11-DA06F093A9D3}"/>
              </a:ext>
            </a:extLst>
          </p:cNvPr>
          <p:cNvSpPr/>
          <p:nvPr>
            <p:custDataLst>
              <p:tags r:id="rId83"/>
            </p:custDataLst>
          </p:nvPr>
        </p:nvSpPr>
        <p:spPr bwMode="auto">
          <a:xfrm>
            <a:off x="1833563" y="3362325"/>
            <a:ext cx="36830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D2B55C2-61F5-44C9-B367-160576B373F6}" type="datetime'''''3''''.''''''1''''''''''''''''''%''''''''''''''''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3.1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4E83B2F-83EE-4D38-A018-4900C2222690}"/>
              </a:ext>
            </a:extLst>
          </p:cNvPr>
          <p:cNvSpPr/>
          <p:nvPr>
            <p:custDataLst>
              <p:tags r:id="rId84"/>
            </p:custDataLst>
          </p:nvPr>
        </p:nvSpPr>
        <p:spPr bwMode="auto">
          <a:xfrm>
            <a:off x="3054350" y="3349625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A06091A-0FA5-45BA-85FC-A7A0774C06AD}" type="datetime'''''''+''''0''''''.''''''''''''''''''8''''''''''%''''''''''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0.8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0" name="Oval 279">
            <a:extLst>
              <a:ext uri="{FF2B5EF4-FFF2-40B4-BE49-F238E27FC236}">
                <a16:creationId xmlns:a16="http://schemas.microsoft.com/office/drawing/2014/main" id="{0D441199-BFFD-4808-BD95-AB14AB6A2126}"/>
              </a:ext>
            </a:extLst>
          </p:cNvPr>
          <p:cNvSpPr/>
          <p:nvPr>
            <p:custDataLst>
              <p:tags r:id="rId85"/>
            </p:custDataLst>
          </p:nvPr>
        </p:nvSpPr>
        <p:spPr bwMode="auto">
          <a:xfrm>
            <a:off x="4303713" y="3308350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CFBF83D-8ACB-49E5-B02C-187B17705F66}" type="datetime'''''''''''''''''''+''''3''''''''''''.6''''%''''''''''''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3.6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1" name="Oval 280">
            <a:extLst>
              <a:ext uri="{FF2B5EF4-FFF2-40B4-BE49-F238E27FC236}">
                <a16:creationId xmlns:a16="http://schemas.microsoft.com/office/drawing/2014/main" id="{E8958E6D-C962-4DD9-973C-04CD93CAE7D3}"/>
              </a:ext>
            </a:extLst>
          </p:cNvPr>
          <p:cNvSpPr/>
          <p:nvPr>
            <p:custDataLst>
              <p:tags r:id="rId86"/>
            </p:custDataLst>
          </p:nvPr>
        </p:nvSpPr>
        <p:spPr bwMode="auto">
          <a:xfrm>
            <a:off x="5553075" y="3289300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E401046-8DE9-4232-8805-B6DBA196D535}" type="datetime'''''+1.''''''''''''''''''''''2%''''''''''''''''''''''''''''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1.2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2" name="Oval 281">
            <a:extLst>
              <a:ext uri="{FF2B5EF4-FFF2-40B4-BE49-F238E27FC236}">
                <a16:creationId xmlns:a16="http://schemas.microsoft.com/office/drawing/2014/main" id="{ACE47306-8820-4FEB-A7E3-21BFDD04EAC4}"/>
              </a:ext>
            </a:extLst>
          </p:cNvPr>
          <p:cNvSpPr/>
          <p:nvPr>
            <p:custDataLst>
              <p:tags r:id="rId87"/>
            </p:custDataLst>
          </p:nvPr>
        </p:nvSpPr>
        <p:spPr bwMode="auto">
          <a:xfrm>
            <a:off x="6823075" y="3279775"/>
            <a:ext cx="422275" cy="193675"/>
          </a:xfrm>
          <a:prstGeom prst="ellipse">
            <a:avLst/>
          </a:prstGeom>
          <a:solidFill>
            <a:srgbClr val="C30C3E"/>
          </a:solidFill>
          <a:ln w="9525" algn="ctr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9B0F16B-7643-47A6-BC68-81A808B5346C}" type="datetime'''-''''''''''''''0''''''''''''''''''''''''''''''.5''''%''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-0.5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24D8A276-2454-4C31-83B8-6069952E3E8A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8053388" y="3192463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AA766B2-AEED-4A61-A99A-322A08036057}" type="datetime'''''''''''''''''''''''''''''''+6''.''''''''7''''''''''%''''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6.7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1" name="Oval 260">
            <a:extLst>
              <a:ext uri="{FF2B5EF4-FFF2-40B4-BE49-F238E27FC236}">
                <a16:creationId xmlns:a16="http://schemas.microsoft.com/office/drawing/2014/main" id="{CF445534-CB42-4591-A5CC-07D97B631EDF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9321800" y="3157538"/>
            <a:ext cx="463550" cy="193675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2B4ABF1-FE16-421E-A38F-183A048027FC}" type="datetime'''''''''''''''''''+''''''2''''''''''''''''.''0''''''%'''">
              <a:rPr lang="en-US" altLang="en-US" sz="900" b="1" smtClean="0">
                <a:solidFill>
                  <a:schemeClr val="bg1"/>
                </a:solidFill>
                <a:effectLst/>
              </a:rPr>
              <a:pPr/>
              <a:t>+2.0%</a:t>
            </a:fld>
            <a:endParaRPr lang="en-US" sz="9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0" name="Text Placeholder 1">
            <a:extLst>
              <a:ext uri="{FF2B5EF4-FFF2-40B4-BE49-F238E27FC236}">
                <a16:creationId xmlns:a16="http://schemas.microsoft.com/office/drawing/2014/main" id="{A0C215F0-A661-BBF5-C435-65F8301F611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6250" y="6397625"/>
            <a:ext cx="7561263" cy="111125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  <p:sp>
        <p:nvSpPr>
          <p:cNvPr id="477" name="Oval 106">
            <a:extLst>
              <a:ext uri="{FF2B5EF4-FFF2-40B4-BE49-F238E27FC236}">
                <a16:creationId xmlns:a16="http://schemas.microsoft.com/office/drawing/2014/main" id="{7E11BAD7-0CB0-C015-D941-F677E3310A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59536" y="5730875"/>
            <a:ext cx="283464" cy="186191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>
                <a:latin typeface="+mn-lt"/>
              </a:rPr>
              <a:t>41.4</a:t>
            </a:r>
          </a:p>
        </p:txBody>
      </p:sp>
    </p:spTree>
    <p:extLst>
      <p:ext uri="{BB962C8B-B14F-4D97-AF65-F5344CB8AC3E}">
        <p14:creationId xmlns:p14="http://schemas.microsoft.com/office/powerpoint/2010/main" val="478362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4582422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216" imgH="216" progId="TCLayout.ActiveDocument.1">
                  <p:embed/>
                </p:oleObj>
              </mc:Choice>
              <mc:Fallback>
                <p:oleObj name="think-cell Slide" r:id="rId51" imgW="216" imgH="216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7" name="Round Diagonal Corner Rectangle 86"/>
          <p:cNvSpPr/>
          <p:nvPr/>
        </p:nvSpPr>
        <p:spPr>
          <a:xfrm>
            <a:off x="3854646" y="90626"/>
            <a:ext cx="3851315" cy="313200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buClr>
                <a:srgbClr val="00B0F0"/>
              </a:buClr>
              <a:buSzPct val="100000"/>
              <a:defRPr/>
            </a:pPr>
            <a:r>
              <a:rPr lang="en-US" sz="1200" b="1" dirty="0">
                <a:solidFill>
                  <a:schemeClr val="accent1"/>
                </a:solidFill>
                <a:latin typeface="+mj-lt"/>
              </a:rPr>
              <a:t>  Total Rx market:</a:t>
            </a:r>
          </a:p>
          <a:p>
            <a:pPr marL="26670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chemeClr val="accent1"/>
                </a:solidFill>
                <a:latin typeface="+mj-lt"/>
              </a:rPr>
              <a:t>Increasing +5.9%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in values (PSP)</a:t>
            </a:r>
          </a:p>
          <a:p>
            <a:pPr marL="26670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chemeClr val="accent1"/>
                </a:solidFill>
                <a:latin typeface="+mj-lt"/>
              </a:rPr>
              <a:t>Increasing +3.5%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in volume</a:t>
            </a: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11" name="Group 42"/>
          <p:cNvGrpSpPr/>
          <p:nvPr/>
        </p:nvGrpSpPr>
        <p:grpSpPr>
          <a:xfrm>
            <a:off x="75314" y="964543"/>
            <a:ext cx="1758777" cy="2111838"/>
            <a:chOff x="7936528" y="1611743"/>
            <a:chExt cx="367814" cy="509333"/>
          </a:xfrm>
        </p:grpSpPr>
        <p:sp>
          <p:nvSpPr>
            <p:cNvPr id="12" name="Freeform 18"/>
            <p:cNvSpPr>
              <a:spLocks/>
            </p:cNvSpPr>
            <p:nvPr/>
          </p:nvSpPr>
          <p:spPr bwMode="auto">
            <a:xfrm>
              <a:off x="7938502" y="1934924"/>
              <a:ext cx="365840" cy="186152"/>
            </a:xfrm>
            <a:custGeom>
              <a:avLst/>
              <a:gdLst>
                <a:gd name="T0" fmla="*/ 6 w 120"/>
                <a:gd name="T1" fmla="*/ 52 h 61"/>
                <a:gd name="T2" fmla="*/ 22 w 120"/>
                <a:gd name="T3" fmla="*/ 61 h 61"/>
                <a:gd name="T4" fmla="*/ 65 w 120"/>
                <a:gd name="T5" fmla="*/ 61 h 61"/>
                <a:gd name="T6" fmla="*/ 99 w 120"/>
                <a:gd name="T7" fmla="*/ 61 h 61"/>
                <a:gd name="T8" fmla="*/ 115 w 120"/>
                <a:gd name="T9" fmla="*/ 52 h 61"/>
                <a:gd name="T10" fmla="*/ 112 w 120"/>
                <a:gd name="T11" fmla="*/ 35 h 61"/>
                <a:gd name="T12" fmla="*/ 87 w 120"/>
                <a:gd name="T13" fmla="*/ 0 h 61"/>
                <a:gd name="T14" fmla="*/ 34 w 120"/>
                <a:gd name="T15" fmla="*/ 0 h 61"/>
                <a:gd name="T16" fmla="*/ 8 w 120"/>
                <a:gd name="T17" fmla="*/ 35 h 61"/>
                <a:gd name="T18" fmla="*/ 6 w 120"/>
                <a:gd name="T19" fmla="*/ 5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61">
                  <a:moveTo>
                    <a:pt x="6" y="52"/>
                  </a:moveTo>
                  <a:cubicBezTo>
                    <a:pt x="10" y="61"/>
                    <a:pt x="19" y="61"/>
                    <a:pt x="22" y="61"/>
                  </a:cubicBezTo>
                  <a:cubicBezTo>
                    <a:pt x="65" y="61"/>
                    <a:pt x="65" y="61"/>
                    <a:pt x="65" y="61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101" y="61"/>
                    <a:pt x="110" y="61"/>
                    <a:pt x="115" y="52"/>
                  </a:cubicBezTo>
                  <a:cubicBezTo>
                    <a:pt x="120" y="42"/>
                    <a:pt x="112" y="35"/>
                    <a:pt x="112" y="35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0" y="42"/>
                    <a:pt x="6" y="52"/>
                  </a:cubicBezTo>
                </a:path>
              </a:pathLst>
            </a:custGeom>
            <a:solidFill>
              <a:srgbClr val="3BA9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  <p:sp>
          <p:nvSpPr>
            <p:cNvPr id="13" name="Freeform 19"/>
            <p:cNvSpPr>
              <a:spLocks/>
            </p:cNvSpPr>
            <p:nvPr/>
          </p:nvSpPr>
          <p:spPr bwMode="auto">
            <a:xfrm>
              <a:off x="7936528" y="1733259"/>
              <a:ext cx="365840" cy="387817"/>
            </a:xfrm>
            <a:custGeom>
              <a:avLst/>
              <a:gdLst>
                <a:gd name="T0" fmla="*/ 65 w 120"/>
                <a:gd name="T1" fmla="*/ 127 h 127"/>
                <a:gd name="T2" fmla="*/ 99 w 120"/>
                <a:gd name="T3" fmla="*/ 127 h 127"/>
                <a:gd name="T4" fmla="*/ 115 w 120"/>
                <a:gd name="T5" fmla="*/ 118 h 127"/>
                <a:gd name="T6" fmla="*/ 112 w 120"/>
                <a:gd name="T7" fmla="*/ 101 h 127"/>
                <a:gd name="T8" fmla="*/ 74 w 120"/>
                <a:gd name="T9" fmla="*/ 48 h 127"/>
                <a:gd name="T10" fmla="*/ 74 w 120"/>
                <a:gd name="T11" fmla="*/ 18 h 127"/>
                <a:gd name="T12" fmla="*/ 84 w 120"/>
                <a:gd name="T13" fmla="*/ 0 h 127"/>
                <a:gd name="T14" fmla="*/ 65 w 120"/>
                <a:gd name="T15" fmla="*/ 0 h 127"/>
                <a:gd name="T16" fmla="*/ 37 w 120"/>
                <a:gd name="T17" fmla="*/ 0 h 127"/>
                <a:gd name="T18" fmla="*/ 47 w 120"/>
                <a:gd name="T19" fmla="*/ 18 h 127"/>
                <a:gd name="T20" fmla="*/ 47 w 120"/>
                <a:gd name="T21" fmla="*/ 48 h 127"/>
                <a:gd name="T22" fmla="*/ 8 w 120"/>
                <a:gd name="T23" fmla="*/ 101 h 127"/>
                <a:gd name="T24" fmla="*/ 6 w 120"/>
                <a:gd name="T25" fmla="*/ 118 h 127"/>
                <a:gd name="T26" fmla="*/ 22 w 120"/>
                <a:gd name="T27" fmla="*/ 127 h 127"/>
                <a:gd name="T28" fmla="*/ 65 w 120"/>
                <a:gd name="T29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0" h="127">
                  <a:moveTo>
                    <a:pt x="65" y="127"/>
                  </a:moveTo>
                  <a:cubicBezTo>
                    <a:pt x="99" y="127"/>
                    <a:pt x="99" y="127"/>
                    <a:pt x="99" y="127"/>
                  </a:cubicBezTo>
                  <a:cubicBezTo>
                    <a:pt x="101" y="127"/>
                    <a:pt x="110" y="127"/>
                    <a:pt x="115" y="118"/>
                  </a:cubicBezTo>
                  <a:cubicBezTo>
                    <a:pt x="120" y="108"/>
                    <a:pt x="112" y="101"/>
                    <a:pt x="112" y="101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18"/>
                    <a:pt x="74" y="18"/>
                    <a:pt x="74" y="18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8" y="101"/>
                    <a:pt x="8" y="101"/>
                    <a:pt x="8" y="101"/>
                  </a:cubicBezTo>
                  <a:cubicBezTo>
                    <a:pt x="8" y="101"/>
                    <a:pt x="0" y="108"/>
                    <a:pt x="6" y="118"/>
                  </a:cubicBezTo>
                  <a:cubicBezTo>
                    <a:pt x="10" y="127"/>
                    <a:pt x="19" y="127"/>
                    <a:pt x="22" y="127"/>
                  </a:cubicBezTo>
                  <a:lnTo>
                    <a:pt x="65" y="127"/>
                  </a:lnTo>
                  <a:close/>
                </a:path>
              </a:pathLst>
            </a:custGeom>
            <a:noFill/>
            <a:ln w="30163" cap="flat">
              <a:solidFill>
                <a:srgbClr val="2173B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  <p:sp>
          <p:nvSpPr>
            <p:cNvPr id="14" name="Oval 20"/>
            <p:cNvSpPr>
              <a:spLocks noChangeArrowheads="1"/>
            </p:cNvSpPr>
            <p:nvPr/>
          </p:nvSpPr>
          <p:spPr bwMode="auto">
            <a:xfrm>
              <a:off x="8167925" y="1971120"/>
              <a:ext cx="28440" cy="2714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  <p:sp>
          <p:nvSpPr>
            <p:cNvPr id="15" name="Oval 21"/>
            <p:cNvSpPr>
              <a:spLocks noChangeArrowheads="1"/>
            </p:cNvSpPr>
            <p:nvPr/>
          </p:nvSpPr>
          <p:spPr bwMode="auto">
            <a:xfrm>
              <a:off x="8088423" y="1650525"/>
              <a:ext cx="31025" cy="31025"/>
            </a:xfrm>
            <a:prstGeom prst="ellipse">
              <a:avLst/>
            </a:prstGeom>
            <a:solidFill>
              <a:srgbClr val="3BA9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  <p:sp>
          <p:nvSpPr>
            <p:cNvPr id="16" name="Oval 22"/>
            <p:cNvSpPr>
              <a:spLocks noChangeArrowheads="1"/>
            </p:cNvSpPr>
            <p:nvPr/>
          </p:nvSpPr>
          <p:spPr bwMode="auto">
            <a:xfrm>
              <a:off x="8156291" y="1611743"/>
              <a:ext cx="40074" cy="38782"/>
            </a:xfrm>
            <a:prstGeom prst="ellipse">
              <a:avLst/>
            </a:prstGeom>
            <a:solidFill>
              <a:srgbClr val="3BA9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  <p:sp>
          <p:nvSpPr>
            <p:cNvPr id="17" name="Oval 23"/>
            <p:cNvSpPr>
              <a:spLocks noChangeArrowheads="1"/>
            </p:cNvSpPr>
            <p:nvPr/>
          </p:nvSpPr>
          <p:spPr bwMode="auto">
            <a:xfrm>
              <a:off x="8156291" y="2026707"/>
              <a:ext cx="15513" cy="1422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</p:grpSp>
      <p:sp>
        <p:nvSpPr>
          <p:cNvPr id="18" name="Round Diagonal Corner Rectangle 17"/>
          <p:cNvSpPr/>
          <p:nvPr/>
        </p:nvSpPr>
        <p:spPr>
          <a:xfrm>
            <a:off x="1423808" y="1103000"/>
            <a:ext cx="2142835" cy="138132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00B0F0"/>
              </a:buClr>
              <a:buSzPct val="100000"/>
              <a:defRPr/>
            </a:pPr>
            <a:r>
              <a:rPr lang="en-US" sz="3200" b="1" dirty="0">
                <a:solidFill>
                  <a:schemeClr val="accent1"/>
                </a:solidFill>
                <a:latin typeface="+mj-lt"/>
              </a:rPr>
              <a:t>€4.55B</a:t>
            </a:r>
            <a:r>
              <a:rPr lang="en-US" sz="1600" b="1" dirty="0">
                <a:solidFill>
                  <a:schemeClr val="accent1"/>
                </a:solidFill>
                <a:latin typeface="+mj-lt"/>
              </a:rPr>
              <a:t> </a:t>
            </a:r>
          </a:p>
          <a:p>
            <a:pPr algn="ctr">
              <a:buClr>
                <a:srgbClr val="00B0F0"/>
              </a:buClr>
              <a:buSzPct val="100000"/>
              <a:defRPr/>
            </a:pPr>
            <a:r>
              <a:rPr lang="en-US" sz="1400" b="1" dirty="0">
                <a:solidFill>
                  <a:schemeClr val="accent1"/>
                </a:solidFill>
                <a:latin typeface="+mj-lt"/>
              </a:rPr>
              <a:t>the Rx Retail market in values (PSP) 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annually, excl. L.3816 drugs</a:t>
            </a: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64" y="832999"/>
            <a:ext cx="540000" cy="540000"/>
          </a:xfrm>
          <a:prstGeom prst="rect">
            <a:avLst/>
          </a:prstGeom>
        </p:spPr>
      </p:pic>
      <p:sp>
        <p:nvSpPr>
          <p:cNvPr id="26" name="Title 13"/>
          <p:cNvSpPr>
            <a:spLocks noGrp="1"/>
          </p:cNvSpPr>
          <p:nvPr>
            <p:ph type="ctrTitle" idx="4294967295"/>
          </p:nvPr>
        </p:nvSpPr>
        <p:spPr>
          <a:xfrm>
            <a:off x="0" y="0"/>
            <a:ext cx="3527425" cy="539750"/>
          </a:xfrm>
          <a:prstGeom prst="rect">
            <a:avLst/>
          </a:prstGeom>
          <a:solidFill>
            <a:schemeClr val="accent1"/>
          </a:solidFill>
        </p:spPr>
        <p:txBody>
          <a:bodyPr vert="horz" lIns="72000" anchor="ctr">
            <a:no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Pharma Market Trends</a:t>
            </a:r>
            <a:endParaRPr lang="el-GR" b="1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67" name="Rectangle 66"/>
          <p:cNvSpPr/>
          <p:nvPr>
            <p:custDataLst>
              <p:tags r:id="rId3"/>
            </p:custDataLst>
          </p:nvPr>
        </p:nvSpPr>
        <p:spPr bwMode="auto">
          <a:xfrm>
            <a:off x="6932612" y="1228725"/>
            <a:ext cx="179388" cy="1333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400" dirty="0">
              <a:latin typeface="Arial"/>
            </a:endParaRPr>
          </a:p>
        </p:txBody>
      </p:sp>
      <p:sp>
        <p:nvSpPr>
          <p:cNvPr id="68" name="Rectangle 67"/>
          <p:cNvSpPr/>
          <p:nvPr>
            <p:custDataLst>
              <p:tags r:id="rId4"/>
            </p:custDataLst>
          </p:nvPr>
        </p:nvSpPr>
        <p:spPr bwMode="auto">
          <a:xfrm>
            <a:off x="6932612" y="1431925"/>
            <a:ext cx="179388" cy="1333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400" dirty="0">
              <a:latin typeface="Arial"/>
            </a:endParaRPr>
          </a:p>
        </p:txBody>
      </p:sp>
      <p:sp>
        <p:nvSpPr>
          <p:cNvPr id="65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162800" y="1223963"/>
            <a:ext cx="385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CF317651-4356-455C-AD10-06D6C848BBE4}" type="datetime'''Va''''''''''''''''''''''l''''ue''''''''s'''''''''''''''''''">
              <a:rPr lang="el-GR" altLang="en-US" sz="1000">
                <a:solidFill>
                  <a:schemeClr val="tx1"/>
                </a:solidFill>
                <a:ea typeface="+mj-ea"/>
                <a:cs typeface="+mj-cs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Values</a:t>
            </a:fld>
            <a:endParaRPr lang="el-GR" sz="1000" dirty="0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6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162800" y="1427163"/>
            <a:ext cx="4286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27781615-676C-4077-B50D-76C3737D8814}" type="datetime'''''''''''''''''''''''''''''V''''''''''ol''''''''''''''ume'''">
              <a:rPr lang="el-GR" altLang="en-US" sz="1000">
                <a:solidFill>
                  <a:schemeClr val="tx1"/>
                </a:solidFill>
                <a:ea typeface="+mj-ea"/>
                <a:cs typeface="+mj-cs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Volume</a:t>
            </a:fld>
            <a:endParaRPr lang="el-GR" sz="1000" dirty="0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C0290E66-2F4B-FD31-7AAF-53CE053E4CE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59640886"/>
              </p:ext>
            </p:extLst>
          </p:nvPr>
        </p:nvGraphicFramePr>
        <p:xfrm>
          <a:off x="5030788" y="754063"/>
          <a:ext cx="1911350" cy="2382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ADB89549-5BB2-0C9F-D780-25901C732141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5583238" y="2252664"/>
            <a:ext cx="3222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45121F2-FED5-4973-B141-BD6313DBC343}" type="datetime'''''''''''''2''''''.''''''''''''''''''6''''''''''''''''%'''''">
              <a:rPr lang="en-US" altLang="en-US" sz="1000" smtClean="0">
                <a:solidFill>
                  <a:schemeClr val="tx1"/>
                </a:solidFill>
                <a:effectLst/>
                <a:ea typeface="+mj-ea"/>
                <a:cs typeface="+mj-cs"/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.6%</a:t>
            </a:fld>
            <a:endParaRPr lang="en-US" sz="1000" dirty="0" err="1">
              <a:solidFill>
                <a:schemeClr val="tx1"/>
              </a:solidFill>
              <a:ea typeface="+mj-ea"/>
              <a:cs typeface="+mj-cs"/>
              <a:sym typeface="+mn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2E0E3B9-43DD-3C49-17A7-03801E5BF6EA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6135688" y="944564"/>
            <a:ext cx="3222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9B1DBC2-843D-414F-92BE-68912F74786E}" type="datetime'''''''5.9''''''''''''''%'''''''">
              <a:rPr lang="en-US" altLang="en-US" sz="1000" smtClean="0">
                <a:solidFill>
                  <a:schemeClr val="tx1"/>
                </a:solidFill>
                <a:effectLst/>
                <a:ea typeface="+mj-ea"/>
                <a:cs typeface="+mj-cs"/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.9%</a:t>
            </a:fld>
            <a:endParaRPr lang="en-US" sz="1000" dirty="0" err="1">
              <a:solidFill>
                <a:schemeClr val="tx1"/>
              </a:solidFill>
              <a:ea typeface="+mj-ea"/>
              <a:cs typeface="+mj-cs"/>
              <a:sym typeface="+mn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A1D1A2D-7733-D3BE-2E36-607ECCA1E60D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6884988" y="2608264"/>
            <a:ext cx="3921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535AB36-698A-46B3-9F93-2DE4A22B3083}" type="datetime'''''''''1''''0''''''''''''''''''''''''.''3''%'''''''''">
              <a:rPr lang="en-US" altLang="en-US" sz="1000" smtClean="0">
                <a:solidFill>
                  <a:schemeClr val="tx1"/>
                </a:solidFill>
                <a:effectLst/>
                <a:ea typeface="+mj-ea"/>
                <a:cs typeface="+mj-cs"/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.3%</a:t>
            </a:fld>
            <a:endParaRPr lang="en-US" sz="1000" dirty="0" err="1">
              <a:solidFill>
                <a:schemeClr val="tx1"/>
              </a:solidFill>
              <a:ea typeface="+mj-ea"/>
              <a:cs typeface="+mj-cs"/>
              <a:sym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AD9B1D-CFCF-A5D6-B569-984B5F1D26EE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5524500" y="1698626"/>
            <a:ext cx="3222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5FADC33-0007-4768-96DF-73261A189D63}" type="datetime'''''2''''''''''''''''''.3''''''''''''''''''''''''''%'">
              <a:rPr lang="en-US" altLang="en-US" sz="1000" smtClean="0">
                <a:solidFill>
                  <a:schemeClr val="tx1"/>
                </a:solidFill>
                <a:effectLst/>
                <a:ea typeface="+mj-ea"/>
                <a:cs typeface="+mj-cs"/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.3%</a:t>
            </a:fld>
            <a:endParaRPr lang="en-US" sz="1000" dirty="0" err="1">
              <a:solidFill>
                <a:schemeClr val="tx1"/>
              </a:solidFill>
              <a:ea typeface="+mj-ea"/>
              <a:cs typeface="+mj-cs"/>
              <a:sym typeface="+mn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903719B-7D5A-C5EE-AAD7-562BF70A43E9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5730875" y="1143001"/>
            <a:ext cx="3222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B29517E-0A4C-4408-A171-EF06BAE752A9}" type="datetime'''3''''''''''''''.''''''''''''5''''''''''''''%'''''''">
              <a:rPr lang="en-US" altLang="en-US" sz="1000" smtClean="0">
                <a:solidFill>
                  <a:schemeClr val="tx1"/>
                </a:solidFill>
                <a:effectLst/>
                <a:ea typeface="+mj-ea"/>
                <a:cs typeface="+mj-cs"/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.5%</a:t>
            </a:fld>
            <a:endParaRPr lang="en-US" sz="1000" dirty="0" err="1">
              <a:solidFill>
                <a:schemeClr val="tx1"/>
              </a:solidFill>
              <a:ea typeface="+mj-ea"/>
              <a:cs typeface="+mj-cs"/>
              <a:sym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7C474A6-641F-952B-EBEE-EFD494FE44C7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6410325" y="1500189"/>
            <a:ext cx="3222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FABED62-37CD-419B-B88D-12E3FD17C22F}" type="datetime'''7''''''''''''''''''''''.''''5''%'''''''''">
              <a:rPr lang="en-US" altLang="en-US" sz="1000" smtClean="0">
                <a:solidFill>
                  <a:schemeClr val="tx1"/>
                </a:solidFill>
                <a:effectLst/>
                <a:ea typeface="+mj-ea"/>
                <a:cs typeface="+mj-cs"/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.5%</a:t>
            </a:fld>
            <a:endParaRPr lang="en-US" sz="1000" dirty="0" err="1">
              <a:solidFill>
                <a:schemeClr val="tx1"/>
              </a:solidFill>
              <a:ea typeface="+mj-ea"/>
              <a:cs typeface="+mj-cs"/>
              <a:sym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9A985C6-717D-2551-4634-DB370E07350B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5537200" y="2054226"/>
            <a:ext cx="3222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7FAA6B2-52B2-42DE-9738-BCD92595E8C8}" type="datetime'''''''''''''''''''''2''''''.''''''4''''''''%'''''''''''">
              <a:rPr lang="en-US" altLang="en-US" sz="1000" smtClean="0">
                <a:solidFill>
                  <a:schemeClr val="tx1"/>
                </a:solidFill>
                <a:effectLst/>
                <a:ea typeface="+mj-ea"/>
                <a:cs typeface="+mj-cs"/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.4%</a:t>
            </a:fld>
            <a:endParaRPr lang="en-US" sz="1000" dirty="0" err="1">
              <a:solidFill>
                <a:schemeClr val="tx1"/>
              </a:solidFill>
              <a:ea typeface="+mj-ea"/>
              <a:cs typeface="+mj-cs"/>
              <a:sym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7543479-468B-1562-5E19-0A2146455FAE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6384925" y="2806701"/>
            <a:ext cx="3222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2ED0C25-2C50-4970-9102-CA36FD34826F}" type="datetime'''''7''''''''.''''''''''''''''''''''''''4''''''''''''''%'''''">
              <a:rPr lang="en-US" altLang="en-US" sz="1000" smtClean="0">
                <a:solidFill>
                  <a:schemeClr val="tx1"/>
                </a:solidFill>
                <a:effectLst/>
                <a:ea typeface="+mj-ea"/>
                <a:cs typeface="+mj-cs"/>
                <a:sym typeface="+mn-lt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.4%</a:t>
            </a:fld>
            <a:endParaRPr lang="en-US" sz="1000" dirty="0" err="1">
              <a:solidFill>
                <a:schemeClr val="tx1"/>
              </a:solidFill>
              <a:ea typeface="+mj-ea"/>
              <a:cs typeface="+mj-cs"/>
              <a:sym typeface="+mn-lt"/>
            </a:endParaRPr>
          </a:p>
        </p:txBody>
      </p:sp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6296F077-3C31-EC67-2202-BD80D1C47023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820358892"/>
              </p:ext>
            </p:extLst>
          </p:nvPr>
        </p:nvGraphicFramePr>
        <p:xfrm>
          <a:off x="541338" y="4222750"/>
          <a:ext cx="2165350" cy="1763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120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227263" y="5681663"/>
            <a:ext cx="552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04DB0D85-8C8A-434D-8D34-68A206D442F6}" type="datetime'Of''''''''''''f'''''''' p''''''''a''''t''''''en''t'''''">
              <a:rPr lang="en-US" altLang="en-US" sz="1000" smtClean="0">
                <a:solidFill>
                  <a:schemeClr val="tx1"/>
                </a:solidFill>
                <a:ea typeface="+mj-ea"/>
                <a:cs typeface="+mj-cs"/>
              </a:rPr>
              <a:pPr/>
              <a:t>Off patent</a:t>
            </a:fld>
            <a:endParaRPr lang="el-GR" sz="1000" dirty="0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18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468563" y="4868863"/>
            <a:ext cx="552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42ACCBD9-CD15-4527-BFE1-C5E48B389C27}" type="datetime'''''''''O''''''n'''' ''''''''''''''p''a''''t''e''''''''n''t'">
              <a:rPr lang="en-US" altLang="en-US" sz="1000" smtClean="0">
                <a:solidFill>
                  <a:schemeClr val="tx1"/>
                </a:solidFill>
                <a:ea typeface="+mj-ea"/>
                <a:cs typeface="+mj-cs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On patent</a:t>
            </a:fld>
            <a:endParaRPr lang="el-GR" sz="1000" dirty="0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22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46075" y="5257800"/>
            <a:ext cx="4429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9743E3BB-13BB-4C3B-A649-DD0B869CA29E}" type="datetime'''''G''e''''''ne''''''''''''r''i''''''''''''''''''c'''''''''''">
              <a:rPr lang="en-US" altLang="en-US" sz="1000" smtClean="0">
                <a:solidFill>
                  <a:schemeClr val="tx1"/>
                </a:solidFill>
                <a:ea typeface="+mj-ea"/>
                <a:cs typeface="+mj-cs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Generic</a:t>
            </a:fld>
            <a:endParaRPr lang="el-GR" sz="1000" dirty="0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DBA6C119-A3E1-1117-EF48-961FA9BBBD86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977900" y="4629150"/>
            <a:ext cx="217488" cy="1524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AE2B053-B36F-45B7-8770-11C01355492B}" type="datetime'''''''''''''''''''5''%'''''''''''''''">
              <a:rPr lang="en-US" altLang="en-US" sz="1000" smtClean="0">
                <a:solidFill>
                  <a:schemeClr val="bg1"/>
                </a:solidFill>
                <a:effectLst/>
                <a:ea typeface="+mj-ea"/>
                <a:cs typeface="+mj-cs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%</a:t>
            </a:fld>
            <a:endParaRPr lang="en-US" sz="1000" dirty="0" err="1">
              <a:solidFill>
                <a:schemeClr val="bg1"/>
              </a:solidFill>
              <a:ea typeface="+mj-ea"/>
              <a:cs typeface="+mj-cs"/>
              <a:sym typeface="+mn-lt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77EE58E4-BBE3-4F69-9B01-8BE30B14153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19100" y="4473575"/>
            <a:ext cx="512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92755E8C-2D36-42AA-8817-7787AD0A9E39}" type="datetime'''Va''c''c''''''''''in''''e''''s'''''''''''">
              <a:rPr lang="en-US" altLang="en-US" sz="1000" smtClean="0">
                <a:solidFill>
                  <a:schemeClr val="tx1"/>
                </a:solidFill>
                <a:ea typeface="+mj-ea"/>
                <a:cs typeface="+mj-cs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Vaccines</a:t>
            </a:fld>
            <a:endParaRPr lang="el-GR" sz="1000" dirty="0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43D9EE7D-65EF-4986-855B-F1F4384E90F0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73138" y="4171950"/>
            <a:ext cx="379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8977F62A-87BC-4BE1-A580-54A47041EFDF}" type="datetime'''''''O''''t''''''''h''''''''''''''e''''''''r''''''''''s'''">
              <a:rPr lang="en-US" altLang="en-US" sz="1000" smtClean="0">
                <a:solidFill>
                  <a:schemeClr val="tx1"/>
                </a:solidFill>
                <a:ea typeface="+mj-ea"/>
                <a:cs typeface="+mj-cs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Others</a:t>
            </a:fld>
            <a:endParaRPr lang="el-GR" sz="1000" dirty="0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428EB8B3-3A0D-BD12-7ECC-42216817BAE5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534661294"/>
              </p:ext>
            </p:extLst>
          </p:nvPr>
        </p:nvGraphicFramePr>
        <p:xfrm>
          <a:off x="3379788" y="4222750"/>
          <a:ext cx="2165350" cy="1763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F176838B-EF42-4894-9F6D-DC44F04293D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654425" y="4246563"/>
            <a:ext cx="379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F9DD67D3-65A6-496C-BC79-3B88983C2397}" type="datetime'Ot''''''h''''''''''''e''''r''''''''''''''''''''''s'">
              <a:rPr lang="en-US" altLang="en-US" sz="1000" smtClean="0">
                <a:solidFill>
                  <a:schemeClr val="tx1"/>
                </a:solidFill>
                <a:ea typeface="+mj-ea"/>
                <a:cs typeface="+mj-cs"/>
              </a:rPr>
              <a:pPr/>
              <a:t>Others</a:t>
            </a:fld>
            <a:endParaRPr lang="el-GR" sz="1000" dirty="0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9EB4F86-97BB-4792-B295-54BFCCD24D0E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3721100" y="4792663"/>
            <a:ext cx="217488" cy="15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1240A43-212F-4C63-8FC5-16B3359D4719}" type="datetime'''2%'''''''''''''">
              <a:rPr lang="en-US" altLang="en-US" sz="1000" smtClean="0">
                <a:solidFill>
                  <a:schemeClr val="bg1"/>
                </a:solidFill>
                <a:effectLst/>
                <a:ea typeface="+mj-ea"/>
                <a:cs typeface="+mj-cs"/>
              </a:rPr>
              <a:pPr/>
              <a:t>2%</a:t>
            </a:fld>
            <a:endParaRPr lang="en-US" sz="1000" dirty="0" err="1">
              <a:solidFill>
                <a:schemeClr val="bg1"/>
              </a:solidFill>
              <a:ea typeface="+mj-ea"/>
              <a:cs typeface="+mj-cs"/>
              <a:sym typeface="+mn-lt"/>
            </a:endParaRPr>
          </a:p>
        </p:txBody>
      </p:sp>
      <p:sp>
        <p:nvSpPr>
          <p:cNvPr id="126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613275" y="4140200"/>
            <a:ext cx="552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D887673F-9813-4C63-8294-D7F397E348A9}" type="datetime'''''''O''''''''n'' ''pa''''''''''''''t''''''''''''''e''''''nt'">
              <a:rPr lang="en-US" altLang="en-US" sz="1000" smtClean="0">
                <a:solidFill>
                  <a:schemeClr val="tx1"/>
                </a:solidFill>
                <a:ea typeface="+mj-ea"/>
                <a:cs typeface="+mj-cs"/>
              </a:rPr>
              <a:pPr/>
              <a:t>On patent</a:t>
            </a:fld>
            <a:endParaRPr lang="el-GR" sz="1000" dirty="0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28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310188" y="5119688"/>
            <a:ext cx="552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06D825F0-279D-4D5A-8C76-A789819F638E}" type="datetime'''''O''''f''''''''''''f'''''''' p''aten''t'''''''''''">
              <a:rPr lang="en-US" altLang="en-US" sz="1000" smtClean="0">
                <a:solidFill>
                  <a:schemeClr val="tx1"/>
                </a:solidFill>
                <a:ea typeface="+mj-ea"/>
                <a:cs typeface="+mj-cs"/>
              </a:rPr>
              <a:pPr/>
              <a:t>Off patent</a:t>
            </a:fld>
            <a:endParaRPr lang="el-GR" sz="1000" dirty="0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30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429000" y="5691188"/>
            <a:ext cx="4429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835787C9-F47C-4F24-81D3-DEBDEF74C0CF}" type="datetime'''G''''''''''en''''''''e''''''''''''''''''''''''''r''''''''ic'">
              <a:rPr lang="el-GR" altLang="en-US" sz="1000">
                <a:solidFill>
                  <a:schemeClr val="tx1"/>
                </a:solidFill>
                <a:ea typeface="+mj-ea"/>
                <a:cs typeface="+mj-cs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Generic</a:t>
            </a:fld>
            <a:endParaRPr lang="el-GR" sz="1000" dirty="0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32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138488" y="4706938"/>
            <a:ext cx="512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64AE8483-8086-4B12-A5C7-C7AA78FC9F34}" type="datetime'Va''c''''''''ci''''''ne''''''''''''''''''''''''''''''''s'''">
              <a:rPr lang="en-US" altLang="en-US" sz="1000" smtClean="0">
                <a:solidFill>
                  <a:schemeClr val="tx1"/>
                </a:solidFill>
                <a:ea typeface="+mj-ea"/>
                <a:cs typeface="+mj-cs"/>
              </a:rPr>
              <a:pPr/>
              <a:t>Vaccines</a:t>
            </a:fld>
            <a:endParaRPr lang="el-GR" sz="1000" dirty="0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6" name="Oval 105"/>
          <p:cNvSpPr/>
          <p:nvPr/>
        </p:nvSpPr>
        <p:spPr>
          <a:xfrm>
            <a:off x="1236809" y="4708524"/>
            <a:ext cx="792163" cy="79216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+mj-lt"/>
              </a:rPr>
              <a:t>Value ms</a:t>
            </a:r>
          </a:p>
          <a:p>
            <a:pPr algn="ctr"/>
            <a:r>
              <a:rPr lang="en-US" sz="800" b="1" dirty="0">
                <a:solidFill>
                  <a:schemeClr val="tx1"/>
                </a:solidFill>
                <a:latin typeface="+mj-lt"/>
              </a:rPr>
              <a:t>(PSP)</a:t>
            </a:r>
            <a:endParaRPr lang="el-GR" sz="8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07" name="Oval 106"/>
          <p:cNvSpPr/>
          <p:nvPr/>
        </p:nvSpPr>
        <p:spPr>
          <a:xfrm>
            <a:off x="4071107" y="4698461"/>
            <a:ext cx="792163" cy="79216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+mj-lt"/>
              </a:rPr>
              <a:t>Volume ms</a:t>
            </a:r>
          </a:p>
        </p:txBody>
      </p:sp>
      <p:sp>
        <p:nvSpPr>
          <p:cNvPr id="108" name="Round Diagonal Corner Rectangle 107"/>
          <p:cNvSpPr/>
          <p:nvPr/>
        </p:nvSpPr>
        <p:spPr>
          <a:xfrm>
            <a:off x="143695" y="3285832"/>
            <a:ext cx="6080936" cy="2682874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chemeClr val="accent1"/>
                </a:solidFill>
                <a:latin typeface="+mj-lt"/>
              </a:rPr>
              <a:t>On patent &amp; Off patent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products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account for </a:t>
            </a:r>
            <a:r>
              <a:rPr lang="en-US" sz="1200" b="1" dirty="0">
                <a:solidFill>
                  <a:schemeClr val="accent1"/>
                </a:solidFill>
                <a:latin typeface="+mj-lt"/>
              </a:rPr>
              <a:t>~59%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of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the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reimbursed total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market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in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200" b="1" dirty="0">
                <a:solidFill>
                  <a:schemeClr val="accent1"/>
                </a:solidFill>
                <a:latin typeface="+mj-lt"/>
              </a:rPr>
              <a:t>values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(PSP) in </a:t>
            </a:r>
            <a:r>
              <a:rPr lang="en-US" sz="1200" b="1" dirty="0">
                <a:solidFill>
                  <a:schemeClr val="accent1"/>
                </a:solidFill>
                <a:latin typeface="+mj-lt"/>
              </a:rPr>
              <a:t>MAT/03/23</a:t>
            </a: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chemeClr val="accent1"/>
                </a:solidFill>
                <a:latin typeface="+mj-lt"/>
              </a:rPr>
              <a:t>Gx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products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account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for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200" b="1" dirty="0">
                <a:solidFill>
                  <a:schemeClr val="accent1"/>
                </a:solidFill>
                <a:latin typeface="+mj-lt"/>
              </a:rPr>
              <a:t>~34%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of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the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total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market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200" b="1" dirty="0">
                <a:solidFill>
                  <a:schemeClr val="accent1"/>
                </a:solidFill>
                <a:latin typeface="+mj-lt"/>
              </a:rPr>
              <a:t>in volume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and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represent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the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200" b="1" dirty="0">
                <a:solidFill>
                  <a:schemeClr val="accent1"/>
                </a:solidFill>
                <a:latin typeface="+mj-lt"/>
              </a:rPr>
              <a:t>~23%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of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the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total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200" b="1" dirty="0">
                <a:solidFill>
                  <a:schemeClr val="accent1"/>
                </a:solidFill>
                <a:latin typeface="+mj-lt"/>
              </a:rPr>
              <a:t>value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sales (PSP)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3945231" y="2484327"/>
            <a:ext cx="518444" cy="569661"/>
            <a:chOff x="15749" y="3214686"/>
            <a:chExt cx="540000" cy="540000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749" y="3214686"/>
              <a:ext cx="540000" cy="540000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136321" y="3431281"/>
              <a:ext cx="317569" cy="1896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pt-PT" sz="700" b="1" kern="0" dirty="0" err="1">
                  <a:solidFill>
                    <a:srgbClr val="1566AF"/>
                  </a:solidFill>
                  <a:latin typeface="+mj-lt"/>
                </a:rPr>
                <a:t>Gx</a:t>
              </a:r>
              <a:endParaRPr lang="pt-PT" sz="100" b="1" kern="0" dirty="0">
                <a:solidFill>
                  <a:srgbClr val="1566AF"/>
                </a:solidFill>
                <a:latin typeface="+mj-lt"/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3945231" y="1387076"/>
            <a:ext cx="518444" cy="569661"/>
            <a:chOff x="15749" y="3214686"/>
            <a:chExt cx="540000" cy="540000"/>
          </a:xfrm>
        </p:grpSpPr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749" y="3214686"/>
              <a:ext cx="540000" cy="540000"/>
            </a:xfrm>
            <a:prstGeom prst="rect">
              <a:avLst/>
            </a:prstGeom>
          </p:spPr>
        </p:pic>
        <p:sp>
          <p:nvSpPr>
            <p:cNvPr id="71" name="TextBox 70"/>
            <p:cNvSpPr txBox="1"/>
            <p:nvPr/>
          </p:nvSpPr>
          <p:spPr>
            <a:xfrm>
              <a:off x="126189" y="3440502"/>
              <a:ext cx="322577" cy="1896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pt-PT" sz="700" b="1" kern="0" dirty="0">
                  <a:solidFill>
                    <a:srgbClr val="1566AF"/>
                  </a:solidFill>
                  <a:latin typeface="+mj-lt"/>
                </a:rPr>
                <a:t>On</a:t>
              </a:r>
              <a:endParaRPr lang="pt-PT" sz="100" b="1" kern="0" dirty="0">
                <a:solidFill>
                  <a:srgbClr val="1566AF"/>
                </a:solidFill>
                <a:latin typeface="+mj-lt"/>
              </a:endParaRPr>
            </a:p>
          </p:txBody>
        </p:sp>
      </p:grpSp>
      <p:grpSp>
        <p:nvGrpSpPr>
          <p:cNvPr id="76" name="Group 75"/>
          <p:cNvGrpSpPr/>
          <p:nvPr/>
        </p:nvGrpSpPr>
        <p:grpSpPr>
          <a:xfrm>
            <a:off x="3945231" y="844002"/>
            <a:ext cx="555283" cy="564110"/>
            <a:chOff x="287848" y="2874963"/>
            <a:chExt cx="555283" cy="564110"/>
          </a:xfrm>
        </p:grpSpPr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5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7848" y="2874963"/>
              <a:ext cx="540000" cy="540000"/>
            </a:xfrm>
            <a:prstGeom prst="rect">
              <a:avLst/>
            </a:prstGeom>
          </p:spPr>
        </p:pic>
        <p:sp>
          <p:nvSpPr>
            <p:cNvPr id="75" name="Rectangle 74"/>
            <p:cNvSpPr/>
            <p:nvPr/>
          </p:nvSpPr>
          <p:spPr>
            <a:xfrm>
              <a:off x="289762" y="3210581"/>
              <a:ext cx="553369" cy="22849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 b="1" kern="0" dirty="0">
                  <a:solidFill>
                    <a:srgbClr val="1566AF"/>
                  </a:solidFill>
                  <a:latin typeface="+mj-lt"/>
                </a:rPr>
                <a:t>Total</a:t>
              </a:r>
            </a:p>
          </p:txBody>
        </p:sp>
      </p:grpSp>
      <p:sp>
        <p:nvSpPr>
          <p:cNvPr id="109" name="Rectangle 108"/>
          <p:cNvSpPr/>
          <p:nvPr/>
        </p:nvSpPr>
        <p:spPr>
          <a:xfrm>
            <a:off x="6882255" y="341789"/>
            <a:ext cx="612000" cy="301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</a:rPr>
              <a:t>% PPG</a:t>
            </a:r>
          </a:p>
          <a:p>
            <a:pPr algn="ctr"/>
            <a:r>
              <a:rPr lang="en-US" sz="800" i="1" dirty="0">
                <a:solidFill>
                  <a:schemeClr val="tx1"/>
                </a:solidFill>
                <a:latin typeface="+mj-lt"/>
              </a:rPr>
              <a:t>(MAT)</a:t>
            </a:r>
            <a:endParaRPr lang="el-GR" sz="1000" i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92" name="Round Diagonal Corner Rectangle 110">
            <a:extLst>
              <a:ext uri="{FF2B5EF4-FFF2-40B4-BE49-F238E27FC236}">
                <a16:creationId xmlns:a16="http://schemas.microsoft.com/office/drawing/2014/main" id="{F7CECA4C-FD3C-47BB-9588-938F58DF18C9}"/>
              </a:ext>
            </a:extLst>
          </p:cNvPr>
          <p:cNvSpPr/>
          <p:nvPr/>
        </p:nvSpPr>
        <p:spPr>
          <a:xfrm>
            <a:off x="7772774" y="90489"/>
            <a:ext cx="4168401" cy="313200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b="1" dirty="0">
              <a:solidFill>
                <a:schemeClr val="accent1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b="1" dirty="0">
              <a:solidFill>
                <a:schemeClr val="accent1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chemeClr val="accent1"/>
                </a:solidFill>
                <a:latin typeface="+mj-lt"/>
              </a:rPr>
              <a:t>€56M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price drop in the </a:t>
            </a:r>
            <a:r>
              <a:rPr lang="en-US" sz="1200" b="1" dirty="0">
                <a:solidFill>
                  <a:schemeClr val="accent1"/>
                </a:solidFill>
                <a:latin typeface="+mj-lt"/>
              </a:rPr>
              <a:t>Reimbursed</a:t>
            </a:r>
            <a:r>
              <a:rPr lang="en-US" sz="1200" dirty="0">
                <a:solidFill>
                  <a:schemeClr val="accent2"/>
                </a:solidFill>
                <a:latin typeface="+mj-lt"/>
              </a:rPr>
              <a:t> </a:t>
            </a:r>
            <a:r>
              <a:rPr lang="en-US" sz="1200" b="1" dirty="0">
                <a:solidFill>
                  <a:schemeClr val="accent1"/>
                </a:solidFill>
                <a:latin typeface="+mj-lt"/>
              </a:rPr>
              <a:t>market</a:t>
            </a:r>
            <a:r>
              <a:rPr lang="en-US" sz="1200" dirty="0">
                <a:solidFill>
                  <a:schemeClr val="accent2"/>
                </a:solidFill>
                <a:latin typeface="+mj-lt"/>
              </a:rPr>
              <a:t>,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outpaced by </a:t>
            </a:r>
            <a:r>
              <a:rPr lang="en-US" sz="1200" b="1" dirty="0">
                <a:solidFill>
                  <a:schemeClr val="accent1"/>
                </a:solidFill>
                <a:latin typeface="+mj-lt"/>
              </a:rPr>
              <a:t>growth</a:t>
            </a:r>
            <a:r>
              <a:rPr lang="en-US" sz="1200" dirty="0">
                <a:solidFill>
                  <a:schemeClr val="accent2"/>
                </a:solidFill>
                <a:latin typeface="+mj-lt"/>
              </a:rPr>
              <a:t> in </a:t>
            </a:r>
            <a:r>
              <a:rPr lang="en-US" sz="1200" b="1" dirty="0">
                <a:solidFill>
                  <a:schemeClr val="accent1"/>
                </a:solidFill>
                <a:latin typeface="+mj-lt"/>
              </a:rPr>
              <a:t>volume</a:t>
            </a:r>
            <a:r>
              <a:rPr lang="en-US" sz="1200" dirty="0">
                <a:solidFill>
                  <a:schemeClr val="accent2"/>
                </a:solidFill>
                <a:latin typeface="+mj-lt"/>
              </a:rPr>
              <a:t> (</a:t>
            </a:r>
            <a:r>
              <a:rPr lang="en-US" sz="1200" b="1" dirty="0">
                <a:solidFill>
                  <a:schemeClr val="accent1"/>
                </a:solidFill>
                <a:latin typeface="+mj-lt"/>
              </a:rPr>
              <a:t>€122M</a:t>
            </a:r>
            <a:r>
              <a:rPr lang="en-US" sz="1200" dirty="0">
                <a:solidFill>
                  <a:schemeClr val="accent2"/>
                </a:solidFill>
                <a:latin typeface="+mj-lt"/>
              </a:rPr>
              <a:t>)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&amp;</a:t>
            </a:r>
            <a:r>
              <a:rPr lang="en-US" sz="1200" dirty="0">
                <a:solidFill>
                  <a:schemeClr val="accent2"/>
                </a:solidFill>
                <a:latin typeface="+mj-lt"/>
              </a:rPr>
              <a:t> </a:t>
            </a:r>
            <a:r>
              <a:rPr lang="en-US" sz="1200" b="1" dirty="0">
                <a:solidFill>
                  <a:schemeClr val="accent1"/>
                </a:solidFill>
                <a:latin typeface="+mj-lt"/>
              </a:rPr>
              <a:t>volume</a:t>
            </a:r>
            <a:r>
              <a:rPr lang="en-US" sz="1200" dirty="0">
                <a:solidFill>
                  <a:schemeClr val="accent2"/>
                </a:solidFill>
                <a:latin typeface="+mj-lt"/>
              </a:rPr>
              <a:t> </a:t>
            </a:r>
            <a:r>
              <a:rPr lang="en-US" sz="1200" b="1" dirty="0">
                <a:solidFill>
                  <a:schemeClr val="accent1"/>
                </a:solidFill>
                <a:latin typeface="+mj-lt"/>
              </a:rPr>
              <a:t>mix</a:t>
            </a:r>
            <a:r>
              <a:rPr lang="en-US" sz="1200" dirty="0">
                <a:solidFill>
                  <a:schemeClr val="accent2"/>
                </a:solidFill>
                <a:latin typeface="+mj-lt"/>
              </a:rPr>
              <a:t> (</a:t>
            </a:r>
            <a:r>
              <a:rPr lang="en-US" sz="1200" b="1" dirty="0">
                <a:solidFill>
                  <a:schemeClr val="accent1"/>
                </a:solidFill>
                <a:latin typeface="+mj-lt"/>
              </a:rPr>
              <a:t>€104M</a:t>
            </a:r>
            <a:r>
              <a:rPr lang="en-US" sz="1200" dirty="0">
                <a:solidFill>
                  <a:schemeClr val="accent2"/>
                </a:solidFill>
                <a:latin typeface="+mj-lt"/>
              </a:rPr>
              <a:t>)</a:t>
            </a:r>
          </a:p>
          <a:p>
            <a:pPr>
              <a:buClr>
                <a:srgbClr val="00B0F0"/>
              </a:buClr>
              <a:buSzPct val="100000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>
              <a:buClr>
                <a:srgbClr val="00B0F0"/>
              </a:buClr>
              <a:buSzPct val="100000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b="1" dirty="0">
              <a:solidFill>
                <a:schemeClr val="accent1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b="1" dirty="0">
              <a:solidFill>
                <a:schemeClr val="accent1"/>
              </a:solidFill>
              <a:latin typeface="+mj-lt"/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b="1" dirty="0">
              <a:solidFill>
                <a:schemeClr val="accent1"/>
              </a:solidFill>
              <a:latin typeface="+mj-lt"/>
            </a:endParaRP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CDC8A191-09E1-42AA-9AAC-03B4AF504B5C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9324975" y="2098675"/>
            <a:ext cx="314325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37344B8C-01F3-4780-8CAF-E2A28C63CF55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10034588" y="1757363"/>
            <a:ext cx="314325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F2A56A61-2197-45D9-84AD-079832826CE2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10744200" y="1468438"/>
            <a:ext cx="314325" cy="0"/>
          </a:xfrm>
          <a:prstGeom prst="line">
            <a:avLst/>
          </a:prstGeom>
          <a:ln w="3175" cmpd="sng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8DF8E1EE-AE3D-CB1E-5EF9-2FB0B04ABBAD}"/>
              </a:ext>
            </a:extLst>
          </p:cNvPr>
          <p:cNvGraphicFramePr/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427025414"/>
              </p:ext>
            </p:extLst>
          </p:nvPr>
        </p:nvGraphicFramePr>
        <p:xfrm>
          <a:off x="8262938" y="996950"/>
          <a:ext cx="3430587" cy="1892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9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8F8979B8-0401-4616-ACAE-5D96A7032545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9644063" y="1925638"/>
            <a:ext cx="385762" cy="34925"/>
          </a:xfrm>
          <a:prstGeom prst="rect">
            <a:avLst/>
          </a:prstGeom>
          <a:solidFill>
            <a:srgbClr val="25B4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99" name="Rectangle 39">
            <a:extLst>
              <a:ext uri="{FF2B5EF4-FFF2-40B4-BE49-F238E27FC236}">
                <a16:creationId xmlns:a16="http://schemas.microsoft.com/office/drawing/2014/main" id="{AFB927C9-8AD8-4D2A-B91B-DECE23F70FC5}"/>
              </a:ext>
            </a:extLst>
          </p:cNvPr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8961438" y="2828925"/>
            <a:ext cx="331788" cy="16827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91F872DF-A433-4806-8F4C-CE5894CEA1CE}" type="datetime'P''ric''''''''''''''''''''''''''''''''''''''''e'''''''''">
              <a:rPr lang="en-US" altLang="en-US" sz="1100" smtClean="0">
                <a:ea typeface="+mj-ea"/>
                <a:cs typeface="+mj-cs"/>
              </a:rPr>
              <a:pPr/>
              <a:t>Price</a:t>
            </a:fld>
            <a:endParaRPr lang="el-GR" sz="110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3" name="Rectangle 62">
            <a:extLst>
              <a:ext uri="{FF2B5EF4-FFF2-40B4-BE49-F238E27FC236}">
                <a16:creationId xmlns:a16="http://schemas.microsoft.com/office/drawing/2014/main" id="{907AC193-E5BF-4CB4-9611-7150D70F9235}"/>
              </a:ext>
            </a:extLst>
          </p:cNvPr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11026775" y="2828925"/>
            <a:ext cx="457200" cy="16827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6A8B8B2D-B6FD-49AB-8677-DE3BE1991E77}" type="datetime'''Δ''''''''S''''''''''''''''''''''''''''''''al''''''es'''''''">
              <a:rPr lang="en-US" altLang="en-US" sz="1100" smtClean="0">
                <a:ea typeface="+mj-ea"/>
                <a:cs typeface="+mj-cs"/>
              </a:rPr>
              <a:pPr/>
              <a:t>ΔSales</a:t>
            </a:fld>
            <a:endParaRPr lang="el-GR" sz="11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9A67A9B-338A-4B1E-AB48-7B7F5A647761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9640888" y="1852613"/>
            <a:ext cx="3905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8" tIns="0" rIns="20638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923767B-5CE0-48FF-9019-230020948DC0}" type="datetime'''1''''''''''21''''.8'''''''''''''''''''''">
              <a:rPr lang="en-US" altLang="en-US" sz="1100" smtClean="0">
                <a:solidFill>
                  <a:schemeClr val="bg1"/>
                </a:solidFill>
                <a:ea typeface="+mj-ea"/>
                <a:cs typeface="+mj-cs"/>
              </a:rPr>
              <a:pPr/>
              <a:t>121.8</a:t>
            </a:fld>
            <a:endParaRPr lang="en-US" sz="1100" dirty="0" err="1">
              <a:solidFill>
                <a:schemeClr val="bg1"/>
              </a:solidFill>
              <a:ea typeface="+mj-ea"/>
              <a:cs typeface="+mj-cs"/>
              <a:sym typeface="+mj-lt"/>
            </a:endParaRPr>
          </a:p>
        </p:txBody>
      </p:sp>
      <p:sp>
        <p:nvSpPr>
          <p:cNvPr id="101" name="Rectangle 37">
            <a:extLst>
              <a:ext uri="{FF2B5EF4-FFF2-40B4-BE49-F238E27FC236}">
                <a16:creationId xmlns:a16="http://schemas.microsoft.com/office/drawing/2014/main" id="{F1C84C6E-6CFC-4391-B869-130CA09AAA9B}"/>
              </a:ext>
            </a:extLst>
          </p:cNvPr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9593263" y="2828925"/>
            <a:ext cx="487363" cy="16827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112120FC-4F17-47BA-AB50-FC6C262BDFE3}" type="datetime'''''Vo''''l''''''''''''''u''''''''''m''e'''''''''''''''">
              <a:rPr lang="en-US" altLang="en-US" sz="1100" smtClean="0">
                <a:ea typeface="+mj-ea"/>
                <a:cs typeface="+mj-cs"/>
              </a:rPr>
              <a:pPr/>
              <a:t>Volume</a:t>
            </a:fld>
            <a:endParaRPr lang="en-US" sz="110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8" name="Rectangle 46">
            <a:extLst>
              <a:ext uri="{FF2B5EF4-FFF2-40B4-BE49-F238E27FC236}">
                <a16:creationId xmlns:a16="http://schemas.microsoft.com/office/drawing/2014/main" id="{AE876817-F980-4102-BBC4-2FED35A2554C}"/>
              </a:ext>
            </a:extLst>
          </p:cNvPr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8675688" y="819150"/>
            <a:ext cx="193675" cy="16827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b"/>
          <a:lstStyle/>
          <a:p>
            <a:pPr algn="ctr"/>
            <a:r>
              <a:rPr lang="en-US" sz="1100" dirty="0">
                <a:latin typeface="+mj-lt"/>
                <a:ea typeface="+mj-ea"/>
                <a:cs typeface="+mj-cs"/>
                <a:sym typeface="+mj-lt"/>
              </a:rPr>
              <a:t>M€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ED0C963-C71C-4DBA-BD5D-24CB8286176C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8947150" y="1946275"/>
            <a:ext cx="35877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8" tIns="0" rIns="20638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100" dirty="0">
                <a:solidFill>
                  <a:schemeClr val="bg1"/>
                </a:solidFill>
                <a:ea typeface="+mj-ea"/>
                <a:cs typeface="+mj-cs"/>
              </a:rPr>
              <a:t>-</a:t>
            </a:r>
            <a:fld id="{E0ED2144-D426-422C-8EBA-20F8E79CA3CD}" type="datetime'''''''''''''''''''''''''''''''''''''''55''''.''''''''6'''''">
              <a:rPr lang="en-US" altLang="en-US" sz="1100" smtClean="0">
                <a:solidFill>
                  <a:schemeClr val="bg1"/>
                </a:solidFill>
                <a:ea typeface="+mj-ea"/>
                <a:cs typeface="+mj-cs"/>
              </a:rPr>
              <a:pPr/>
              <a:t>55.6</a:t>
            </a:fld>
            <a:endParaRPr lang="en-US" sz="1100" dirty="0" err="1">
              <a:solidFill>
                <a:schemeClr val="bg1"/>
              </a:solidFill>
              <a:ea typeface="+mj-ea"/>
              <a:cs typeface="+mj-cs"/>
              <a:sym typeface="+mj-lt"/>
            </a:endParaRPr>
          </a:p>
        </p:txBody>
      </p:sp>
      <p:sp>
        <p:nvSpPr>
          <p:cNvPr id="102" name="Rectangle 34">
            <a:extLst>
              <a:ext uri="{FF2B5EF4-FFF2-40B4-BE49-F238E27FC236}">
                <a16:creationId xmlns:a16="http://schemas.microsoft.com/office/drawing/2014/main" id="{81BB785E-3481-40B2-BC41-3C26D7616055}"/>
              </a:ext>
            </a:extLst>
          </p:cNvPr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10302875" y="2828925"/>
            <a:ext cx="487363" cy="33655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E29A82DD-4382-49F7-83F1-1A26C43CDA0E}" type="datetime'''''Vo''lu''m''e''''''''&#10; ''''''''''''''''''''''M''''''ix'''''">
              <a:rPr lang="en-US" altLang="en-US" sz="1100" smtClean="0">
                <a:ea typeface="+mj-ea"/>
                <a:cs typeface="+mj-cs"/>
              </a:rPr>
              <a:pPr/>
              <a:t>Volume
 Mix</a:t>
            </a:fld>
            <a:endParaRPr lang="en-US" sz="11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17B5C09-2E8E-4902-ABE7-DF64009F4492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10350500" y="1538289"/>
            <a:ext cx="3905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8" tIns="0" rIns="20638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181CE99-F044-4718-A9AD-FAC5A497785A}" type="datetime'1''''''0''''3''''''''''''''''.''''''''''''5'''''">
              <a:rPr lang="en-US" altLang="en-US" sz="1100" smtClean="0">
                <a:solidFill>
                  <a:schemeClr val="bg1"/>
                </a:solidFill>
                <a:effectLst/>
                <a:ea typeface="+mj-ea"/>
                <a:cs typeface="+mj-cs"/>
                <a:sym typeface="+mj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3.5</a:t>
            </a:fld>
            <a:endParaRPr lang="en-US" sz="1100" dirty="0" err="1">
              <a:solidFill>
                <a:schemeClr val="bg1"/>
              </a:solidFill>
              <a:ea typeface="+mj-ea"/>
              <a:cs typeface="+mj-cs"/>
              <a:sym typeface="+mj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E7AEDD8-08AD-1785-D952-4C6865D8D582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11060113" y="1630364"/>
            <a:ext cx="390525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8" tIns="0" rIns="20638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5AE4078-23C6-4B16-B440-019DA38ADE71}" type="datetime'''''''''''1''''''''''''''''''''''''6''''''9''''''''''.''7'''">
              <a:rPr lang="en-US" altLang="en-US" sz="1100" smtClean="0">
                <a:solidFill>
                  <a:schemeClr val="bg1"/>
                </a:solidFill>
                <a:effectLst/>
                <a:ea typeface="+mj-ea"/>
                <a:cs typeface="+mj-cs"/>
                <a:sym typeface="+mj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69.7</a:t>
            </a:fld>
            <a:endParaRPr lang="en-US" sz="1100" dirty="0" err="1">
              <a:solidFill>
                <a:schemeClr val="bg1"/>
              </a:solidFill>
              <a:ea typeface="+mj-ea"/>
              <a:cs typeface="+mj-cs"/>
              <a:sym typeface="+mj-lt"/>
            </a:endParaRPr>
          </a:p>
        </p:txBody>
      </p:sp>
      <p:sp>
        <p:nvSpPr>
          <p:cNvPr id="60" name="Round Diagonal Corner Rectangle 110">
            <a:extLst>
              <a:ext uri="{FF2B5EF4-FFF2-40B4-BE49-F238E27FC236}">
                <a16:creationId xmlns:a16="http://schemas.microsoft.com/office/drawing/2014/main" id="{F24E8837-DA7D-4B6B-878C-76A16C373D5F}"/>
              </a:ext>
            </a:extLst>
          </p:cNvPr>
          <p:cNvSpPr/>
          <p:nvPr/>
        </p:nvSpPr>
        <p:spPr>
          <a:xfrm>
            <a:off x="9068499" y="3303589"/>
            <a:ext cx="2872676" cy="2682874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rtlCol="0" anchor="t" anchorCtr="0"/>
          <a:lstStyle/>
          <a:p>
            <a:pPr>
              <a:buClr>
                <a:srgbClr val="00B0F0"/>
              </a:buClr>
              <a:buSzPct val="100000"/>
              <a:defRPr/>
            </a:pPr>
            <a:r>
              <a:rPr lang="en-US" sz="1200" b="1" dirty="0">
                <a:solidFill>
                  <a:schemeClr val="accent1"/>
                </a:solidFill>
                <a:latin typeface="+mj-lt"/>
              </a:rPr>
              <a:t>Segmentation by PSP price group</a:t>
            </a:r>
          </a:p>
          <a:p>
            <a:pPr marL="177800" indent="-88900">
              <a:buClr>
                <a:srgbClr val="00B0F0"/>
              </a:buClr>
              <a:buSzPct val="100000"/>
              <a:defRPr/>
            </a:pPr>
            <a:endParaRPr lang="en-US" sz="1200" b="1" dirty="0">
              <a:solidFill>
                <a:schemeClr val="accent1"/>
              </a:solidFill>
              <a:latin typeface="+mj-lt"/>
            </a:endParaRPr>
          </a:p>
          <a:p>
            <a:pPr marL="177800" indent="-88900">
              <a:buFont typeface="Arial" pitchFamily="34" charset="0"/>
              <a:buChar char="•"/>
              <a:tabLst>
                <a:tab pos="85725" algn="l"/>
              </a:tabLst>
            </a:pPr>
            <a:r>
              <a:rPr lang="en-US" sz="1000" b="1" dirty="0">
                <a:solidFill>
                  <a:schemeClr val="tx1"/>
                </a:solidFill>
              </a:rPr>
              <a:t>Gx products with PSP&lt;€10 </a:t>
            </a:r>
            <a:r>
              <a:rPr lang="en-US" sz="1000" dirty="0">
                <a:solidFill>
                  <a:schemeClr val="tx1"/>
                </a:solidFill>
              </a:rPr>
              <a:t>account for</a:t>
            </a:r>
            <a:r>
              <a:rPr lang="en-US" sz="1000" b="1" dirty="0">
                <a:solidFill>
                  <a:schemeClr val="tx1"/>
                </a:solidFill>
              </a:rPr>
              <a:t> </a:t>
            </a:r>
            <a:r>
              <a:rPr lang="en-US" sz="1000" dirty="0">
                <a:solidFill>
                  <a:schemeClr val="tx1"/>
                </a:solidFill>
              </a:rPr>
              <a:t>the </a:t>
            </a:r>
            <a:r>
              <a:rPr lang="en-US" sz="1000" b="1" dirty="0">
                <a:solidFill>
                  <a:schemeClr val="tx1"/>
                </a:solidFill>
              </a:rPr>
              <a:t>36% </a:t>
            </a:r>
            <a:r>
              <a:rPr lang="en-US" sz="1000" dirty="0">
                <a:solidFill>
                  <a:schemeClr val="tx1"/>
                </a:solidFill>
              </a:rPr>
              <a:t>of total Gx sales, </a:t>
            </a:r>
            <a:r>
              <a:rPr lang="en-US" sz="1000" b="1" dirty="0">
                <a:solidFill>
                  <a:schemeClr val="tx1"/>
                </a:solidFill>
              </a:rPr>
              <a:t>while</a:t>
            </a:r>
          </a:p>
          <a:p>
            <a:pPr marL="177800" indent="-88900">
              <a:buFont typeface="Arial" pitchFamily="34" charset="0"/>
              <a:buChar char="•"/>
              <a:tabLst>
                <a:tab pos="85725" algn="l"/>
              </a:tabLst>
            </a:pPr>
            <a:r>
              <a:rPr lang="en-US" sz="1000" b="1" dirty="0">
                <a:solidFill>
                  <a:schemeClr val="tx1"/>
                </a:solidFill>
              </a:rPr>
              <a:t>Ox products with PSP&lt;€10 </a:t>
            </a:r>
            <a:r>
              <a:rPr lang="en-US" sz="1000" dirty="0">
                <a:solidFill>
                  <a:schemeClr val="tx1"/>
                </a:solidFill>
              </a:rPr>
              <a:t>account for</a:t>
            </a:r>
            <a:r>
              <a:rPr lang="en-US" sz="1000" b="1" dirty="0">
                <a:solidFill>
                  <a:schemeClr val="tx1"/>
                </a:solidFill>
              </a:rPr>
              <a:t> </a:t>
            </a:r>
            <a:r>
              <a:rPr lang="en-US" sz="1000" dirty="0">
                <a:solidFill>
                  <a:schemeClr val="tx1"/>
                </a:solidFill>
              </a:rPr>
              <a:t>the</a:t>
            </a:r>
            <a:r>
              <a:rPr lang="en-US" sz="1000" b="1" dirty="0">
                <a:solidFill>
                  <a:schemeClr val="tx1"/>
                </a:solidFill>
              </a:rPr>
              <a:t> 23% </a:t>
            </a:r>
            <a:r>
              <a:rPr lang="en-US" sz="1000" dirty="0">
                <a:solidFill>
                  <a:schemeClr val="tx1"/>
                </a:solidFill>
              </a:rPr>
              <a:t>of total Ox sales</a:t>
            </a:r>
          </a:p>
          <a:p>
            <a:pPr marL="177800" indent="-88900">
              <a:tabLst>
                <a:tab pos="85725" algn="l"/>
              </a:tabLst>
            </a:pPr>
            <a:endParaRPr lang="en-US" sz="1000" dirty="0">
              <a:solidFill>
                <a:schemeClr val="tx1"/>
              </a:solidFill>
            </a:endParaRPr>
          </a:p>
          <a:p>
            <a:pPr marL="177800" indent="-88900">
              <a:buFont typeface="Arial" pitchFamily="34" charset="0"/>
              <a:buChar char="•"/>
              <a:tabLst>
                <a:tab pos="85725" algn="l"/>
              </a:tabLst>
            </a:pPr>
            <a:r>
              <a:rPr lang="en-US" sz="1000" b="1" dirty="0">
                <a:solidFill>
                  <a:schemeClr val="tx1"/>
                </a:solidFill>
              </a:rPr>
              <a:t>Gx products with PSP&lt;€10 </a:t>
            </a:r>
            <a:r>
              <a:rPr lang="en-US" sz="1000" dirty="0">
                <a:solidFill>
                  <a:schemeClr val="tx1"/>
                </a:solidFill>
              </a:rPr>
              <a:t>account for</a:t>
            </a:r>
            <a:r>
              <a:rPr lang="en-US" sz="1000" b="1" dirty="0">
                <a:solidFill>
                  <a:schemeClr val="tx1"/>
                </a:solidFill>
              </a:rPr>
              <a:t> </a:t>
            </a:r>
            <a:r>
              <a:rPr lang="en-US" sz="1000" dirty="0">
                <a:solidFill>
                  <a:schemeClr val="tx1"/>
                </a:solidFill>
              </a:rPr>
              <a:t>the </a:t>
            </a:r>
            <a:r>
              <a:rPr lang="en-US" sz="1000" b="1" dirty="0">
                <a:solidFill>
                  <a:schemeClr val="tx1"/>
                </a:solidFill>
              </a:rPr>
              <a:t>64% </a:t>
            </a:r>
            <a:r>
              <a:rPr lang="en-US" sz="1000" dirty="0">
                <a:solidFill>
                  <a:schemeClr val="tx1"/>
                </a:solidFill>
              </a:rPr>
              <a:t>of total volume Gx sales, </a:t>
            </a:r>
            <a:r>
              <a:rPr lang="en-US" sz="1000" b="1" dirty="0">
                <a:solidFill>
                  <a:schemeClr val="tx1"/>
                </a:solidFill>
              </a:rPr>
              <a:t>while</a:t>
            </a:r>
          </a:p>
          <a:p>
            <a:pPr marL="177800" indent="-88900">
              <a:buFont typeface="Arial" pitchFamily="34" charset="0"/>
              <a:buChar char="•"/>
              <a:tabLst>
                <a:tab pos="85725" algn="l"/>
              </a:tabLst>
            </a:pPr>
            <a:r>
              <a:rPr lang="en-US" sz="1000" b="1" dirty="0">
                <a:solidFill>
                  <a:schemeClr val="tx1"/>
                </a:solidFill>
              </a:rPr>
              <a:t>Ox products with PSP&lt;€10 </a:t>
            </a:r>
            <a:r>
              <a:rPr lang="en-US" sz="1000" dirty="0">
                <a:solidFill>
                  <a:schemeClr val="tx1"/>
                </a:solidFill>
              </a:rPr>
              <a:t>account for</a:t>
            </a:r>
            <a:r>
              <a:rPr lang="en-US" sz="1000" b="1" dirty="0">
                <a:solidFill>
                  <a:schemeClr val="tx1"/>
                </a:solidFill>
              </a:rPr>
              <a:t> </a:t>
            </a:r>
            <a:r>
              <a:rPr lang="en-US" sz="1000" dirty="0">
                <a:solidFill>
                  <a:schemeClr val="tx1"/>
                </a:solidFill>
              </a:rPr>
              <a:t>the</a:t>
            </a:r>
            <a:r>
              <a:rPr lang="en-US" sz="1000" b="1" dirty="0">
                <a:solidFill>
                  <a:schemeClr val="tx1"/>
                </a:solidFill>
              </a:rPr>
              <a:t> 68% </a:t>
            </a:r>
            <a:r>
              <a:rPr lang="en-US" sz="1000" dirty="0">
                <a:solidFill>
                  <a:schemeClr val="tx1"/>
                </a:solidFill>
              </a:rPr>
              <a:t>of total volume Ox sales</a:t>
            </a:r>
          </a:p>
          <a:p>
            <a:pPr marL="177800" indent="-88900">
              <a:tabLst>
                <a:tab pos="85725" algn="l"/>
              </a:tabLst>
            </a:pPr>
            <a:endParaRPr lang="en-US" sz="1000" dirty="0">
              <a:solidFill>
                <a:schemeClr val="tx1"/>
              </a:solidFill>
            </a:endParaRPr>
          </a:p>
          <a:p>
            <a:pPr marL="177800" indent="-88900">
              <a:tabLst>
                <a:tab pos="85725" algn="l"/>
              </a:tabLst>
            </a:pPr>
            <a:endParaRPr lang="en-US" sz="1000" dirty="0">
              <a:solidFill>
                <a:schemeClr val="tx1"/>
              </a:solidFill>
            </a:endParaRPr>
          </a:p>
          <a:p>
            <a:pPr marL="177800" indent="-88900">
              <a:buFont typeface="Arial" pitchFamily="34" charset="0"/>
              <a:buChar char="•"/>
            </a:pPr>
            <a:r>
              <a:rPr lang="en-US" sz="1000" b="1" dirty="0">
                <a:solidFill>
                  <a:schemeClr val="tx1"/>
                </a:solidFill>
              </a:rPr>
              <a:t>56% </a:t>
            </a:r>
            <a:r>
              <a:rPr lang="en-US" sz="1000" dirty="0">
                <a:solidFill>
                  <a:schemeClr val="tx1"/>
                </a:solidFill>
              </a:rPr>
              <a:t>of total </a:t>
            </a:r>
            <a:r>
              <a:rPr lang="en-US" sz="1000" b="1" dirty="0">
                <a:solidFill>
                  <a:schemeClr val="tx1"/>
                </a:solidFill>
              </a:rPr>
              <a:t>Gx SKUs with PSP&lt;€10 </a:t>
            </a:r>
            <a:endParaRPr lang="en-US" sz="1000" dirty="0">
              <a:solidFill>
                <a:schemeClr val="tx1"/>
              </a:solidFill>
            </a:endParaRPr>
          </a:p>
          <a:p>
            <a:pPr marL="177800" indent="-88900">
              <a:buFont typeface="Arial" pitchFamily="34" charset="0"/>
              <a:buChar char="•"/>
            </a:pPr>
            <a:r>
              <a:rPr lang="en-US" sz="1000" b="1" dirty="0">
                <a:solidFill>
                  <a:schemeClr val="tx1"/>
                </a:solidFill>
              </a:rPr>
              <a:t>47% </a:t>
            </a:r>
            <a:r>
              <a:rPr lang="en-US" sz="1000" dirty="0">
                <a:solidFill>
                  <a:schemeClr val="tx1"/>
                </a:solidFill>
              </a:rPr>
              <a:t>of total </a:t>
            </a:r>
            <a:r>
              <a:rPr lang="en-US" sz="1000" b="1" dirty="0">
                <a:solidFill>
                  <a:schemeClr val="tx1"/>
                </a:solidFill>
              </a:rPr>
              <a:t>Ox SKUs with PSP&lt;€10 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tabLst>
                <a:tab pos="85725" algn="l"/>
              </a:tabLst>
            </a:pPr>
            <a:endParaRPr lang="el-GR" sz="1000" dirty="0">
              <a:solidFill>
                <a:schemeClr val="tx1"/>
              </a:solidFill>
            </a:endParaRPr>
          </a:p>
          <a:p>
            <a:pPr marL="171450" indent="-171450"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b="1" dirty="0">
              <a:solidFill>
                <a:schemeClr val="accent1"/>
              </a:solidFill>
              <a:latin typeface="+mj-lt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D0A28CC-74BA-4307-89A0-9DA4596139D7}"/>
              </a:ext>
            </a:extLst>
          </p:cNvPr>
          <p:cNvCxnSpPr>
            <a:cxnSpLocks/>
          </p:cNvCxnSpPr>
          <p:nvPr/>
        </p:nvCxnSpPr>
        <p:spPr>
          <a:xfrm>
            <a:off x="9078946" y="5223404"/>
            <a:ext cx="2844000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8DF98BE5-29F7-4A31-A678-638B909549C7}"/>
              </a:ext>
            </a:extLst>
          </p:cNvPr>
          <p:cNvCxnSpPr>
            <a:cxnSpLocks/>
          </p:cNvCxnSpPr>
          <p:nvPr/>
        </p:nvCxnSpPr>
        <p:spPr>
          <a:xfrm>
            <a:off x="9060561" y="4413667"/>
            <a:ext cx="285203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4" name="Group 83">
            <a:extLst>
              <a:ext uri="{FF2B5EF4-FFF2-40B4-BE49-F238E27FC236}">
                <a16:creationId xmlns:a16="http://schemas.microsoft.com/office/drawing/2014/main" id="{3F5FC509-D926-42EF-A94B-59805D409FCB}"/>
              </a:ext>
            </a:extLst>
          </p:cNvPr>
          <p:cNvGrpSpPr/>
          <p:nvPr/>
        </p:nvGrpSpPr>
        <p:grpSpPr>
          <a:xfrm>
            <a:off x="3945231" y="1935701"/>
            <a:ext cx="518444" cy="569661"/>
            <a:chOff x="15749" y="3214686"/>
            <a:chExt cx="540000" cy="540000"/>
          </a:xfrm>
        </p:grpSpPr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BB6AA773-D3F4-4490-AEAB-2267BD10FFE1}"/>
                </a:ext>
              </a:extLst>
            </p:cNvPr>
            <p:cNvPicPr>
              <a:picLocks noChangeAspect="1"/>
            </p:cNvPicPr>
            <p:nvPr/>
          </p:nvPicPr>
          <p:blipFill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749" y="3214686"/>
              <a:ext cx="540000" cy="540000"/>
            </a:xfrm>
            <a:prstGeom prst="rect">
              <a:avLst/>
            </a:prstGeom>
          </p:spPr>
        </p:pic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E80D09FC-BC85-46B5-A82E-243A13A6E1B9}"/>
                </a:ext>
              </a:extLst>
            </p:cNvPr>
            <p:cNvSpPr txBox="1"/>
            <p:nvPr/>
          </p:nvSpPr>
          <p:spPr>
            <a:xfrm>
              <a:off x="126189" y="3440502"/>
              <a:ext cx="329255" cy="1896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pt-PT" sz="700" b="1" kern="0" dirty="0">
                  <a:solidFill>
                    <a:srgbClr val="1566AF"/>
                  </a:solidFill>
                  <a:latin typeface="+mj-lt"/>
                </a:rPr>
                <a:t>Off</a:t>
              </a:r>
              <a:endParaRPr lang="pt-PT" sz="100" b="1" kern="0" dirty="0">
                <a:solidFill>
                  <a:srgbClr val="1566AF"/>
                </a:solidFill>
                <a:latin typeface="+mj-lt"/>
              </a:endParaRPr>
            </a:p>
          </p:txBody>
        </p:sp>
      </p:grpSp>
      <p:sp>
        <p:nvSpPr>
          <p:cNvPr id="85" name="Round Diagonal Corner Rectangle 110">
            <a:extLst>
              <a:ext uri="{FF2B5EF4-FFF2-40B4-BE49-F238E27FC236}">
                <a16:creationId xmlns:a16="http://schemas.microsoft.com/office/drawing/2014/main" id="{32372160-5D59-4A0C-8B83-F155D62B89D4}"/>
              </a:ext>
            </a:extLst>
          </p:cNvPr>
          <p:cNvSpPr/>
          <p:nvPr/>
        </p:nvSpPr>
        <p:spPr>
          <a:xfrm>
            <a:off x="6308548" y="3303588"/>
            <a:ext cx="2652890" cy="2682874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buClr>
                <a:srgbClr val="00B0F0"/>
              </a:buClr>
              <a:buSzPct val="100000"/>
              <a:defRPr/>
            </a:pPr>
            <a:r>
              <a:rPr lang="en-US" sz="1200" b="1" dirty="0">
                <a:solidFill>
                  <a:schemeClr val="accent1"/>
                </a:solidFill>
              </a:rPr>
              <a:t>Split by ATC-1 – YoY change</a:t>
            </a:r>
          </a:p>
        </p:txBody>
      </p:sp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DF7ADF6C-9340-DE02-A56D-D941DD19C1C1}"/>
              </a:ext>
            </a:extLst>
          </p:cNvPr>
          <p:cNvGraphicFramePr/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626239321"/>
              </p:ext>
            </p:extLst>
          </p:nvPr>
        </p:nvGraphicFramePr>
        <p:xfrm>
          <a:off x="6711950" y="3730625"/>
          <a:ext cx="2019300" cy="2147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>
        <p:nvSpPr>
          <p:cNvPr id="49" name="Rectangle 48">
            <a:extLst>
              <a:ext uri="{FF2B5EF4-FFF2-40B4-BE49-F238E27FC236}">
                <a16:creationId xmlns:a16="http://schemas.microsoft.com/office/drawing/2014/main" id="{DE80B0C4-E903-4646-8E59-403A728CA3D7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6551613" y="3933825"/>
            <a:ext cx="841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39B9EC7-2245-4E29-913C-CE1DFA232C45}" type="datetime'''''''''''''''''''''''A'''''''''''">
              <a:rPr lang="en-US" altLang="en-US" sz="1000" smtClean="0">
                <a:solidFill>
                  <a:schemeClr val="tx1"/>
                </a:solidFill>
                <a:ea typeface="+mj-ea"/>
                <a:cs typeface="+mj-cs"/>
              </a:rPr>
              <a:pPr/>
              <a:t>A</a:t>
            </a:fld>
            <a:endParaRPr lang="en-US" sz="1000" dirty="0" err="1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A2D63491-2ABB-42D9-B091-CB139ED669D0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6543675" y="4330700"/>
            <a:ext cx="920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10546BF-DB34-4FF7-BA8A-A604E894AF43}" type="datetime'''''''''''''''''''C'''''''''''''''''''''''''''''''''">
              <a:rPr lang="en-US" altLang="en-US" sz="1000" smtClean="0">
                <a:solidFill>
                  <a:schemeClr val="tx1"/>
                </a:solidFill>
                <a:ea typeface="+mj-ea"/>
                <a:cs typeface="+mj-cs"/>
              </a:rPr>
              <a:pPr/>
              <a:t>C</a:t>
            </a:fld>
            <a:endParaRPr lang="en-US" sz="1000" dirty="0" err="1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5DB973D-CD3A-4410-B680-4919D04D517E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6543675" y="4727575"/>
            <a:ext cx="920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BE8400E-60EF-490D-9A70-3989AF61A359}" type="datetime'''''''''''''''''''''''''''''''''''''''''''''''''''''''''N'''">
              <a:rPr lang="en-US" altLang="en-US" sz="1000" smtClean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N</a:t>
            </a:fld>
            <a:endParaRPr lang="en-US" sz="1000" dirty="0" err="1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50E8513-18F3-4840-BDF4-93C70923B914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6551613" y="5122863"/>
            <a:ext cx="841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D6AD8F1-2ACF-4D1B-8A8D-4583881F7693}" type="datetime'''''''B'''''''''''''''''''''">
              <a:rPr lang="en-US" altLang="en-US" sz="1000" smtClean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B</a:t>
            </a:fld>
            <a:endParaRPr lang="en-US" sz="1000" dirty="0" err="1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D381916-F817-4952-8716-33C8E65B3F6C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6572250" y="5519738"/>
            <a:ext cx="63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CAE72F7-C325-4BDE-B8B3-9B1A86D41911}" type="datetime'''J'''''''''''''''">
              <a:rPr lang="en-US" altLang="en-US" sz="1000" smtClean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J</a:t>
            </a:fld>
            <a:endParaRPr lang="en-US" sz="1000" dirty="0" err="1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8BC1607D-ABC9-4B76-ADFE-F1B97261A6AD}"/>
              </a:ext>
            </a:extLst>
          </p:cNvPr>
          <p:cNvSpPr/>
          <p:nvPr/>
        </p:nvSpPr>
        <p:spPr>
          <a:xfrm>
            <a:off x="8257363" y="3604169"/>
            <a:ext cx="612000" cy="3016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</a:rPr>
              <a:t>% PPG</a:t>
            </a:r>
          </a:p>
          <a:p>
            <a:pPr algn="ctr"/>
            <a:r>
              <a:rPr lang="en-US" sz="800" i="1" dirty="0">
                <a:solidFill>
                  <a:schemeClr val="tx1"/>
                </a:solidFill>
                <a:latin typeface="+mj-lt"/>
              </a:rPr>
              <a:t>(MAT)</a:t>
            </a:r>
            <a:endParaRPr lang="el-GR" sz="1000" i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54" name="Rounded Rectangular Callout 207">
            <a:extLst>
              <a:ext uri="{FF2B5EF4-FFF2-40B4-BE49-F238E27FC236}">
                <a16:creationId xmlns:a16="http://schemas.microsoft.com/office/drawing/2014/main" id="{F431AADA-33F2-4724-9A4C-7A06D7D4954F}"/>
              </a:ext>
            </a:extLst>
          </p:cNvPr>
          <p:cNvSpPr>
            <a:spLocks/>
          </p:cNvSpPr>
          <p:nvPr/>
        </p:nvSpPr>
        <p:spPr bwMode="auto">
          <a:xfrm>
            <a:off x="8152144" y="4187088"/>
            <a:ext cx="679180" cy="287224"/>
          </a:xfrm>
          <a:prstGeom prst="wedgeRoundRectCallout">
            <a:avLst>
              <a:gd name="adj1" fmla="val -43479"/>
              <a:gd name="adj2" fmla="val -85257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00777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latin typeface="+mj-lt"/>
              </a:rPr>
              <a:t>Increase</a:t>
            </a:r>
          </a:p>
        </p:txBody>
      </p:sp>
      <p:sp>
        <p:nvSpPr>
          <p:cNvPr id="155" name="Rounded Rectangular Callout 218">
            <a:extLst>
              <a:ext uri="{FF2B5EF4-FFF2-40B4-BE49-F238E27FC236}">
                <a16:creationId xmlns:a16="http://schemas.microsoft.com/office/drawing/2014/main" id="{75AEA13D-BC49-475D-9FB2-DA2F343EF05A}"/>
              </a:ext>
            </a:extLst>
          </p:cNvPr>
          <p:cNvSpPr>
            <a:spLocks/>
          </p:cNvSpPr>
          <p:nvPr/>
        </p:nvSpPr>
        <p:spPr bwMode="auto">
          <a:xfrm>
            <a:off x="7894969" y="4621157"/>
            <a:ext cx="793750" cy="441435"/>
          </a:xfrm>
          <a:prstGeom prst="wedgeRoundRectCallout">
            <a:avLst>
              <a:gd name="adj1" fmla="val -80582"/>
              <a:gd name="adj2" fmla="val -76022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A9C2C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latin typeface="+mj-lt"/>
              </a:rPr>
              <a:t>Increase lower than the market</a:t>
            </a:r>
          </a:p>
        </p:txBody>
      </p:sp>
      <p:sp>
        <p:nvSpPr>
          <p:cNvPr id="123" name="Text Placeholder 12">
            <a:extLst>
              <a:ext uri="{FF2B5EF4-FFF2-40B4-BE49-F238E27FC236}">
                <a16:creationId xmlns:a16="http://schemas.microsoft.com/office/drawing/2014/main" id="{C0296AD1-A3E8-4D86-8086-2F7E8F5B8707}"/>
              </a:ext>
            </a:extLst>
          </p:cNvPr>
          <p:cNvSpPr txBox="1">
            <a:spLocks/>
          </p:cNvSpPr>
          <p:nvPr/>
        </p:nvSpPr>
        <p:spPr>
          <a:xfrm>
            <a:off x="477013" y="6397157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latin typeface="Arial Narrow" panose="020B0606020202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Source: IQVIA data (MAT/03/23); IQVIA analysis</a:t>
            </a:r>
          </a:p>
        </p:txBody>
      </p:sp>
      <p:sp>
        <p:nvSpPr>
          <p:cNvPr id="112" name="Text Placeholder 6">
            <a:extLst>
              <a:ext uri="{FF2B5EF4-FFF2-40B4-BE49-F238E27FC236}">
                <a16:creationId xmlns:a16="http://schemas.microsoft.com/office/drawing/2014/main" id="{1A0E11C6-244C-4B88-970B-B9C7A81FDC48}"/>
              </a:ext>
            </a:extLst>
          </p:cNvPr>
          <p:cNvSpPr txBox="1">
            <a:spLocks/>
          </p:cNvSpPr>
          <p:nvPr/>
        </p:nvSpPr>
        <p:spPr>
          <a:xfrm>
            <a:off x="477012" y="6118280"/>
            <a:ext cx="11246241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latin typeface="Arial Narrow" panose="020B0606020202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Note: Excluding all L.3816 products; Vaccines category includes all products of the following ATC-3 categories: J07E VIRAL VACCINES, J07D BACTERIAL VACCINES, J07B COMBINATIONS OF VACCINES</a:t>
            </a:r>
          </a:p>
        </p:txBody>
      </p:sp>
    </p:spTree>
    <p:extLst>
      <p:ext uri="{BB962C8B-B14F-4D97-AF65-F5344CB8AC3E}">
        <p14:creationId xmlns:p14="http://schemas.microsoft.com/office/powerpoint/2010/main" val="823548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9352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216" imgH="216" progId="TCLayout.ActiveDocument.1">
                  <p:embed/>
                </p:oleObj>
              </mc:Choice>
              <mc:Fallback>
                <p:oleObj name="think-cell Slide" r:id="rId26" imgW="216" imgH="21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900" dirty="0" err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8B3A046-B95E-4A89-AA5D-66FA75A5D4B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ReimbursED marke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D442E71-130C-42A9-AB4D-AD95D55696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Note: Excluding all L.3816 products; Classification by On patent, Off patent, Generics and Others is based on Sfee/IQVIA flag; Other includes mainly vaccines</a:t>
            </a:r>
            <a:r>
              <a:rPr lang="el-GR" dirty="0"/>
              <a:t>, </a:t>
            </a:r>
            <a:r>
              <a:rPr lang="en-US" dirty="0"/>
              <a:t>supplements</a:t>
            </a:r>
            <a:r>
              <a:rPr lang="el-GR" dirty="0"/>
              <a:t> </a:t>
            </a:r>
            <a:r>
              <a:rPr lang="en-US" dirty="0"/>
              <a:t>and diabetes tes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arket share in values (PSP) &amp; volume: By patent status – Quarterl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77011" y="237000"/>
            <a:ext cx="11664000" cy="773799"/>
          </a:xfrm>
        </p:spPr>
        <p:txBody>
          <a:bodyPr vert="horz"/>
          <a:lstStyle/>
          <a:p>
            <a:r>
              <a:rPr lang="en-US" dirty="0"/>
              <a:t>Off-patent and Gx value &amp; volume </a:t>
            </a:r>
            <a:r>
              <a:rPr lang="en-US" dirty="0" err="1"/>
              <a:t>m.s.</a:t>
            </a:r>
            <a:r>
              <a:rPr lang="en-US" dirty="0"/>
              <a:t> in the Reimbursed Market increased (Q1/23 vs. Q1/22), while On-patent and Other decreased</a:t>
            </a:r>
          </a:p>
        </p:txBody>
      </p:sp>
      <p:sp>
        <p:nvSpPr>
          <p:cNvPr id="28" name="Rektangel 76">
            <a:extLst>
              <a:ext uri="{FF2B5EF4-FFF2-40B4-BE49-F238E27FC236}">
                <a16:creationId xmlns:a16="http://schemas.microsoft.com/office/drawing/2014/main" id="{326E7F72-577B-4989-AB04-FF61C654E8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3253" y="1659797"/>
            <a:ext cx="5399999" cy="318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72000" rIns="0" bIns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1600" b="1" noProof="1">
                <a:solidFill>
                  <a:schemeClr val="accent1"/>
                </a:solidFill>
                <a:cs typeface="Arial" charset="0"/>
              </a:rPr>
              <a:t>Volume</a:t>
            </a:r>
            <a:endParaRPr lang="en-US" sz="1600" b="1" baseline="30000" noProof="1">
              <a:solidFill>
                <a:schemeClr val="accent1"/>
              </a:solidFill>
              <a:cs typeface="Arial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CAFF733-F603-40D8-B3EB-CA141AB2231F}"/>
              </a:ext>
            </a:extLst>
          </p:cNvPr>
          <p:cNvCxnSpPr/>
          <p:nvPr/>
        </p:nvCxnSpPr>
        <p:spPr>
          <a:xfrm>
            <a:off x="6323254" y="1648910"/>
            <a:ext cx="5399999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8013B28-9A55-4FE6-BB8E-257F5C8E0954}"/>
              </a:ext>
            </a:extLst>
          </p:cNvPr>
          <p:cNvCxnSpPr/>
          <p:nvPr/>
        </p:nvCxnSpPr>
        <p:spPr>
          <a:xfrm>
            <a:off x="468748" y="1648910"/>
            <a:ext cx="5399999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ktangel 76">
            <a:extLst>
              <a:ext uri="{FF2B5EF4-FFF2-40B4-BE49-F238E27FC236}">
                <a16:creationId xmlns:a16="http://schemas.microsoft.com/office/drawing/2014/main" id="{F3D8C4E2-7F9E-4BBC-84B1-C516DF9AD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747" y="1659797"/>
            <a:ext cx="5399999" cy="318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72000" rIns="0" bIns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1600" b="1" noProof="1">
                <a:solidFill>
                  <a:schemeClr val="accent1"/>
                </a:solidFill>
                <a:cs typeface="Arial" charset="0"/>
              </a:rPr>
              <a:t>Values (PSP)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B916BE56-F80B-9F7A-F4EC-D5A36878B81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81105456"/>
              </p:ext>
            </p:extLst>
          </p:nvPr>
        </p:nvGraphicFramePr>
        <p:xfrm>
          <a:off x="531813" y="2317750"/>
          <a:ext cx="5000625" cy="3028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152" name="Rectangle 151"/>
          <p:cNvSpPr/>
          <p:nvPr>
            <p:custDataLst>
              <p:tags r:id="rId4"/>
            </p:custDataLst>
          </p:nvPr>
        </p:nvSpPr>
        <p:spPr bwMode="auto">
          <a:xfrm>
            <a:off x="696913" y="2111375"/>
            <a:ext cx="4635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>
                <a:latin typeface="Arial"/>
                <a:cs typeface="Arial"/>
                <a:sym typeface="Arial"/>
              </a:rPr>
              <a:t>% values</a:t>
            </a:r>
            <a:endParaRPr lang="en-US" sz="900" dirty="0">
              <a:latin typeface="Arial"/>
              <a:cs typeface="Arial"/>
              <a:sym typeface="Arial"/>
            </a:endParaRPr>
          </a:p>
        </p:txBody>
      </p:sp>
      <p:sp>
        <p:nvSpPr>
          <p:cNvPr id="50" name="Text Placeholder 67">
            <a:extLst>
              <a:ext uri="{FF2B5EF4-FFF2-40B4-BE49-F238E27FC236}">
                <a16:creationId xmlns:a16="http://schemas.microsoft.com/office/drawing/2014/main" id="{8F26BE35-F027-471E-B8F1-3CD77DE70BD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281113" y="5294313"/>
            <a:ext cx="196850" cy="27305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87E13D9-5CBF-49F6-AD9B-340A146472A1}" type="datetime'''''''''''Q''1''/''''''''''''&#10;''2''''''''''''2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1/
22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45" name="Text Placeholder 67">
            <a:extLst>
              <a:ext uri="{FF2B5EF4-FFF2-40B4-BE49-F238E27FC236}">
                <a16:creationId xmlns:a16="http://schemas.microsoft.com/office/drawing/2014/main" id="{5080AE0F-EF99-42A2-8144-7A48D0F55DD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089275" y="5294313"/>
            <a:ext cx="196850" cy="27305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4314B40-FAEB-4A6B-8AAE-732D07399B45}" type="datetime'''''''''''''''''''''''Q''3''/''&#10;''''''''''''''''''22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3/
22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43" name="Text Placeholder 67">
            <a:extLst>
              <a:ext uri="{FF2B5EF4-FFF2-40B4-BE49-F238E27FC236}">
                <a16:creationId xmlns:a16="http://schemas.microsoft.com/office/drawing/2014/main" id="{99D3609A-2C65-44EA-9546-73F82E0751F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185988" y="5294312"/>
            <a:ext cx="196850" cy="27305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0D7DBCD-9F88-4A68-8700-DA707B3C91B5}" type="datetime'Q''2''''/''''''''''&#10;''''''''''''''''2''''''''''2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2/
22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51" name="Text Placeholder 67">
            <a:extLst>
              <a:ext uri="{FF2B5EF4-FFF2-40B4-BE49-F238E27FC236}">
                <a16:creationId xmlns:a16="http://schemas.microsoft.com/office/drawing/2014/main" id="{B2272F84-A361-4DC4-AF90-D64A1AAB81BE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994150" y="5294312"/>
            <a:ext cx="196850" cy="27305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99EFC63-3145-499E-B1F9-6507B99CCCE7}" type="datetime'Q''''''''4''/''''''''''&#10;''2''''''''''''''''''''''''''2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4/
22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254" name="Text Placeholder 67">
            <a:extLst>
              <a:ext uri="{FF2B5EF4-FFF2-40B4-BE49-F238E27FC236}">
                <a16:creationId xmlns:a16="http://schemas.microsoft.com/office/drawing/2014/main" id="{9AD95436-8E8F-A1F9-F8CD-D56DA24DB6D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897438" y="5294313"/>
            <a:ext cx="196850" cy="27305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320997D-7250-4055-828B-512204AAE68B}" type="datetime'Q''''1''''''''''''''''/''''''''''''&#10;''''''''''''''2''''3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1/
23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200" name="Rectangle 199"/>
          <p:cNvSpPr/>
          <p:nvPr>
            <p:custDataLst>
              <p:tags r:id="rId10"/>
            </p:custDataLst>
          </p:nvPr>
        </p:nvSpPr>
        <p:spPr bwMode="auto">
          <a:xfrm>
            <a:off x="955675" y="5680075"/>
            <a:ext cx="160337" cy="120650"/>
          </a:xfrm>
          <a:prstGeom prst="rect">
            <a:avLst/>
          </a:prstGeom>
          <a:solidFill>
            <a:srgbClr val="CAE3F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99" name="Rectangle 198"/>
          <p:cNvSpPr/>
          <p:nvPr>
            <p:custDataLst>
              <p:tags r:id="rId11"/>
            </p:custDataLst>
          </p:nvPr>
        </p:nvSpPr>
        <p:spPr bwMode="auto">
          <a:xfrm>
            <a:off x="1554163" y="5680075"/>
            <a:ext cx="160338" cy="120650"/>
          </a:xfrm>
          <a:prstGeom prst="rect">
            <a:avLst/>
          </a:prstGeom>
          <a:solidFill>
            <a:srgbClr val="25B4F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97" name="Rectangle 196"/>
          <p:cNvSpPr/>
          <p:nvPr>
            <p:custDataLst>
              <p:tags r:id="rId12"/>
            </p:custDataLst>
          </p:nvPr>
        </p:nvSpPr>
        <p:spPr bwMode="auto">
          <a:xfrm>
            <a:off x="3138488" y="5680075"/>
            <a:ext cx="160338" cy="12065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98" name="Rectangle 197"/>
          <p:cNvSpPr/>
          <p:nvPr>
            <p:custDataLst>
              <p:tags r:id="rId13"/>
            </p:custDataLst>
          </p:nvPr>
        </p:nvSpPr>
        <p:spPr bwMode="auto">
          <a:xfrm>
            <a:off x="2324100" y="5680075"/>
            <a:ext cx="160338" cy="1206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400" dirty="0">
              <a:latin typeface="Arial"/>
            </a:endParaRPr>
          </a:p>
        </p:txBody>
      </p:sp>
      <p:sp>
        <p:nvSpPr>
          <p:cNvPr id="204" name="Rectangle 203"/>
          <p:cNvSpPr/>
          <p:nvPr>
            <p:custDataLst>
              <p:tags r:id="rId14"/>
            </p:custDataLst>
          </p:nvPr>
        </p:nvSpPr>
        <p:spPr bwMode="auto">
          <a:xfrm>
            <a:off x="1166813" y="5676900"/>
            <a:ext cx="2857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FD0A4840-1580-4DFA-A623-45B7B1A6990C}" type="datetime'''''''''''O''''t''''h''''''''e''''''''''''''r'''''''''''">
              <a:rPr lang="en-US" altLang="en-US" sz="900">
                <a:cs typeface="Arial" panose="020B0604020202020204" pitchFamily="34" charset="0"/>
              </a:rPr>
              <a:pPr/>
              <a:t>Other</a:t>
            </a:fld>
            <a:endParaRPr kumimoji="0" lang="el-GR" sz="900" strike="noStrike" cap="none" normalizeH="0" dirty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203" name="Rectangle 202"/>
          <p:cNvSpPr/>
          <p:nvPr>
            <p:custDataLst>
              <p:tags r:id="rId15"/>
            </p:custDataLst>
          </p:nvPr>
        </p:nvSpPr>
        <p:spPr bwMode="auto">
          <a:xfrm>
            <a:off x="1765300" y="5676900"/>
            <a:ext cx="4572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DE0CC24D-82E6-4839-92BB-BF7983A15F1C}" type="datetime'G''''''''en''''''''''''e''''''''''r''i''''''''c''''''''s'''''">
              <a:rPr lang="en-US" altLang="en-US" sz="900">
                <a:cs typeface="Arial" panose="020B0604020202020204" pitchFamily="34" charset="0"/>
              </a:rPr>
              <a:pPr/>
              <a:t>Generics</a:t>
            </a:fld>
            <a:endParaRPr kumimoji="0" lang="el-GR" sz="900" strike="noStrike" cap="none" normalizeH="0" dirty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202" name="Rectangle 201"/>
          <p:cNvSpPr/>
          <p:nvPr>
            <p:custDataLst>
              <p:tags r:id="rId16"/>
            </p:custDataLst>
          </p:nvPr>
        </p:nvSpPr>
        <p:spPr bwMode="auto">
          <a:xfrm>
            <a:off x="2535238" y="5676900"/>
            <a:ext cx="5016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13859A8C-4908-4754-8A43-6787F33081E6}" type="datetime'O''''''''''f''''''f'''' p''''at''''''''''ent'''''">
              <a:rPr lang="el-GR" altLang="en-US" sz="900">
                <a:cs typeface="Arial" panose="020B0604020202020204" pitchFamily="34" charset="0"/>
              </a:rPr>
              <a:pPr/>
              <a:t>Off patent</a:t>
            </a:fld>
            <a:endParaRPr kumimoji="0" lang="el-GR" sz="900" strike="noStrike" cap="none" normalizeH="0" dirty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201" name="Rectangle 200"/>
          <p:cNvSpPr/>
          <p:nvPr>
            <p:custDataLst>
              <p:tags r:id="rId17"/>
            </p:custDataLst>
          </p:nvPr>
        </p:nvSpPr>
        <p:spPr bwMode="auto">
          <a:xfrm>
            <a:off x="3349625" y="5676900"/>
            <a:ext cx="5016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899E9260-9507-48CB-99C9-36FB0A2D7B62}" type="datetime'''''O''''''''''''''''''n'''''''''''' p''''a''''''t''''e''''nt'">
              <a:rPr lang="en-US" altLang="en-US" sz="900">
                <a:cs typeface="Arial" panose="020B0604020202020204" pitchFamily="34" charset="0"/>
              </a:rPr>
              <a:pPr/>
              <a:t>On patent</a:t>
            </a:fld>
            <a:endParaRPr kumimoji="0" lang="el-GR" sz="900" strike="noStrike" cap="non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17D59295-0488-333C-E3E0-083B5E784772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78659585"/>
              </p:ext>
            </p:extLst>
          </p:nvPr>
        </p:nvGraphicFramePr>
        <p:xfrm>
          <a:off x="6359525" y="2317750"/>
          <a:ext cx="5006975" cy="3028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249" name="Rectangle 248"/>
          <p:cNvSpPr/>
          <p:nvPr>
            <p:custDataLst>
              <p:tags r:id="rId19"/>
            </p:custDataLst>
          </p:nvPr>
        </p:nvSpPr>
        <p:spPr bwMode="auto">
          <a:xfrm>
            <a:off x="6505575" y="2111375"/>
            <a:ext cx="5016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>
                <a:latin typeface="Arial"/>
                <a:cs typeface="Arial"/>
                <a:sym typeface="Arial"/>
              </a:rPr>
              <a:t>% volume</a:t>
            </a:r>
            <a:endParaRPr lang="en-US" sz="900" dirty="0">
              <a:latin typeface="Arial"/>
              <a:cs typeface="Arial"/>
              <a:sym typeface="Arial"/>
            </a:endParaRPr>
          </a:p>
        </p:txBody>
      </p:sp>
      <p:sp>
        <p:nvSpPr>
          <p:cNvPr id="66" name="Text Placeholder 68">
            <a:extLst>
              <a:ext uri="{FF2B5EF4-FFF2-40B4-BE49-F238E27FC236}">
                <a16:creationId xmlns:a16="http://schemas.microsoft.com/office/drawing/2014/main" id="{3F075B18-49A0-447B-9CA7-76131AFB983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108825" y="5294313"/>
            <a:ext cx="196850" cy="27305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F641050-0F2D-40F0-98A7-F5301688FE86}" type="datetime'''''''''''Q1''/&#10;''''''''''''''''''''''22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1/
22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59" name="Text Placeholder 68">
            <a:extLst>
              <a:ext uri="{FF2B5EF4-FFF2-40B4-BE49-F238E27FC236}">
                <a16:creationId xmlns:a16="http://schemas.microsoft.com/office/drawing/2014/main" id="{499264BF-7DB0-4923-8189-4FC391CE67B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015288" y="5294313"/>
            <a:ext cx="196850" cy="27305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D0C7B67-E6F9-4E10-B37D-E756EEFE52EE}" type="datetime'''''Q''''''''''''''''''2''''''/''&#10;''''''''''''''''''2''2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2/
22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56" name="Text Placeholder 68">
            <a:extLst>
              <a:ext uri="{FF2B5EF4-FFF2-40B4-BE49-F238E27FC236}">
                <a16:creationId xmlns:a16="http://schemas.microsoft.com/office/drawing/2014/main" id="{3980661E-DB10-4468-8422-D150977CF37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920163" y="5294313"/>
            <a:ext cx="196850" cy="27305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572DD23-EFCF-41DB-AC29-C5CB70C45654}" type="datetime'Q''''''''''''3''''''''''/''''&#10;2''''''''''''''''''2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3/
22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81" name="Text Placeholder 68">
            <a:extLst>
              <a:ext uri="{FF2B5EF4-FFF2-40B4-BE49-F238E27FC236}">
                <a16:creationId xmlns:a16="http://schemas.microsoft.com/office/drawing/2014/main" id="{A9DA1017-81C6-4643-A572-B6DB25CCB42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826625" y="5294312"/>
            <a:ext cx="196850" cy="27305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59768E3-1A19-4DAA-AF76-DF6190EBEE0D}" type="datetime'''Q''''''''''''''4''''/''&#10;2''''2''''''''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4/
22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40028E1F-EAAD-257A-FBF3-B815E16FC9C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0731500" y="5294312"/>
            <a:ext cx="196850" cy="27305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876C98D-2FF3-4AE1-9DA3-496B18D6E3F0}" type="datetime'''''Q''''''''''''''''''1''''''/''''''''&#10;''''2''''''''''3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1/
23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55" name="Down Arrow 258">
            <a:extLst>
              <a:ext uri="{FF2B5EF4-FFF2-40B4-BE49-F238E27FC236}">
                <a16:creationId xmlns:a16="http://schemas.microsoft.com/office/drawing/2014/main" id="{C69A63EB-2CCB-414A-AE8A-046A205D5499}"/>
              </a:ext>
            </a:extLst>
          </p:cNvPr>
          <p:cNvSpPr/>
          <p:nvPr/>
        </p:nvSpPr>
        <p:spPr bwMode="auto">
          <a:xfrm flipV="1">
            <a:off x="5517437" y="3901507"/>
            <a:ext cx="198000" cy="324000"/>
          </a:xfrm>
          <a:prstGeom prst="downArrow">
            <a:avLst/>
          </a:prstGeom>
          <a:solidFill>
            <a:srgbClr val="007770"/>
          </a:solidFill>
          <a:ln w="9525" cap="flat" cmpd="sng" algn="ctr">
            <a:solidFill>
              <a:srgbClr val="00777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60" name="Down Arrow 60">
            <a:extLst>
              <a:ext uri="{FF2B5EF4-FFF2-40B4-BE49-F238E27FC236}">
                <a16:creationId xmlns:a16="http://schemas.microsoft.com/office/drawing/2014/main" id="{75BF07BF-D796-4645-8C33-38E6A8548B75}"/>
              </a:ext>
            </a:extLst>
          </p:cNvPr>
          <p:cNvSpPr/>
          <p:nvPr/>
        </p:nvSpPr>
        <p:spPr bwMode="auto">
          <a:xfrm>
            <a:off x="5518650" y="2549872"/>
            <a:ext cx="196787" cy="324000"/>
          </a:xfrm>
          <a:prstGeom prst="downArrow">
            <a:avLst/>
          </a:prstGeom>
          <a:solidFill>
            <a:srgbClr val="C30C3E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77" name="Down Arrow 258">
            <a:extLst>
              <a:ext uri="{FF2B5EF4-FFF2-40B4-BE49-F238E27FC236}">
                <a16:creationId xmlns:a16="http://schemas.microsoft.com/office/drawing/2014/main" id="{1EDCEF78-43EC-4E48-905E-F4102E57B480}"/>
              </a:ext>
            </a:extLst>
          </p:cNvPr>
          <p:cNvSpPr/>
          <p:nvPr/>
        </p:nvSpPr>
        <p:spPr bwMode="auto">
          <a:xfrm flipV="1">
            <a:off x="11414864" y="3336698"/>
            <a:ext cx="198000" cy="324000"/>
          </a:xfrm>
          <a:prstGeom prst="downArrow">
            <a:avLst/>
          </a:prstGeom>
          <a:solidFill>
            <a:srgbClr val="007770"/>
          </a:solidFill>
          <a:ln w="9525" cap="flat" cmpd="sng" algn="ctr">
            <a:solidFill>
              <a:srgbClr val="00777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62" name="Down Arrow 60">
            <a:extLst>
              <a:ext uri="{FF2B5EF4-FFF2-40B4-BE49-F238E27FC236}">
                <a16:creationId xmlns:a16="http://schemas.microsoft.com/office/drawing/2014/main" id="{264AD4AF-BFAF-41A4-A853-D28866AECC69}"/>
              </a:ext>
            </a:extLst>
          </p:cNvPr>
          <p:cNvSpPr/>
          <p:nvPr/>
        </p:nvSpPr>
        <p:spPr bwMode="auto">
          <a:xfrm>
            <a:off x="5517437" y="4669651"/>
            <a:ext cx="196787" cy="324000"/>
          </a:xfrm>
          <a:prstGeom prst="downArrow">
            <a:avLst/>
          </a:prstGeom>
          <a:solidFill>
            <a:srgbClr val="C30C3E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75" name="Down Arrow 60">
            <a:extLst>
              <a:ext uri="{FF2B5EF4-FFF2-40B4-BE49-F238E27FC236}">
                <a16:creationId xmlns:a16="http://schemas.microsoft.com/office/drawing/2014/main" id="{12E444E8-2BDE-4F84-8226-DD17626F8502}"/>
              </a:ext>
            </a:extLst>
          </p:cNvPr>
          <p:cNvSpPr/>
          <p:nvPr/>
        </p:nvSpPr>
        <p:spPr bwMode="auto">
          <a:xfrm>
            <a:off x="11414864" y="2576689"/>
            <a:ext cx="196787" cy="324000"/>
          </a:xfrm>
          <a:prstGeom prst="downArrow">
            <a:avLst/>
          </a:prstGeom>
          <a:solidFill>
            <a:srgbClr val="C30C3E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76" name="Down Arrow 258">
            <a:extLst>
              <a:ext uri="{FF2B5EF4-FFF2-40B4-BE49-F238E27FC236}">
                <a16:creationId xmlns:a16="http://schemas.microsoft.com/office/drawing/2014/main" id="{C50BC9B8-BD95-451A-BEAC-70CD5942C3FD}"/>
              </a:ext>
            </a:extLst>
          </p:cNvPr>
          <p:cNvSpPr/>
          <p:nvPr/>
        </p:nvSpPr>
        <p:spPr bwMode="auto">
          <a:xfrm flipV="1">
            <a:off x="5517437" y="3207605"/>
            <a:ext cx="198000" cy="324000"/>
          </a:xfrm>
          <a:prstGeom prst="downArrow">
            <a:avLst/>
          </a:prstGeom>
          <a:solidFill>
            <a:srgbClr val="007770"/>
          </a:solidFill>
          <a:ln w="9525" cap="flat" cmpd="sng" algn="ctr">
            <a:solidFill>
              <a:srgbClr val="00777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92" name="Down Arrow 60">
            <a:extLst>
              <a:ext uri="{FF2B5EF4-FFF2-40B4-BE49-F238E27FC236}">
                <a16:creationId xmlns:a16="http://schemas.microsoft.com/office/drawing/2014/main" id="{2F3EBF16-B3B6-4A62-B340-E1E9872A8437}"/>
              </a:ext>
            </a:extLst>
          </p:cNvPr>
          <p:cNvSpPr/>
          <p:nvPr/>
        </p:nvSpPr>
        <p:spPr bwMode="auto">
          <a:xfrm>
            <a:off x="11414864" y="4879545"/>
            <a:ext cx="196787" cy="324000"/>
          </a:xfrm>
          <a:prstGeom prst="downArrow">
            <a:avLst/>
          </a:prstGeom>
          <a:solidFill>
            <a:srgbClr val="C30C3E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247" name="Text Placeholder 1">
            <a:extLst>
              <a:ext uri="{FF2B5EF4-FFF2-40B4-BE49-F238E27FC236}">
                <a16:creationId xmlns:a16="http://schemas.microsoft.com/office/drawing/2014/main" id="{43425D2C-14BC-BADC-5F79-425E4D00B3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6250" y="6397625"/>
            <a:ext cx="7561263" cy="111125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  <p:sp>
        <p:nvSpPr>
          <p:cNvPr id="94" name="Down Arrow 258">
            <a:extLst>
              <a:ext uri="{FF2B5EF4-FFF2-40B4-BE49-F238E27FC236}">
                <a16:creationId xmlns:a16="http://schemas.microsoft.com/office/drawing/2014/main" id="{E248C099-1C40-70A7-22F4-29BD61DFFE33}"/>
              </a:ext>
            </a:extLst>
          </p:cNvPr>
          <p:cNvSpPr/>
          <p:nvPr/>
        </p:nvSpPr>
        <p:spPr bwMode="auto">
          <a:xfrm flipV="1">
            <a:off x="11409800" y="4165450"/>
            <a:ext cx="198000" cy="324000"/>
          </a:xfrm>
          <a:prstGeom prst="downArrow">
            <a:avLst/>
          </a:prstGeom>
          <a:solidFill>
            <a:srgbClr val="007770"/>
          </a:solidFill>
          <a:ln w="9525" cap="flat" cmpd="sng" algn="ctr">
            <a:solidFill>
              <a:srgbClr val="00777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227689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248764A-8947-426D-9B8F-679FB0D21B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37744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592" imgH="591" progId="TCLayout.ActiveDocument.1">
                  <p:embed/>
                </p:oleObj>
              </mc:Choice>
              <mc:Fallback>
                <p:oleObj name="think-cell Slide" r:id="rId55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248764A-8947-426D-9B8F-679FB0D21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900" dirty="0" err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4007C1-D739-4EE8-AA67-4EADBBFE009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REIMBURSED MARKE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C2F8F7-85C5-496F-8D0F-A4F6F6E7E5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7012" y="6118280"/>
            <a:ext cx="11246241" cy="110800"/>
          </a:xfrm>
        </p:spPr>
        <p:txBody>
          <a:bodyPr/>
          <a:lstStyle/>
          <a:p>
            <a:r>
              <a:rPr lang="en-US" dirty="0"/>
              <a:t>1. PSP= Pharmacy Selling Price; 2. Excluding L.3816 drugs; 3. Classification by Ox and </a:t>
            </a:r>
            <a:r>
              <a:rPr lang="en-US" dirty="0" err="1"/>
              <a:t>Gx</a:t>
            </a:r>
            <a:r>
              <a:rPr lang="en-US" dirty="0"/>
              <a:t> is based on EOF flag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ales Value by price group at PSP</a:t>
            </a:r>
            <a:r>
              <a:rPr lang="en-US" baseline="30000" dirty="0"/>
              <a:t>1</a:t>
            </a:r>
            <a:r>
              <a:rPr lang="en-US" dirty="0"/>
              <a:t> level (Reimbursed drugs only</a:t>
            </a:r>
            <a:r>
              <a:rPr lang="en-US" baseline="30000" dirty="0"/>
              <a:t>2</a:t>
            </a:r>
            <a:r>
              <a:rPr lang="en-US" dirty="0"/>
              <a:t>) – MAT/03/23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rugs with PSP&lt;€15 account for ~38% of the Reimbursed market in values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5694B649-6938-23B4-AD31-637B3BFC732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14121435"/>
              </p:ext>
            </p:extLst>
          </p:nvPr>
        </p:nvGraphicFramePr>
        <p:xfrm>
          <a:off x="512763" y="2225675"/>
          <a:ext cx="11176000" cy="2789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98" name="Text Placeholder 431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8183563" y="4503738"/>
            <a:ext cx="1587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32496D4-4137-48EA-A941-8906E67CE2A3}" type="datetime'''''''''''''''''''''''6''''''''''''''1''''''''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61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 useBgFill="1">
        <p:nvSpPr>
          <p:cNvPr id="44" name="Text Placeholder 426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825875" y="3817938"/>
            <a:ext cx="222250" cy="136525"/>
          </a:xfrm>
          <a:prstGeom prst="rect">
            <a:avLst/>
          </a:prstGeom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7B03881-09BF-4FFE-9C6B-24A1D4B4A368}" type="datetime'''''''''''''''''''''''2''''''''''''''''''''47'''''''''">
              <a:rPr lang="en-US" altLang="en-US" sz="900" b="0" smtClean="0">
                <a:solidFill>
                  <a:schemeClr val="tx1"/>
                </a:solidFill>
              </a:rPr>
              <a:pPr/>
              <a:t>247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FD5C8F5-6293-4D8A-BBED-7B3E13180259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293813" y="3878263"/>
            <a:ext cx="9525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C6594C4-002D-462F-A6C4-D87844587C82}" type="datetime'''''''''''''''''''''''''''''''''''''''1''''''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80" name="Text Placeholder 425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095500" y="2324100"/>
            <a:ext cx="2222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DB30D83-1CBF-42D8-B1FD-EECC9A4D34BE}" type="datetime'6''''''''''''''''''''''4''''''''''9''''''''''''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649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87" name="Rectangle 86"/>
          <p:cNvSpPr/>
          <p:nvPr>
            <p:custDataLst>
              <p:tags r:id="rId8"/>
            </p:custDataLst>
          </p:nvPr>
        </p:nvSpPr>
        <p:spPr bwMode="auto">
          <a:xfrm>
            <a:off x="620713" y="1892300"/>
            <a:ext cx="5778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PSP Sales </a:t>
            </a:r>
          </a:p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(In </a:t>
            </a:r>
            <a:r>
              <a:rPr lang="el-GR" sz="900" dirty="0">
                <a:latin typeface="Arial"/>
                <a:cs typeface="Arial"/>
                <a:sym typeface="Arial"/>
              </a:rPr>
              <a:t>Μ€</a:t>
            </a:r>
            <a:r>
              <a:rPr lang="en-US" sz="900" dirty="0">
                <a:latin typeface="Arial"/>
                <a:cs typeface="Arial"/>
                <a:sym typeface="Arial"/>
              </a:rPr>
              <a:t>)</a:t>
            </a:r>
            <a:endParaRPr lang="el-GR" sz="900" dirty="0">
              <a:latin typeface="Arial"/>
              <a:cs typeface="Arial"/>
              <a:sym typeface="Arial"/>
            </a:endParaRPr>
          </a:p>
        </p:txBody>
      </p:sp>
      <p:sp>
        <p:nvSpPr>
          <p:cNvPr id="92" name="Text Placeholder 43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9913938" y="4408488"/>
            <a:ext cx="1587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D384172-4A94-4A14-9D91-19D737E6C6AD}" type="datetime'''''''9''''''''''''''''''''''''''''5''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95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8FB157-3195-4933-910C-22FA20C096AC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2127250" y="2460625"/>
            <a:ext cx="15875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BCED268-61D8-440C-B9EB-48AFC8CF7D3E}" type="datetime'''''''''''''''''1''''''''''''''''''''''''''''3'">
              <a:rPr lang="en-US" altLang="en-US" sz="900" smtClean="0">
                <a:solidFill>
                  <a:schemeClr val="tx1"/>
                </a:solidFill>
                <a:effectLst/>
              </a:rPr>
              <a:pPr/>
              <a:t>13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D52726F-E790-421F-8CA0-21FDCCE3CEA4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8961438" y="4122738"/>
            <a:ext cx="95250" cy="1365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D06D642-06B0-4634-B56C-F5097CF54923}" type="datetime'''''''''''''''''4'''''''''''''''''">
              <a:rPr lang="en-US" altLang="en-US" sz="900" smtClean="0">
                <a:solidFill>
                  <a:schemeClr val="bg1"/>
                </a:solidFill>
                <a:effectLst/>
              </a:rPr>
              <a:pPr/>
              <a:t>4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86" name="Rectangle 85"/>
          <p:cNvSpPr/>
          <p:nvPr>
            <p:custDataLst>
              <p:tags r:id="rId12"/>
            </p:custDataLst>
          </p:nvPr>
        </p:nvSpPr>
        <p:spPr bwMode="auto">
          <a:xfrm>
            <a:off x="11002963" y="1746250"/>
            <a:ext cx="577850" cy="4095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%</a:t>
            </a:r>
          </a:p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 total sales </a:t>
            </a:r>
          </a:p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in values</a:t>
            </a:r>
            <a:endParaRPr lang="el-GR" sz="900" dirty="0">
              <a:latin typeface="Arial"/>
              <a:cs typeface="Arial"/>
              <a:sym typeface="Arial"/>
            </a:endParaRPr>
          </a:p>
        </p:txBody>
      </p:sp>
      <p:sp>
        <p:nvSpPr>
          <p:cNvPr id="82" name="Rectangle 81"/>
          <p:cNvSpPr/>
          <p:nvPr>
            <p:custDataLst>
              <p:tags r:id="rId13"/>
            </p:custDataLst>
          </p:nvPr>
        </p:nvSpPr>
        <p:spPr bwMode="auto">
          <a:xfrm>
            <a:off x="1173163" y="4962525"/>
            <a:ext cx="3365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C2EF9990-9155-48CE-800A-B8E4F63B557C}" type="datetime'0''.0''''0-''''''''''''''&#10;''''4''''''''''''''.''''9''''9'''''">
              <a:rPr lang="en-US" altLang="en-US" sz="900">
                <a:cs typeface="Arial" panose="020B0604020202020204" pitchFamily="34" charset="0"/>
              </a:rPr>
              <a:pPr/>
              <a:t>0.00-
4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79" name="Rectangle 78"/>
          <p:cNvSpPr/>
          <p:nvPr>
            <p:custDataLst>
              <p:tags r:id="rId14"/>
            </p:custDataLst>
          </p:nvPr>
        </p:nvSpPr>
        <p:spPr bwMode="auto">
          <a:xfrm>
            <a:off x="2038350" y="4962525"/>
            <a:ext cx="3365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EDB2D838-E360-4297-BD92-D2AA6BCC2565}" type="datetime'5''''''''.''''''0''0''-''''''''''&#10;''9''''.''''''''''''99'">
              <a:rPr lang="en-US" altLang="en-US" sz="900">
                <a:cs typeface="Arial" panose="020B0604020202020204" pitchFamily="34" charset="0"/>
              </a:rPr>
              <a:pPr/>
              <a:t>5.00-
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685EEAE-2134-44D7-9AFE-F5B72688B02B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3024188" y="3321050"/>
            <a:ext cx="9525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6AFAFEF-1C2D-433A-966A-C3ECF5BCC438}" type="datetime'''''''''''''''0'''''''''''">
              <a:rPr lang="en-US" altLang="en-US" sz="900" smtClean="0">
                <a:solidFill>
                  <a:schemeClr val="tx1"/>
                </a:solidFill>
                <a:effectLst/>
              </a:rPr>
              <a:pPr/>
              <a:t>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46" name="Rectangle 45"/>
          <p:cNvSpPr/>
          <p:nvPr>
            <p:custDataLst>
              <p:tags r:id="rId16"/>
            </p:custDataLst>
          </p:nvPr>
        </p:nvSpPr>
        <p:spPr bwMode="auto">
          <a:xfrm>
            <a:off x="2871788" y="4962525"/>
            <a:ext cx="4000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43FDC49E-1272-4EAC-B2DE-0677EF510756}" type="datetime'10.''''0''0-''&#10;1''''''''4''''''.''''''''9''''''''9'''''">
              <a:rPr lang="en-US" altLang="en-US" sz="900">
                <a:cs typeface="Arial" panose="020B0604020202020204" pitchFamily="34" charset="0"/>
              </a:rPr>
              <a:pPr/>
              <a:t>10.00-
14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2EE18AC-D475-474E-B5CA-EC419F943E93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3857625" y="3954463"/>
            <a:ext cx="15875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27BA148-B1D8-44E1-9F62-0E1190B33A2A}" type="datetime'1''''1'''''''''''''''''''''''''''''">
              <a:rPr lang="en-US" altLang="en-US" sz="900" smtClean="0">
                <a:solidFill>
                  <a:schemeClr val="tx1"/>
                </a:solidFill>
                <a:effectLst/>
              </a:rPr>
              <a:pPr/>
              <a:t>11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93" name="Rectangle 92"/>
          <p:cNvSpPr/>
          <p:nvPr>
            <p:custDataLst>
              <p:tags r:id="rId18"/>
            </p:custDataLst>
          </p:nvPr>
        </p:nvSpPr>
        <p:spPr bwMode="auto">
          <a:xfrm>
            <a:off x="8896350" y="4962525"/>
            <a:ext cx="4635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719BB54E-F757-4A07-8C8B-63832CCADD66}" type="datetime'1''''''''''00''.0''0-''''''''''&#10;''''1''4''9''''.''''''9''9'''">
              <a:rPr lang="en-US" altLang="en-US" sz="900">
                <a:cs typeface="Arial" panose="020B0604020202020204" pitchFamily="34" charset="0"/>
              </a:rPr>
              <a:pPr/>
              <a:t>100.00-
14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43" name="Rectangle 42"/>
          <p:cNvSpPr/>
          <p:nvPr>
            <p:custDataLst>
              <p:tags r:id="rId19"/>
            </p:custDataLst>
          </p:nvPr>
        </p:nvSpPr>
        <p:spPr bwMode="auto">
          <a:xfrm>
            <a:off x="3736975" y="4962525"/>
            <a:ext cx="4000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1F7DCD54-004E-4942-A12C-ACE5F9AE0A2B}" type="datetime'1''''5''.''''''''''0''''''''''0-&#10;''''1''''9''''''''''''.''99'">
              <a:rPr lang="en-US" altLang="en-US" sz="900">
                <a:cs typeface="Arial" panose="020B0604020202020204" pitchFamily="34" charset="0"/>
              </a:rPr>
              <a:pPr/>
              <a:t>15.00-
1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E0151B-307B-4A91-8FA5-50FAFFF0A9DC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8335963" y="4640263"/>
            <a:ext cx="95250" cy="1365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0D5BAB3-613F-4EBE-BA56-D8B0745B2958}" type="datetime'''''2'''''''''''''''">
              <a:rPr lang="en-US" altLang="en-US" sz="900" smtClean="0">
                <a:solidFill>
                  <a:schemeClr val="bg1"/>
                </a:solidFill>
                <a:effectLst/>
              </a:rPr>
              <a:pPr/>
              <a:t>2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C5FF328-01B5-4DBF-8D9A-DF5745013B80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4722813" y="3770313"/>
            <a:ext cx="15875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C30A0A7-F40F-4E31-8D0B-EDCECF5B291A}" type="datetime'2''''''''''''''''''9'''''''''''''''''''''''''">
              <a:rPr lang="en-US" altLang="en-US" sz="900" smtClean="0">
                <a:solidFill>
                  <a:schemeClr val="tx1"/>
                </a:solidFill>
                <a:effectLst/>
              </a:rPr>
              <a:pPr/>
              <a:t>29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96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9201150" y="4116388"/>
            <a:ext cx="95250" cy="136525"/>
          </a:xfrm>
          <a:prstGeom prst="rect">
            <a:avLst/>
          </a:prstGeom>
          <a:solidFill>
            <a:srgbClr val="CAE3FF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6DB8D0BA-8C71-418B-B73F-8DB6920CDAEA}" type="datetime'''''''''''''''''''''''0'''">
              <a:rPr lang="en-US" altLang="en-US" sz="900" smtClean="0">
                <a:solidFill>
                  <a:schemeClr val="tx1"/>
                </a:solidFill>
              </a:rPr>
              <a:pPr/>
              <a:t>0</a:t>
            </a:fld>
            <a:endParaRPr lang="el-GR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1" name="Rectangle 110"/>
          <p:cNvSpPr/>
          <p:nvPr>
            <p:custDataLst>
              <p:tags r:id="rId23"/>
            </p:custDataLst>
          </p:nvPr>
        </p:nvSpPr>
        <p:spPr bwMode="auto">
          <a:xfrm>
            <a:off x="4602163" y="4962525"/>
            <a:ext cx="4000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73089E65-DFD7-479D-BA73-F8212997DE0A}" type="datetime'2''''''''''''0''''''''''''''.''''0''0''''-''&#10;''29''.''9''9'''">
              <a:rPr lang="en-US" altLang="en-US" sz="900">
                <a:cs typeface="Arial" panose="020B0604020202020204" pitchFamily="34" charset="0"/>
              </a:rPr>
              <a:pPr/>
              <a:t>20.00-
2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08" name="Rectangle 107"/>
          <p:cNvSpPr/>
          <p:nvPr>
            <p:custDataLst>
              <p:tags r:id="rId24"/>
            </p:custDataLst>
          </p:nvPr>
        </p:nvSpPr>
        <p:spPr bwMode="auto">
          <a:xfrm>
            <a:off x="5467350" y="4962525"/>
            <a:ext cx="4000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5EC284B0-8FC1-4D34-B32B-16F0EA137578}" type="datetime'3''0.0''0''-&#10;''''''''3''9''''''''''''''''''.''''''9''9'''''''">
              <a:rPr lang="en-US" altLang="en-US" sz="900">
                <a:cs typeface="Arial" panose="020B0604020202020204" pitchFamily="34" charset="0"/>
              </a:rPr>
              <a:pPr/>
              <a:t>30.00-
3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03ED9AB-44C0-4E00-9804-4757BAB1D4E8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6334125" y="3638550"/>
            <a:ext cx="158750" cy="136525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748DFBB-7DAE-46BA-8A5B-0ADA420913D1}" type="datetime'''''''''''''''''''''''''''''''''''''2''''''''''1'''">
              <a:rPr lang="en-US" altLang="en-US" sz="900" smtClean="0">
                <a:solidFill>
                  <a:schemeClr val="bg1"/>
                </a:solidFill>
                <a:effectLst/>
              </a:rPr>
              <a:pPr/>
              <a:t>21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07" name="Text Placeholder 45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605588" y="3600450"/>
            <a:ext cx="95250" cy="136525"/>
          </a:xfrm>
          <a:prstGeom prst="rect">
            <a:avLst/>
          </a:prstGeom>
          <a:solidFill>
            <a:srgbClr val="CAE3FF"/>
          </a:solidFill>
          <a:effectLst/>
        </p:spPr>
        <p:txBody>
          <a:bodyPr vert="horz" wrap="none" lIns="15875" tIns="0" rIns="1587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B7749E1-F8F3-4013-9A11-56C5E6BBBC5C}" type="datetime'''''''''''''''''''''''''''''''''''''''''''''0'''''''''''">
              <a:rPr lang="en-US" altLang="en-US" sz="900" b="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0</a:t>
            </a:fld>
            <a:endParaRPr lang="el-GR" sz="9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04" name="Rectangle 103"/>
          <p:cNvSpPr/>
          <p:nvPr>
            <p:custDataLst>
              <p:tags r:id="rId27"/>
            </p:custDataLst>
          </p:nvPr>
        </p:nvSpPr>
        <p:spPr bwMode="auto">
          <a:xfrm>
            <a:off x="6332538" y="4962525"/>
            <a:ext cx="4000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25242CB1-AD49-4A83-A491-37858CDB6CE7}" type="datetime'''''4''0''''.0''0-&#10;''''''4''9''''''''''''''.''9''''''''''9'">
              <a:rPr lang="en-US" altLang="en-US" sz="900">
                <a:cs typeface="Arial" panose="020B0604020202020204" pitchFamily="34" charset="0"/>
              </a:rPr>
              <a:pPr/>
              <a:t>40.00-
4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03" name="Text Placeholder 447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470775" y="2782888"/>
            <a:ext cx="95250" cy="136525"/>
          </a:xfrm>
          <a:prstGeom prst="rect">
            <a:avLst/>
          </a:prstGeom>
          <a:solidFill>
            <a:srgbClr val="CAE3FF"/>
          </a:solidFill>
          <a:effectLst/>
        </p:spPr>
        <p:txBody>
          <a:bodyPr vert="horz" wrap="none" lIns="15875" tIns="0" rIns="1587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BCEAF51-DCCC-49B9-9C84-2F893079650B}" type="datetime'''''''''''''''1'''''''''''">
              <a:rPr lang="en-US" altLang="en-US" sz="900" b="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1</a:t>
            </a:fld>
            <a:endParaRPr lang="el-GR" sz="9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346058C-462F-41A4-9362-637B20516610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7199313" y="2836863"/>
            <a:ext cx="158750" cy="136525"/>
          </a:xfrm>
          <a:prstGeom prst="rect">
            <a:avLst/>
          </a:prstGeom>
          <a:solidFill>
            <a:srgbClr val="25B4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3FCFF10-1642-4F95-AB57-C5FFC1FFAD11}" type="datetime'''''2''''''''''''''''''''''''''8'''''''''''">
              <a:rPr lang="en-US" altLang="en-US" sz="900" smtClean="0">
                <a:solidFill>
                  <a:schemeClr val="bg1"/>
                </a:solidFill>
                <a:effectLst/>
              </a:rPr>
              <a:pPr/>
              <a:t>28</a:t>
            </a:fld>
            <a:endParaRPr lang="en-US" sz="900" dirty="0" err="1">
              <a:solidFill>
                <a:schemeClr val="bg1"/>
              </a:solidFill>
              <a:sym typeface="+mn-lt"/>
            </a:endParaRPr>
          </a:p>
        </p:txBody>
      </p:sp>
      <p:sp useBgFill="1">
        <p:nvSpPr>
          <p:cNvPr id="101" name="Text Placeholder 430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286625" y="2646363"/>
            <a:ext cx="222250" cy="136525"/>
          </a:xfrm>
          <a:prstGeom prst="rect">
            <a:avLst/>
          </a:prstGeom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72F8BDC-6B69-4ECA-B588-2F7DF984E073}" type="datetime'''''''''5''5''''''''''''7''''''''''''''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557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00" name="Rectangle 99"/>
          <p:cNvSpPr/>
          <p:nvPr>
            <p:custDataLst>
              <p:tags r:id="rId31"/>
            </p:custDataLst>
          </p:nvPr>
        </p:nvSpPr>
        <p:spPr bwMode="auto">
          <a:xfrm>
            <a:off x="7197725" y="4962525"/>
            <a:ext cx="4000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50B99548-8D17-4004-B7DC-DE76CF90C603}" type="datetime'50''''''''''''''.''0''0-''''''''''&#10;74''''.''''''''''''99'''">
              <a:rPr lang="en-US" altLang="en-US" sz="900">
                <a:cs typeface="Arial" panose="020B0604020202020204" pitchFamily="34" charset="0"/>
              </a:rPr>
              <a:pPr/>
              <a:t>50.00-
74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77" name="Text Placeholder 8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960688" y="3184525"/>
            <a:ext cx="222250" cy="13652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02DBAC5-BF41-46B3-92B6-A87EB894B146}" type="datetime'''4''1''''''''''''''''''''2'''''''''''''''''''''">
              <a:rPr lang="en-US" altLang="en-US" sz="900" b="0" smtClean="0">
                <a:solidFill>
                  <a:schemeClr val="tx1"/>
                </a:solidFill>
              </a:rPr>
              <a:pPr/>
              <a:t>412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97" name="Rectangle 96"/>
          <p:cNvSpPr/>
          <p:nvPr>
            <p:custDataLst>
              <p:tags r:id="rId33"/>
            </p:custDataLst>
          </p:nvPr>
        </p:nvSpPr>
        <p:spPr bwMode="auto">
          <a:xfrm>
            <a:off x="8062913" y="4962525"/>
            <a:ext cx="4000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938E0A9C-0BEE-464E-852E-2D8CDE8DD87B}" type="datetime'''7''5.0''''''''0''''''''-&#10;''99''''''''''''.9''''''''''''''9'">
              <a:rPr lang="en-US" altLang="en-US" sz="900">
                <a:cs typeface="Arial" panose="020B0604020202020204" pitchFamily="34" charset="0"/>
              </a:rPr>
              <a:pPr/>
              <a:t>75.00-
9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88" name="Rectangle 87"/>
          <p:cNvSpPr/>
          <p:nvPr>
            <p:custDataLst>
              <p:tags r:id="rId34"/>
            </p:custDataLst>
          </p:nvPr>
        </p:nvSpPr>
        <p:spPr bwMode="auto">
          <a:xfrm>
            <a:off x="10693400" y="4962525"/>
            <a:ext cx="3302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≥€</a:t>
            </a:r>
            <a:fld id="{978AC733-3A06-4994-985F-0ADFAE9A492D}" type="datetime'''2''''''''''0''''''''''''''''''''''''0'''''''''">
              <a:rPr lang="en-US" altLang="en-US" sz="900">
                <a:cs typeface="Arial" panose="020B0604020202020204" pitchFamily="34" charset="0"/>
              </a:rPr>
              <a:pPr/>
              <a:t>200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91" name="Rectangle 90"/>
          <p:cNvSpPr/>
          <p:nvPr>
            <p:custDataLst>
              <p:tags r:id="rId35"/>
            </p:custDataLst>
          </p:nvPr>
        </p:nvSpPr>
        <p:spPr bwMode="auto">
          <a:xfrm>
            <a:off x="9761538" y="4962525"/>
            <a:ext cx="4635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373DC6DC-FBC9-4ED2-968B-99C99AE06C6D}" type="datetime'''1''5''0''''''''''.0''''0''''''''-&#10;''1''99''.99'''''''''''''">
              <a:rPr lang="en-US" altLang="en-US" sz="900">
                <a:cs typeface="Arial" panose="020B0604020202020204" pitchFamily="34" charset="0"/>
              </a:rPr>
              <a:pPr/>
              <a:t>150.00-
19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83" name="Text Placeholder 424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230313" y="3741738"/>
            <a:ext cx="2222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F0362FC-B600-4BF3-A934-21D338D5530B}" type="datetime'''''''''''''''''''''''''''''''''''''''''''''2''''''''63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263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12" name="Text Placeholder 427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691063" y="3622675"/>
            <a:ext cx="222250" cy="13652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0D908A3-2FF3-4BDD-87EC-B351635723D5}" type="datetime'''''''''''''3''''''''''0''''6'''''''''''''''''''''''''">
              <a:rPr lang="en-US" altLang="en-US" sz="900" b="0" smtClean="0">
                <a:solidFill>
                  <a:schemeClr val="tx1"/>
                </a:solidFill>
              </a:rPr>
              <a:pPr/>
              <a:t>306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09" name="Text Placeholder 428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556250" y="3565525"/>
            <a:ext cx="222250" cy="13652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6A410ED-1CED-4FF9-8121-F9E909ECCBD3}" type="datetime'3''''''''''2''''''''''''''''''''''''''''''''''''''1''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321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05" name="Text Placeholder 429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421438" y="3463925"/>
            <a:ext cx="222250" cy="13652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CBDF5C0-993A-45E6-99BD-559BF30216FF}" type="datetime'''''''''''''''3''''''''3''''''''''''''''''''''''''7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337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94" name="Text Placeholder 432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9017000" y="3979863"/>
            <a:ext cx="2222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F3939F2-7BEB-4CBA-8E0F-CD84E735AE93}" type="datetime'''''''''''''1''''''''''''''''''''''9''''''''''''''''''9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199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89" name="Text Placeholder 44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0779125" y="4632325"/>
            <a:ext cx="1587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86CD046-3213-43E2-B256-06CFB9BC7EBA}" type="datetime'''''''''''''''''''''''''''''''3''''''''5''''''''''''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35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18" name="Rectangle 117"/>
          <p:cNvSpPr/>
          <p:nvPr>
            <p:custDataLst>
              <p:tags r:id="rId42"/>
            </p:custDataLst>
          </p:nvPr>
        </p:nvSpPr>
        <p:spPr bwMode="auto">
          <a:xfrm>
            <a:off x="2411413" y="5859463"/>
            <a:ext cx="160338" cy="120650"/>
          </a:xfrm>
          <a:prstGeom prst="rect">
            <a:avLst/>
          </a:prstGeom>
          <a:solidFill>
            <a:srgbClr val="CAE3F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A149EE1-2F9B-46F1-A74C-375B484D8338}"/>
              </a:ext>
            </a:extLst>
          </p:cNvPr>
          <p:cNvCxnSpPr/>
          <p:nvPr>
            <p:custDataLst>
              <p:tags r:id="rId43"/>
            </p:custDataLst>
          </p:nvPr>
        </p:nvCxnSpPr>
        <p:spPr bwMode="gray">
          <a:xfrm>
            <a:off x="941388" y="5919788"/>
            <a:ext cx="131763" cy="0"/>
          </a:xfrm>
          <a:prstGeom prst="line">
            <a:avLst/>
          </a:prstGeom>
          <a:ln w="28575" cap="rnd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2F91854-6786-46C7-8CE5-1F0D2C68D291}"/>
              </a:ext>
            </a:extLst>
          </p:cNvPr>
          <p:cNvCxnSpPr/>
          <p:nvPr>
            <p:custDataLst>
              <p:tags r:id="rId44"/>
            </p:custDataLst>
          </p:nvPr>
        </p:nvCxnSpPr>
        <p:spPr bwMode="gray">
          <a:xfrm>
            <a:off x="1508125" y="5919788"/>
            <a:ext cx="131763" cy="0"/>
          </a:xfrm>
          <a:prstGeom prst="line">
            <a:avLst/>
          </a:prstGeom>
          <a:ln w="28575" cap="rnd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A61F3BC-E820-4E14-B495-6514A18CF9AF}"/>
              </a:ext>
            </a:extLst>
          </p:cNvPr>
          <p:cNvCxnSpPr/>
          <p:nvPr>
            <p:custDataLst>
              <p:tags r:id="rId45"/>
            </p:custDataLst>
          </p:nvPr>
        </p:nvCxnSpPr>
        <p:spPr bwMode="gray">
          <a:xfrm>
            <a:off x="1966913" y="5919788"/>
            <a:ext cx="131763" cy="0"/>
          </a:xfrm>
          <a:prstGeom prst="line">
            <a:avLst/>
          </a:prstGeom>
          <a:ln w="28575" cap="rnd" cmpd="sng" algn="ctr">
            <a:solidFill>
              <a:srgbClr val="25B4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6" name="Rectangle 115"/>
          <p:cNvSpPr/>
          <p:nvPr>
            <p:custDataLst>
              <p:tags r:id="rId46"/>
            </p:custDataLst>
          </p:nvPr>
        </p:nvSpPr>
        <p:spPr bwMode="auto">
          <a:xfrm>
            <a:off x="3200400" y="5859463"/>
            <a:ext cx="160338" cy="120650"/>
          </a:xfrm>
          <a:prstGeom prst="rect">
            <a:avLst/>
          </a:prstGeom>
          <a:solidFill>
            <a:srgbClr val="25B4F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17" name="Rectangle 116"/>
          <p:cNvSpPr/>
          <p:nvPr>
            <p:custDataLst>
              <p:tags r:id="rId47"/>
            </p:custDataLst>
          </p:nvPr>
        </p:nvSpPr>
        <p:spPr bwMode="auto">
          <a:xfrm>
            <a:off x="4224338" y="5859463"/>
            <a:ext cx="160338" cy="120650"/>
          </a:xfrm>
          <a:prstGeom prst="rect">
            <a:avLst/>
          </a:prstGeom>
          <a:solidFill>
            <a:srgbClr val="0070C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24" name="Text Placeholder 444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1138238" y="5856288"/>
            <a:ext cx="2540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1E02FE6-DFA5-47DD-A5CC-F2B8795E2373}" type="datetime'''To''''''''''''''''''t''''''''''al'''''''''''''''''''">
              <a:rPr lang="en-US" altLang="en-US" sz="9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Total</a:t>
            </a:fld>
            <a:endParaRPr lang="el-GR" sz="900" b="0" dirty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22" name="Text Placeholder 9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2163763" y="5856288"/>
            <a:ext cx="1460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F2E82E6-DB07-447F-87B6-F19AC6256FDF}" type="datetime'''''''''''''''G''''''x'''''''''''''''''''''''''''''''''''">
              <a:rPr lang="en-US" altLang="en-US" sz="9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Gx</a:t>
            </a:fld>
            <a:endParaRPr lang="el-GR" sz="9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23" name="Text Placeholder 47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704975" y="5856288"/>
            <a:ext cx="1460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28A5D34B-97AB-40B3-98B5-4E2ACF595F8E}" type="datetime'''''O''''''''''''''''''''''''''''''''''''x'''''''''''''''''">
              <a:rPr lang="en-US" altLang="en-US" sz="9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Ox</a:t>
            </a:fld>
            <a:endParaRPr lang="el-GR" sz="9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19" name="Text Placeholder 44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4435475" y="5856288"/>
            <a:ext cx="704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23A120D-2D85-47AD-8145-E5F195DBA88D}" type="datetime'''O''r''''''igin''''''''''''''''''a''''''ls ''''(O''x'''')'''">
              <a:rPr lang="en-US" altLang="en-US" sz="9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Originals (Ox)</a:t>
            </a:fld>
            <a:endParaRPr lang="el-GR" sz="900" b="0" dirty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20" name="Text Placeholder 441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3411538" y="5856288"/>
            <a:ext cx="7112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0A3F014-5FDB-48A5-A869-E506F024EBC8}" type="datetime'G''''e''''ne''ri''cs'''''''''''' ''(''G''x'''''''''')'">
              <a:rPr lang="en-US" altLang="en-US" sz="9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Generics (Gx)</a:t>
            </a:fld>
            <a:endParaRPr lang="el-GR" sz="9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21" name="Text Placeholder 445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2622550" y="5856288"/>
            <a:ext cx="4762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A36623C-DC12-422C-93F5-969E9F8EEE00}" type="datetime'''''''''''''U''''nk''''''n''ow''''''''''''n'''''''">
              <a:rPr lang="en-US" altLang="en-US" sz="9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Unknown</a:t>
            </a:fld>
            <a:endParaRPr lang="el-GR" sz="9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266023" y="5366356"/>
            <a:ext cx="576000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800" dirty="0">
                <a:latin typeface="+mj-lt"/>
                <a:sym typeface="+mn-lt"/>
              </a:rPr>
              <a:t>%</a:t>
            </a:r>
          </a:p>
          <a:p>
            <a:pPr algn="ctr"/>
            <a:r>
              <a:rPr lang="en-US" sz="800" dirty="0">
                <a:latin typeface="+mj-lt"/>
                <a:sym typeface="+mn-lt"/>
              </a:rPr>
              <a:t> total sales </a:t>
            </a:r>
          </a:p>
          <a:p>
            <a:pPr algn="ctr"/>
            <a:r>
              <a:rPr lang="en-US" sz="800" dirty="0">
                <a:latin typeface="+mj-lt"/>
                <a:sym typeface="+mn-lt"/>
              </a:rPr>
              <a:t>in values</a:t>
            </a:r>
            <a:endParaRPr lang="el-GR" sz="800" baseline="30000" dirty="0">
              <a:latin typeface="+mj-lt"/>
              <a:sym typeface="+mn-lt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10895527" y="5081670"/>
            <a:ext cx="839084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900" i="1" dirty="0">
                <a:latin typeface="+mj-lt"/>
              </a:rPr>
              <a:t>Price </a:t>
            </a:r>
          </a:p>
          <a:p>
            <a:pPr algn="ctr"/>
            <a:r>
              <a:rPr lang="en-US" sz="900" i="1" dirty="0">
                <a:latin typeface="+mj-lt"/>
              </a:rPr>
              <a:t>groups</a:t>
            </a:r>
            <a:r>
              <a:rPr lang="en-US" sz="900" i="1" baseline="30000" dirty="0">
                <a:latin typeface="+mj-lt"/>
              </a:rPr>
              <a:t>3</a:t>
            </a:r>
            <a:endParaRPr lang="el-GR" sz="900" i="1" baseline="30000" dirty="0">
              <a:latin typeface="+mj-lt"/>
            </a:endParaRPr>
          </a:p>
        </p:txBody>
      </p:sp>
      <p:sp>
        <p:nvSpPr>
          <p:cNvPr id="134" name="Oval 67"/>
          <p:cNvSpPr>
            <a:spLocks noChangeArrowheads="1"/>
          </p:cNvSpPr>
          <p:nvPr/>
        </p:nvSpPr>
        <p:spPr bwMode="auto">
          <a:xfrm>
            <a:off x="1113342" y="545520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>
              <a:defRPr/>
            </a:pPr>
            <a:r>
              <a:rPr lang="en-US" sz="900" dirty="0">
                <a:latin typeface="+mj-lt"/>
              </a:rPr>
              <a:t>7.5%</a:t>
            </a:r>
          </a:p>
        </p:txBody>
      </p:sp>
      <p:sp>
        <p:nvSpPr>
          <p:cNvPr id="135" name="Oval 67"/>
          <p:cNvSpPr>
            <a:spLocks noChangeArrowheads="1"/>
          </p:cNvSpPr>
          <p:nvPr/>
        </p:nvSpPr>
        <p:spPr bwMode="auto">
          <a:xfrm>
            <a:off x="1983460" y="545520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18.6%</a:t>
            </a:r>
          </a:p>
        </p:txBody>
      </p:sp>
      <p:sp>
        <p:nvSpPr>
          <p:cNvPr id="136" name="Oval 67"/>
          <p:cNvSpPr>
            <a:spLocks noChangeArrowheads="1"/>
          </p:cNvSpPr>
          <p:nvPr/>
        </p:nvSpPr>
        <p:spPr bwMode="auto">
          <a:xfrm>
            <a:off x="2853578" y="545520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11.8%</a:t>
            </a:r>
          </a:p>
        </p:txBody>
      </p:sp>
      <p:sp>
        <p:nvSpPr>
          <p:cNvPr id="137" name="Oval 67"/>
          <p:cNvSpPr>
            <a:spLocks noChangeArrowheads="1"/>
          </p:cNvSpPr>
          <p:nvPr/>
        </p:nvSpPr>
        <p:spPr bwMode="auto">
          <a:xfrm>
            <a:off x="3723696" y="545520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7.1%</a:t>
            </a:r>
          </a:p>
        </p:txBody>
      </p:sp>
      <p:sp>
        <p:nvSpPr>
          <p:cNvPr id="138" name="Oval 67"/>
          <p:cNvSpPr>
            <a:spLocks noChangeArrowheads="1"/>
          </p:cNvSpPr>
          <p:nvPr/>
        </p:nvSpPr>
        <p:spPr bwMode="auto">
          <a:xfrm>
            <a:off x="4593814" y="545520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8.8%</a:t>
            </a:r>
          </a:p>
        </p:txBody>
      </p:sp>
      <p:sp>
        <p:nvSpPr>
          <p:cNvPr id="139" name="Oval 67"/>
          <p:cNvSpPr>
            <a:spLocks noChangeArrowheads="1"/>
          </p:cNvSpPr>
          <p:nvPr/>
        </p:nvSpPr>
        <p:spPr bwMode="auto">
          <a:xfrm>
            <a:off x="5463932" y="545520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9.2%</a:t>
            </a:r>
          </a:p>
        </p:txBody>
      </p:sp>
      <p:sp>
        <p:nvSpPr>
          <p:cNvPr id="140" name="Oval 67"/>
          <p:cNvSpPr>
            <a:spLocks noChangeArrowheads="1"/>
          </p:cNvSpPr>
          <p:nvPr/>
        </p:nvSpPr>
        <p:spPr bwMode="auto">
          <a:xfrm>
            <a:off x="6334050" y="545520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9.7%</a:t>
            </a:r>
          </a:p>
        </p:txBody>
      </p:sp>
      <p:sp>
        <p:nvSpPr>
          <p:cNvPr id="141" name="Oval 67"/>
          <p:cNvSpPr>
            <a:spLocks noChangeArrowheads="1"/>
          </p:cNvSpPr>
          <p:nvPr/>
        </p:nvSpPr>
        <p:spPr bwMode="auto">
          <a:xfrm>
            <a:off x="7204168" y="545520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16.0%</a:t>
            </a:r>
          </a:p>
        </p:txBody>
      </p:sp>
      <p:sp>
        <p:nvSpPr>
          <p:cNvPr id="142" name="Rounded Rectangle 141"/>
          <p:cNvSpPr>
            <a:spLocks noChangeArrowheads="1"/>
          </p:cNvSpPr>
          <p:nvPr/>
        </p:nvSpPr>
        <p:spPr bwMode="auto">
          <a:xfrm>
            <a:off x="8074286" y="545520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1.7%</a:t>
            </a:r>
          </a:p>
        </p:txBody>
      </p:sp>
      <p:sp>
        <p:nvSpPr>
          <p:cNvPr id="143" name="Oval 67"/>
          <p:cNvSpPr>
            <a:spLocks noChangeArrowheads="1"/>
          </p:cNvSpPr>
          <p:nvPr/>
        </p:nvSpPr>
        <p:spPr bwMode="auto">
          <a:xfrm>
            <a:off x="8944404" y="545520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5.7%</a:t>
            </a:r>
          </a:p>
        </p:txBody>
      </p:sp>
      <p:sp>
        <p:nvSpPr>
          <p:cNvPr id="144" name="Oval 67"/>
          <p:cNvSpPr>
            <a:spLocks noChangeArrowheads="1"/>
          </p:cNvSpPr>
          <p:nvPr/>
        </p:nvSpPr>
        <p:spPr bwMode="auto">
          <a:xfrm>
            <a:off x="9814522" y="545520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2.7%</a:t>
            </a:r>
          </a:p>
        </p:txBody>
      </p:sp>
      <p:sp>
        <p:nvSpPr>
          <p:cNvPr id="145" name="Oval 67"/>
          <p:cNvSpPr>
            <a:spLocks noChangeArrowheads="1"/>
          </p:cNvSpPr>
          <p:nvPr/>
        </p:nvSpPr>
        <p:spPr bwMode="auto">
          <a:xfrm>
            <a:off x="10684635" y="545520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1.0%</a:t>
            </a:r>
          </a:p>
        </p:txBody>
      </p:sp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D9B23696-B233-3BD8-B71A-D24CA7E41D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6250" y="6397625"/>
            <a:ext cx="7561263" cy="111125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</p:spTree>
    <p:extLst>
      <p:ext uri="{BB962C8B-B14F-4D97-AF65-F5344CB8AC3E}">
        <p14:creationId xmlns:p14="http://schemas.microsoft.com/office/powerpoint/2010/main" val="18737372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248764A-8947-426D-9B8F-679FB0D21B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8509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0" imgW="592" imgH="591" progId="TCLayout.ActiveDocument.1">
                  <p:embed/>
                </p:oleObj>
              </mc:Choice>
              <mc:Fallback>
                <p:oleObj name="think-cell Slide" r:id="rId50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248764A-8947-426D-9B8F-679FB0D21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900" dirty="0" err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4007C1-D739-4EE8-AA67-4EADBBFE009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REIMBURSED MARKE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C2F8F7-85C5-496F-8D0F-A4F6F6E7E5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1. Excluding L.3816 drugs; 2.Classification by Ox and </a:t>
            </a:r>
            <a:r>
              <a:rPr lang="en-US" dirty="0" err="1"/>
              <a:t>Gx</a:t>
            </a:r>
            <a:r>
              <a:rPr lang="en-US" dirty="0"/>
              <a:t> is based on EOF flag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Volume sales by price group (Reimbursed drugs only</a:t>
            </a:r>
            <a:r>
              <a:rPr lang="en-US" baseline="30000" dirty="0"/>
              <a:t>1</a:t>
            </a:r>
            <a:r>
              <a:rPr lang="en-US" dirty="0"/>
              <a:t>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market is concentrated in the low-price segments; Drugs with PSP&lt;€10 account for ~67% of the Reimbursed market in volume</a:t>
            </a:r>
          </a:p>
        </p:txBody>
      </p:sp>
      <p:sp>
        <p:nvSpPr>
          <p:cNvPr id="147" name="Oval 67"/>
          <p:cNvSpPr>
            <a:spLocks noChangeArrowheads="1"/>
          </p:cNvSpPr>
          <p:nvPr/>
        </p:nvSpPr>
        <p:spPr bwMode="auto">
          <a:xfrm>
            <a:off x="1112531" y="5444333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33.5%</a:t>
            </a:r>
          </a:p>
        </p:txBody>
      </p:sp>
      <p:sp>
        <p:nvSpPr>
          <p:cNvPr id="148" name="Oval 67"/>
          <p:cNvSpPr>
            <a:spLocks noChangeArrowheads="1"/>
          </p:cNvSpPr>
          <p:nvPr/>
        </p:nvSpPr>
        <p:spPr bwMode="auto">
          <a:xfrm>
            <a:off x="1982637" y="5444333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33.1%</a:t>
            </a:r>
          </a:p>
        </p:txBody>
      </p:sp>
      <p:sp>
        <p:nvSpPr>
          <p:cNvPr id="149" name="Oval 67"/>
          <p:cNvSpPr>
            <a:spLocks noChangeArrowheads="1"/>
          </p:cNvSpPr>
          <p:nvPr/>
        </p:nvSpPr>
        <p:spPr bwMode="auto">
          <a:xfrm>
            <a:off x="2852743" y="5444333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12.6%</a:t>
            </a:r>
          </a:p>
        </p:txBody>
      </p:sp>
      <p:sp>
        <p:nvSpPr>
          <p:cNvPr id="150" name="Oval 67"/>
          <p:cNvSpPr>
            <a:spLocks noChangeArrowheads="1"/>
          </p:cNvSpPr>
          <p:nvPr/>
        </p:nvSpPr>
        <p:spPr bwMode="auto">
          <a:xfrm>
            <a:off x="3722849" y="5444333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5.3%</a:t>
            </a:r>
          </a:p>
        </p:txBody>
      </p:sp>
      <p:sp>
        <p:nvSpPr>
          <p:cNvPr id="151" name="Oval 67"/>
          <p:cNvSpPr>
            <a:spLocks noChangeArrowheads="1"/>
          </p:cNvSpPr>
          <p:nvPr/>
        </p:nvSpPr>
        <p:spPr bwMode="auto">
          <a:xfrm>
            <a:off x="4592955" y="5444333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4.8%</a:t>
            </a:r>
          </a:p>
        </p:txBody>
      </p:sp>
      <p:sp>
        <p:nvSpPr>
          <p:cNvPr id="152" name="Oval 67"/>
          <p:cNvSpPr>
            <a:spLocks noChangeArrowheads="1"/>
          </p:cNvSpPr>
          <p:nvPr/>
        </p:nvSpPr>
        <p:spPr bwMode="auto">
          <a:xfrm>
            <a:off x="5463061" y="5444333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3.5%</a:t>
            </a:r>
          </a:p>
        </p:txBody>
      </p:sp>
      <p:sp>
        <p:nvSpPr>
          <p:cNvPr id="153" name="Oval 67"/>
          <p:cNvSpPr>
            <a:spLocks noChangeArrowheads="1"/>
          </p:cNvSpPr>
          <p:nvPr/>
        </p:nvSpPr>
        <p:spPr bwMode="auto">
          <a:xfrm>
            <a:off x="6333167" y="5444333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2.8%</a:t>
            </a:r>
          </a:p>
        </p:txBody>
      </p:sp>
      <p:sp>
        <p:nvSpPr>
          <p:cNvPr id="154" name="Oval 67"/>
          <p:cNvSpPr>
            <a:spLocks noChangeArrowheads="1"/>
          </p:cNvSpPr>
          <p:nvPr/>
        </p:nvSpPr>
        <p:spPr bwMode="auto">
          <a:xfrm>
            <a:off x="7203273" y="5444333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3.3%</a:t>
            </a:r>
          </a:p>
        </p:txBody>
      </p:sp>
      <p:sp>
        <p:nvSpPr>
          <p:cNvPr id="155" name="Rounded Rectangle 154"/>
          <p:cNvSpPr>
            <a:spLocks noChangeArrowheads="1"/>
          </p:cNvSpPr>
          <p:nvPr/>
        </p:nvSpPr>
        <p:spPr bwMode="auto">
          <a:xfrm>
            <a:off x="8073379" y="5444333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>
                <a:latin typeface="+mj-lt"/>
              </a:rPr>
              <a:t>0.3%</a:t>
            </a:r>
            <a:endParaRPr lang="en-US" sz="900" dirty="0">
              <a:latin typeface="+mj-lt"/>
            </a:endParaRPr>
          </a:p>
        </p:txBody>
      </p:sp>
      <p:sp>
        <p:nvSpPr>
          <p:cNvPr id="156" name="Oval 67"/>
          <p:cNvSpPr>
            <a:spLocks noChangeArrowheads="1"/>
          </p:cNvSpPr>
          <p:nvPr/>
        </p:nvSpPr>
        <p:spPr bwMode="auto">
          <a:xfrm>
            <a:off x="8943485" y="5444333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0.6%</a:t>
            </a:r>
          </a:p>
        </p:txBody>
      </p:sp>
      <p:sp>
        <p:nvSpPr>
          <p:cNvPr id="157" name="Oval 67"/>
          <p:cNvSpPr>
            <a:spLocks noChangeArrowheads="1"/>
          </p:cNvSpPr>
          <p:nvPr/>
        </p:nvSpPr>
        <p:spPr bwMode="auto">
          <a:xfrm>
            <a:off x="9813591" y="5444333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>
                <a:latin typeface="+mj-lt"/>
              </a:rPr>
              <a:t>0.2%</a:t>
            </a:r>
            <a:endParaRPr lang="en-US" sz="900" dirty="0">
              <a:latin typeface="+mj-lt"/>
            </a:endParaRPr>
          </a:p>
        </p:txBody>
      </p:sp>
      <p:sp>
        <p:nvSpPr>
          <p:cNvPr id="158" name="Oval 67"/>
          <p:cNvSpPr>
            <a:spLocks noChangeArrowheads="1"/>
          </p:cNvSpPr>
          <p:nvPr/>
        </p:nvSpPr>
        <p:spPr bwMode="auto">
          <a:xfrm>
            <a:off x="10683698" y="5444333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>
                <a:latin typeface="+mj-lt"/>
              </a:rPr>
              <a:t>0.0%</a:t>
            </a:r>
            <a:endParaRPr lang="en-US" sz="900" dirty="0">
              <a:latin typeface="+mj-lt"/>
            </a:endParaRP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775B99E8-A869-6C23-8409-75BD05150E4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82304375"/>
              </p:ext>
            </p:extLst>
          </p:nvPr>
        </p:nvGraphicFramePr>
        <p:xfrm>
          <a:off x="576263" y="2225675"/>
          <a:ext cx="11112500" cy="279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sp>
        <p:nvSpPr>
          <p:cNvPr id="175" name="Rectangle 174"/>
          <p:cNvSpPr/>
          <p:nvPr>
            <p:custDataLst>
              <p:tags r:id="rId4"/>
            </p:custDataLst>
          </p:nvPr>
        </p:nvSpPr>
        <p:spPr bwMode="auto">
          <a:xfrm>
            <a:off x="7197725" y="5026025"/>
            <a:ext cx="4000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43414BC6-D3B2-4466-A9CE-CB18DB5A9016}" type="datetime'''''5''''''0''.0''''''''''''''''''''0''-&#10;''''''7''4.''9''''9'">
              <a:rPr lang="en-US" altLang="en-US" sz="900">
                <a:cs typeface="Arial" panose="020B0604020202020204" pitchFamily="34" charset="0"/>
              </a:rPr>
              <a:pPr/>
              <a:t>50.00-
74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65" name="Rectangle 164"/>
          <p:cNvSpPr/>
          <p:nvPr>
            <p:custDataLst>
              <p:tags r:id="rId5"/>
            </p:custDataLst>
          </p:nvPr>
        </p:nvSpPr>
        <p:spPr bwMode="auto">
          <a:xfrm>
            <a:off x="715963" y="2028825"/>
            <a:ext cx="3873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M Units</a:t>
            </a:r>
            <a:endParaRPr lang="el-GR" sz="900" dirty="0">
              <a:latin typeface="Arial"/>
              <a:cs typeface="Arial"/>
              <a:sym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1D606D-112C-4537-B4F9-4AE3440DDB42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262063" y="3851275"/>
            <a:ext cx="158750" cy="136525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36C5CE6-B5A6-4086-B10D-7E868CCC4044}" type="datetime'''''''''''''''''''''''''''''''''7''''0'''">
              <a:rPr lang="en-US" altLang="en-US" sz="900" smtClean="0">
                <a:solidFill>
                  <a:schemeClr val="bg1"/>
                </a:solidFill>
                <a:effectLst/>
              </a:rPr>
              <a:pPr/>
              <a:t>70</a:t>
            </a:fld>
            <a:endParaRPr lang="en-US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64" name="Rectangle 163"/>
          <p:cNvSpPr/>
          <p:nvPr>
            <p:custDataLst>
              <p:tags r:id="rId7"/>
            </p:custDataLst>
          </p:nvPr>
        </p:nvSpPr>
        <p:spPr bwMode="auto">
          <a:xfrm>
            <a:off x="11002963" y="1746250"/>
            <a:ext cx="577850" cy="4095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%</a:t>
            </a:r>
          </a:p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 total sales </a:t>
            </a:r>
          </a:p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in volume</a:t>
            </a:r>
            <a:endParaRPr lang="el-GR" sz="900" dirty="0">
              <a:latin typeface="Arial"/>
              <a:cs typeface="Arial"/>
              <a:sym typeface="Arial"/>
            </a:endParaRPr>
          </a:p>
        </p:txBody>
      </p:sp>
      <p:sp>
        <p:nvSpPr>
          <p:cNvPr id="9" name="Rectangle 8"/>
          <p:cNvSpPr/>
          <p:nvPr>
            <p:custDataLst>
              <p:tags r:id="rId8"/>
            </p:custDataLst>
          </p:nvPr>
        </p:nvSpPr>
        <p:spPr bwMode="gray">
          <a:xfrm>
            <a:off x="1293813" y="2260600"/>
            <a:ext cx="9525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AFFA008-F5EF-42A0-B3F9-53B3F67E44F3}" type="datetime'''''''''1'''''''''''''''''''''''''''''">
              <a:rPr lang="en-US" altLang="en-US" sz="900" smtClean="0">
                <a:solidFill>
                  <a:schemeClr val="tx1"/>
                </a:solidFill>
                <a:effectLst/>
              </a:rPr>
              <a:pPr/>
              <a:t>1</a:t>
            </a:fld>
            <a:endParaRPr lang="el-GR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96" name="Text Placeholder 434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159000" y="2317750"/>
            <a:ext cx="95250" cy="136525"/>
          </a:xfrm>
          <a:prstGeom prst="rect">
            <a:avLst/>
          </a:prstGeom>
          <a:solidFill>
            <a:srgbClr val="CAE3FF"/>
          </a:solidFill>
          <a:effectLst/>
        </p:spPr>
        <p:txBody>
          <a:bodyPr vert="horz" wrap="none" lIns="15875" tIns="0" rIns="1587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4EC2A35-10A7-45FD-A68C-7B374DC4B6FE}" type="datetime'2'''''''''''''''''''''''''''''''''">
              <a:rPr lang="en-US" altLang="en-US" sz="900" b="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2</a:t>
            </a:fld>
            <a:endParaRPr lang="el-GR" sz="9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97" name="Rectangle 196"/>
          <p:cNvSpPr/>
          <p:nvPr>
            <p:custDataLst>
              <p:tags r:id="rId10"/>
            </p:custDataLst>
          </p:nvPr>
        </p:nvSpPr>
        <p:spPr bwMode="auto">
          <a:xfrm>
            <a:off x="1173163" y="5026025"/>
            <a:ext cx="3365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94779177-F049-4AEF-98B9-1578631BE7E5}" type="datetime'''''''0''''''''''''.0''''0''-&#10;''''''''''''''''''''4.''9''9'''">
              <a:rPr lang="en-US" altLang="en-US" sz="900">
                <a:cs typeface="Arial" panose="020B0604020202020204" pitchFamily="34" charset="0"/>
              </a:rPr>
              <a:pPr/>
              <a:t>0.00-
4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83" name="Rectangle 182"/>
          <p:cNvSpPr/>
          <p:nvPr>
            <p:custDataLst>
              <p:tags r:id="rId11"/>
            </p:custDataLst>
          </p:nvPr>
        </p:nvSpPr>
        <p:spPr bwMode="auto">
          <a:xfrm>
            <a:off x="4602163" y="5026025"/>
            <a:ext cx="4000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4C789F93-8E26-4FA7-A323-86481FB42C9C}" type="datetime'''''''''20''.''''''0''''''''0-&#10;''''2''9''''''''.''9''9'''''''">
              <a:rPr lang="en-US" altLang="en-US" sz="900">
                <a:cs typeface="Arial" panose="020B0604020202020204" pitchFamily="34" charset="0"/>
              </a:rPr>
              <a:pPr/>
              <a:t>20.00-
2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94" name="Rectangle 193"/>
          <p:cNvSpPr/>
          <p:nvPr>
            <p:custDataLst>
              <p:tags r:id="rId12"/>
            </p:custDataLst>
          </p:nvPr>
        </p:nvSpPr>
        <p:spPr bwMode="auto">
          <a:xfrm>
            <a:off x="2038350" y="5026025"/>
            <a:ext cx="3365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8212FB24-4D89-4E09-98F8-E200B7337185}" type="datetime'''''''5''''.''''''0''''''''''0''-&#10;''''9.''''''''99'">
              <a:rPr lang="en-US" altLang="en-US" sz="900">
                <a:cs typeface="Arial" panose="020B0604020202020204" pitchFamily="34" charset="0"/>
              </a:rPr>
              <a:pPr/>
              <a:t>5.00-
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90" name="Rectangle 189"/>
          <p:cNvSpPr/>
          <p:nvPr>
            <p:custDataLst>
              <p:tags r:id="rId13"/>
            </p:custDataLst>
          </p:nvPr>
        </p:nvSpPr>
        <p:spPr bwMode="auto">
          <a:xfrm>
            <a:off x="2871788" y="5026025"/>
            <a:ext cx="4000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DFCBE86E-3D57-4CCF-9022-5F66EC7621A4}" type="datetime'''''''''''''''10.00-''''''&#10;''''''1''4.''''99'''''''">
              <a:rPr lang="en-US" altLang="en-US" sz="900">
                <a:cs typeface="Arial" panose="020B0604020202020204" pitchFamily="34" charset="0"/>
              </a:rPr>
              <a:pPr/>
              <a:t>10.00-
14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E83DEA4-A91B-4C32-A042-13103654409E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4010025" y="4456113"/>
            <a:ext cx="9525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BF20F53-7EDF-44F1-94E1-19B906E1439A}" type="datetime'''''''''''''''''''''''''1'''''''''''''''''''''''''''''''''">
              <a:rPr lang="en-US" altLang="en-US" sz="900" smtClean="0">
                <a:solidFill>
                  <a:schemeClr val="tx1"/>
                </a:solidFill>
                <a:effectLst/>
              </a:rPr>
              <a:pPr/>
              <a:t>1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78" name="Rectangle 177"/>
          <p:cNvSpPr/>
          <p:nvPr>
            <p:custDataLst>
              <p:tags r:id="rId15"/>
            </p:custDataLst>
          </p:nvPr>
        </p:nvSpPr>
        <p:spPr bwMode="auto">
          <a:xfrm>
            <a:off x="6332538" y="5026025"/>
            <a:ext cx="4000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FFA1EEA1-E84D-4428-A570-B6BA8DCC792A}" type="datetime'''''4''''''0''.0''''0''''''-''&#10;4''''9''''''.''''9''''''''9'''">
              <a:rPr lang="en-US" altLang="en-US" sz="900">
                <a:cs typeface="Arial" panose="020B0604020202020204" pitchFamily="34" charset="0"/>
              </a:rPr>
              <a:pPr/>
              <a:t>40.00-
4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86" name="Rectangle 185"/>
          <p:cNvSpPr/>
          <p:nvPr>
            <p:custDataLst>
              <p:tags r:id="rId16"/>
            </p:custDataLst>
          </p:nvPr>
        </p:nvSpPr>
        <p:spPr bwMode="auto">
          <a:xfrm>
            <a:off x="3736975" y="5026025"/>
            <a:ext cx="4000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837BB962-D3A9-46B5-BC50-488ACD2BF9FC}" type="datetime'''1''''''''5''''.''00-''''''''''&#10;''''''1''9''''.''9''''9'''''">
              <a:rPr lang="en-US" altLang="en-US" sz="900">
                <a:cs typeface="Arial" panose="020B0604020202020204" pitchFamily="34" charset="0"/>
              </a:rPr>
              <a:pPr/>
              <a:t>15.00-
1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53EECC6-D9A6-4621-89B3-0CE17405E3CD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4875213" y="4508500"/>
            <a:ext cx="9525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B05DF49-44EA-4DE3-B22D-8066C68BC060}" type="datetime'''''''''''''''''''''''''''''''1'''''''''''''''''''''''">
              <a:rPr lang="en-US" altLang="en-US" sz="9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1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182B524-6D09-4DE8-9EE1-FFF65FD657A2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8215313" y="4851400"/>
            <a:ext cx="9525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76216B4-B909-49AE-B5D8-96B6945F8CA8}" type="datetime'''''''''''''''1'''''''''''''">
              <a:rPr lang="en-US" altLang="en-US" sz="900" smtClean="0">
                <a:solidFill>
                  <a:schemeClr val="bg1"/>
                </a:solidFill>
                <a:effectLst/>
              </a:rPr>
              <a:pPr/>
              <a:t>1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81" name="Rectangle 180"/>
          <p:cNvSpPr/>
          <p:nvPr>
            <p:custDataLst>
              <p:tags r:id="rId19"/>
            </p:custDataLst>
          </p:nvPr>
        </p:nvSpPr>
        <p:spPr bwMode="auto">
          <a:xfrm>
            <a:off x="5467350" y="5026025"/>
            <a:ext cx="4000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F976BDF7-061D-42DF-B029-2E15D83D26A6}" type="datetime'3''''0''.0''0''''''''''''''''-''&#10;''''3''''9''.''99'''''''''">
              <a:rPr lang="en-US" altLang="en-US" sz="900">
                <a:cs typeface="Arial" panose="020B0604020202020204" pitchFamily="34" charset="0"/>
              </a:rPr>
              <a:pPr/>
              <a:t>30.00-
3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93" name="Text Placeholder 435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024188" y="3878263"/>
            <a:ext cx="95250" cy="136525"/>
          </a:xfrm>
          <a:prstGeom prst="rect">
            <a:avLst/>
          </a:prstGeom>
          <a:solidFill>
            <a:srgbClr val="CAE3FF"/>
          </a:solidFill>
          <a:effectLst/>
        </p:spPr>
        <p:txBody>
          <a:bodyPr vert="horz" wrap="none" lIns="15875" tIns="0" rIns="1587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D0D174A-04CC-4EC8-9818-D798179F468D}" type="datetime'''0'''''''''''''''''''''''''''''''''''''">
              <a:rPr lang="en-US" altLang="en-US" sz="900" b="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0</a:t>
            </a:fld>
            <a:endParaRPr lang="el-GR" sz="9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70" name="Rectangle 169"/>
          <p:cNvSpPr/>
          <p:nvPr>
            <p:custDataLst>
              <p:tags r:id="rId21"/>
            </p:custDataLst>
          </p:nvPr>
        </p:nvSpPr>
        <p:spPr bwMode="auto">
          <a:xfrm>
            <a:off x="8896350" y="5026025"/>
            <a:ext cx="4635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 dirty="0">
                <a:latin typeface="Arial"/>
                <a:cs typeface="Arial"/>
                <a:sym typeface="Arial"/>
              </a:rPr>
              <a:t>€</a:t>
            </a:r>
            <a:fld id="{5FC2E97A-C9D8-42F9-8334-AEFE2D6D849F}" type="datetime'''''''''''1''0''''0.00-''&#10;''''1''''4''''''9.''''''9''''9'">
              <a:rPr lang="en-US" altLang="en-US" sz="900">
                <a:cs typeface="Arial" panose="020B0604020202020204" pitchFamily="34" charset="0"/>
              </a:rPr>
              <a:pPr/>
              <a:t>100.00-
14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73" name="Text Placeholder 431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215313" y="4714875"/>
            <a:ext cx="952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4990E37-35C2-4BBA-A8CC-B6D8FBD566BC}" type="datetime'1''''''''''''''''''''''''''''''''''''''''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1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87" name="Text Placeholder 426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857625" y="4319588"/>
            <a:ext cx="158750" cy="13652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7BB8E28-4175-43D8-9C06-419F676E8E01}" type="datetime'''''''''1''''''''''''''''''''''''''4'''''''''''">
              <a:rPr lang="en-US" altLang="en-US" sz="900" b="0" smtClean="0">
                <a:solidFill>
                  <a:schemeClr val="tx1"/>
                </a:solidFill>
              </a:rPr>
              <a:pPr/>
              <a:t>14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68" name="Rectangle 167"/>
          <p:cNvSpPr/>
          <p:nvPr>
            <p:custDataLst>
              <p:tags r:id="rId24"/>
            </p:custDataLst>
          </p:nvPr>
        </p:nvSpPr>
        <p:spPr bwMode="auto">
          <a:xfrm>
            <a:off x="9761538" y="5026025"/>
            <a:ext cx="4635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09DD7408-EC4E-4466-AEDA-694CE1E6E41B}" type="datetime'''15''0''''.''0''''0-''''''&#10;1''9''''''''9''''.''''''''99'">
              <a:rPr lang="en-US" altLang="en-US" sz="900">
                <a:cs typeface="Arial" panose="020B0604020202020204" pitchFamily="34" charset="0"/>
              </a:rPr>
              <a:pPr/>
              <a:t>150.00-
19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66" name="Rectangle 165"/>
          <p:cNvSpPr/>
          <p:nvPr>
            <p:custDataLst>
              <p:tags r:id="rId25"/>
            </p:custDataLst>
          </p:nvPr>
        </p:nvSpPr>
        <p:spPr bwMode="auto">
          <a:xfrm>
            <a:off x="10693400" y="5026025"/>
            <a:ext cx="3302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≥€</a:t>
            </a:r>
            <a:fld id="{0762F81C-3787-4BCF-A2EB-81479DFE7D51}" type="datetime'2''''''''''''0''''''0'''''''''''''''''">
              <a:rPr lang="en-US" altLang="en-US" sz="900">
                <a:cs typeface="Arial" panose="020B0604020202020204" pitchFamily="34" charset="0"/>
              </a:rPr>
              <a:pPr/>
              <a:t>200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98" name="Text Placeholder 424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262063" y="2124075"/>
            <a:ext cx="1587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C0B9813-0179-4F31-ABE7-EDF105659B10}" type="datetime'''''''''''''''''''''''''''''''''9''''''''''''''''''''0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90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95" name="Text Placeholder 425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127250" y="2181225"/>
            <a:ext cx="158750" cy="13652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9538AF2-929B-4355-BDF7-3B6B81F0BF0E}" type="datetime'''''''''''''''''''''''''''''8''''9'''''''">
              <a:rPr lang="en-US" altLang="en-US" sz="900" b="0" smtClean="0">
                <a:solidFill>
                  <a:schemeClr val="tx1"/>
                </a:solidFill>
              </a:rPr>
              <a:pPr/>
              <a:t>89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91" name="Text Placeholder 8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992438" y="3741738"/>
            <a:ext cx="158750" cy="13652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49C75A6-97B2-4248-9985-F9CF40E00782}" type="datetime'''''''''''''''''''3''''''''''''4'''''''''''''''''''''''''''">
              <a:rPr lang="en-US" altLang="en-US" sz="900" b="0" smtClean="0">
                <a:solidFill>
                  <a:schemeClr val="tx1"/>
                </a:solidFill>
              </a:rPr>
              <a:pPr/>
              <a:t>34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84" name="Text Placeholder 427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722813" y="4371975"/>
            <a:ext cx="158750" cy="13652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5CE5212-557C-4024-A25C-031899776EFB}" type="datetime'''''''''''''''''''''''''''13'''">
              <a:rPr lang="en-US" altLang="en-US" sz="900" b="0" smtClean="0">
                <a:solidFill>
                  <a:schemeClr val="tx1"/>
                </a:solidFill>
              </a:rPr>
              <a:pPr/>
              <a:t>13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99" name="Text Placeholder 428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619750" y="4494213"/>
            <a:ext cx="95250" cy="13652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A7CA38B-B4D0-4B44-8862-30D8CF58FC8D}" type="datetime'''''''''9'''''''''">
              <a:rPr lang="en-US" altLang="en-US" sz="900" b="0" smtClean="0">
                <a:solidFill>
                  <a:schemeClr val="tx1"/>
                </a:solidFill>
              </a:rPr>
              <a:pPr/>
              <a:t>9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79" name="Text Placeholder 429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484938" y="4548188"/>
            <a:ext cx="952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9AB30CB-1B13-4C09-8B48-B67781763FEA}" type="datetime'''''''''''''8''''''''''''''''''''''''''''''''''''''''''''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8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69" name="Text Placeholder 29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9945688" y="4751388"/>
            <a:ext cx="952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6BBCE31-49A2-4597-97BB-8E9AAFB57471}" type="datetime'''''''''''1''''''''''''''''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1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76" name="Text Placeholder 430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350125" y="4513263"/>
            <a:ext cx="952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AC8FAC9-2B78-40F8-B7FC-3728A9A95166}" type="datetime'''''''''''''''''''''''''''''''''''''''9''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9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71" name="Text Placeholder 43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9080500" y="4714875"/>
            <a:ext cx="952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27CFBA3-30AF-41F5-8B2C-49CDA0FEF04F}" type="datetime'''''''''2''''''''''''''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2</a:t>
            </a:fld>
            <a:endParaRPr lang="el-GR" sz="900" b="0" dirty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67" name="Text Placeholder 30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0810875" y="4764088"/>
            <a:ext cx="952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A9F0B39-ACBB-4748-BF3E-8649F35427B6}" type="datetime'''''''''''''''''''''''''0'''''''''''''''''''">
              <a:rPr lang="en-US" altLang="en-US" sz="900" b="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0</a:t>
            </a:fld>
            <a:endParaRPr lang="el-GR" sz="9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72" name="Rectangle 171"/>
          <p:cNvSpPr/>
          <p:nvPr>
            <p:custDataLst>
              <p:tags r:id="rId36"/>
            </p:custDataLst>
          </p:nvPr>
        </p:nvSpPr>
        <p:spPr bwMode="auto">
          <a:xfrm>
            <a:off x="8062913" y="5026025"/>
            <a:ext cx="4000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AB0ABDE6-B985-4778-99B7-8E140FFE5A8E}" type="datetime'''''''''7''''''''5''.''0''0''''-''''''''&#10;''''''99.9''9'''''">
              <a:rPr lang="en-US" altLang="en-US" sz="900">
                <a:cs typeface="Arial" panose="020B0604020202020204" pitchFamily="34" charset="0"/>
              </a:rPr>
              <a:pPr/>
              <a:t>75.00-
9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00" name="Rectangle 199"/>
          <p:cNvSpPr/>
          <p:nvPr>
            <p:custDataLst>
              <p:tags r:id="rId37"/>
            </p:custDataLst>
          </p:nvPr>
        </p:nvSpPr>
        <p:spPr bwMode="auto">
          <a:xfrm>
            <a:off x="2439988" y="5868988"/>
            <a:ext cx="160338" cy="120650"/>
          </a:xfrm>
          <a:prstGeom prst="rect">
            <a:avLst/>
          </a:prstGeom>
          <a:solidFill>
            <a:srgbClr val="CAE3F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13656A8-12A2-4159-AA2B-B10578E06A29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1536700" y="5929313"/>
            <a:ext cx="131763" cy="0"/>
          </a:xfrm>
          <a:prstGeom prst="line">
            <a:avLst/>
          </a:prstGeom>
          <a:ln w="28575" cap="rnd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161D2D7-0CB6-4507-84D7-2DEFF6E51EDD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>
            <a:off x="969964" y="5929313"/>
            <a:ext cx="131763" cy="0"/>
          </a:xfrm>
          <a:prstGeom prst="line">
            <a:avLst/>
          </a:prstGeom>
          <a:ln w="28575" cap="rnd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24B2360-B9A2-4FF9-8E48-440030F6780F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>
            <a:off x="1995489" y="5929313"/>
            <a:ext cx="131763" cy="0"/>
          </a:xfrm>
          <a:prstGeom prst="line">
            <a:avLst/>
          </a:prstGeom>
          <a:ln w="28575" cap="rnd" cmpd="sng" algn="ctr">
            <a:solidFill>
              <a:srgbClr val="25B4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4" name="Rectangle 203"/>
          <p:cNvSpPr/>
          <p:nvPr>
            <p:custDataLst>
              <p:tags r:id="rId41"/>
            </p:custDataLst>
          </p:nvPr>
        </p:nvSpPr>
        <p:spPr bwMode="auto">
          <a:xfrm>
            <a:off x="3228975" y="5868988"/>
            <a:ext cx="160338" cy="120650"/>
          </a:xfrm>
          <a:prstGeom prst="rect">
            <a:avLst/>
          </a:prstGeom>
          <a:solidFill>
            <a:srgbClr val="25B4F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05" name="Rectangle 204"/>
          <p:cNvSpPr/>
          <p:nvPr>
            <p:custDataLst>
              <p:tags r:id="rId42"/>
            </p:custDataLst>
          </p:nvPr>
        </p:nvSpPr>
        <p:spPr bwMode="auto">
          <a:xfrm>
            <a:off x="4252913" y="5868988"/>
            <a:ext cx="160338" cy="120650"/>
          </a:xfrm>
          <a:prstGeom prst="rect">
            <a:avLst/>
          </a:prstGeom>
          <a:solidFill>
            <a:srgbClr val="0070C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10" name="Text Placeholder 9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733550" y="5865813"/>
            <a:ext cx="1460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641A578-11C4-4BEA-9544-716B24BD0153}" type="datetime'Ox'''''''''''''''''''''''''''''''''''''''''''''''''''''">
              <a:rPr lang="en-US" altLang="en-US" sz="9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Ox</a:t>
            </a:fld>
            <a:endParaRPr lang="el-GR" sz="9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11" name="Text Placeholder 10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166813" y="5865813"/>
            <a:ext cx="2540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05AE835-2818-4B34-881A-8FBB18AE4819}" type="datetime'''''''T''''o''''''''''''''''''''t''''''''a''l'''''">
              <a:rPr lang="en-US" altLang="en-US" sz="9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Total</a:t>
            </a:fld>
            <a:endParaRPr lang="el-GR" sz="9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08" name="Text Placeholder 6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2651125" y="5865813"/>
            <a:ext cx="4762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EBC7757-DDCB-4806-A12B-352F9CC66D3B}" type="datetime'''''U''''''n''''k''n''''''own'''''''''''''''''''''">
              <a:rPr lang="en-US" altLang="en-US" sz="9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Unknown</a:t>
            </a:fld>
            <a:endParaRPr lang="el-GR" sz="9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09" name="Text Placeholder 8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2192338" y="5865813"/>
            <a:ext cx="1460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4A520D11-F4F5-42A2-AC94-BDC37A4E88E0}" type="datetime'''''''G''''''''''''''x'''''''''''''''''''''''''''''''''''''">
              <a:rPr lang="en-US" altLang="en-US" sz="9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Gx</a:t>
            </a:fld>
            <a:endParaRPr lang="el-GR" sz="9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07" name="Text Placeholder 5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3440113" y="5865813"/>
            <a:ext cx="7112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3110CE8-CD80-48D1-803A-D32379798B83}" type="datetime'Ge''''''n''''''''e''ri''''''''''''''cs'' ''''(G''''''''''x)'''">
              <a:rPr lang="en-US" altLang="en-US" sz="9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Generics (Gx)</a:t>
            </a:fld>
            <a:endParaRPr lang="el-GR" sz="9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06" name="Text Placeholder 7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464050" y="5865813"/>
            <a:ext cx="704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E10A87E-19D3-4E55-BED7-45535543F425}" type="datetime'''''Or''''ig''''i''''na''''l''''''s'' ''''(O''x)'''''''''''''">
              <a:rPr lang="en-US" altLang="en-US" sz="9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Originals (Ox)</a:t>
            </a:fld>
            <a:endParaRPr lang="el-GR" sz="900" b="0" dirty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21" name="TextBox 220"/>
          <p:cNvSpPr txBox="1"/>
          <p:nvPr/>
        </p:nvSpPr>
        <p:spPr>
          <a:xfrm>
            <a:off x="10895527" y="5110245"/>
            <a:ext cx="839084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900" i="1" dirty="0">
                <a:latin typeface="+mj-lt"/>
              </a:rPr>
              <a:t>Price </a:t>
            </a:r>
          </a:p>
          <a:p>
            <a:pPr algn="ctr"/>
            <a:r>
              <a:rPr lang="en-US" sz="900" i="1" dirty="0">
                <a:latin typeface="+mj-lt"/>
              </a:rPr>
              <a:t>groups</a:t>
            </a:r>
            <a:r>
              <a:rPr lang="en-US" sz="900" i="1" baseline="30000" dirty="0">
                <a:latin typeface="+mj-lt"/>
              </a:rPr>
              <a:t>2</a:t>
            </a:r>
            <a:endParaRPr lang="el-GR" sz="900" i="1" baseline="30000" dirty="0">
              <a:latin typeface="+mj-lt"/>
            </a:endParaRPr>
          </a:p>
        </p:txBody>
      </p:sp>
      <p:sp>
        <p:nvSpPr>
          <p:cNvPr id="222" name="TextBox 221"/>
          <p:cNvSpPr txBox="1"/>
          <p:nvPr/>
        </p:nvSpPr>
        <p:spPr>
          <a:xfrm>
            <a:off x="266023" y="5356831"/>
            <a:ext cx="576000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800" dirty="0">
                <a:latin typeface="+mj-lt"/>
                <a:sym typeface="+mn-lt"/>
              </a:rPr>
              <a:t>%</a:t>
            </a:r>
          </a:p>
          <a:p>
            <a:pPr algn="ctr"/>
            <a:r>
              <a:rPr lang="en-US" sz="800" dirty="0">
                <a:latin typeface="+mj-lt"/>
                <a:sym typeface="+mn-lt"/>
              </a:rPr>
              <a:t> total sales </a:t>
            </a:r>
          </a:p>
          <a:p>
            <a:pPr algn="ctr"/>
            <a:r>
              <a:rPr lang="en-US" sz="800" dirty="0">
                <a:latin typeface="+mj-lt"/>
                <a:sym typeface="+mn-lt"/>
              </a:rPr>
              <a:t>in volume</a:t>
            </a:r>
            <a:endParaRPr lang="el-GR" sz="800" baseline="30000" dirty="0">
              <a:latin typeface="+mj-lt"/>
              <a:sym typeface="+mn-lt"/>
            </a:endParaRPr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1EA1F67D-077C-A60D-6C1F-853AA8A045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6250" y="6397625"/>
            <a:ext cx="7561263" cy="111125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</p:spTree>
    <p:extLst>
      <p:ext uri="{BB962C8B-B14F-4D97-AF65-F5344CB8AC3E}">
        <p14:creationId xmlns:p14="http://schemas.microsoft.com/office/powerpoint/2010/main" val="12198716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248764A-8947-426D-9B8F-679FB0D21B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49557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0" imgW="592" imgH="591" progId="TCLayout.ActiveDocument.1">
                  <p:embed/>
                </p:oleObj>
              </mc:Choice>
              <mc:Fallback>
                <p:oleObj name="think-cell Slide" r:id="rId70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248764A-8947-426D-9B8F-679FB0D21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900" dirty="0" err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6" name="Oval 67"/>
          <p:cNvSpPr>
            <a:spLocks noChangeArrowheads="1"/>
          </p:cNvSpPr>
          <p:nvPr/>
        </p:nvSpPr>
        <p:spPr bwMode="auto">
          <a:xfrm>
            <a:off x="1112531" y="5447545"/>
            <a:ext cx="432000" cy="212787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23.4%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4007C1-D739-4EE8-AA67-4EADBBFE009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Reimbursed MARKE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C2F8F7-85C5-496F-8D0F-A4F6F6E7E5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1. Excluding L.3816 drugs; 2.Classification by Ox and </a:t>
            </a:r>
            <a:r>
              <a:rPr lang="en-US" dirty="0" err="1"/>
              <a:t>Gx</a:t>
            </a:r>
            <a:r>
              <a:rPr lang="en-US" dirty="0"/>
              <a:t> is based on EOF flag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# of SKUs by price group (Reimbursed drugs only – excl. L.3816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77011" y="237000"/>
            <a:ext cx="11592000" cy="773799"/>
          </a:xfrm>
        </p:spPr>
        <p:txBody>
          <a:bodyPr vert="horz"/>
          <a:lstStyle/>
          <a:p>
            <a:r>
              <a:rPr lang="en-US" dirty="0"/>
              <a:t>The market is highly concentrated in the low-price segments, while drugs with PSP≥€75 represent only ~5.3% of total # of Reimb. SKUs</a:t>
            </a:r>
            <a:r>
              <a:rPr lang="en-US" baseline="30000" dirty="0"/>
              <a:t>1</a:t>
            </a:r>
            <a:endParaRPr lang="en-US" dirty="0"/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1CF906FE-754F-28C5-5A31-410F185DE64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4429256"/>
              </p:ext>
            </p:extLst>
          </p:nvPr>
        </p:nvGraphicFramePr>
        <p:xfrm>
          <a:off x="827088" y="2244725"/>
          <a:ext cx="10861675" cy="279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2"/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A4AAA1C0-E129-2DE5-C311-8B3D72FED635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509588" y="3138489"/>
            <a:ext cx="285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5B7588B-B85A-484F-966D-C70727B8CDCD}" type="datetime'''''''1,''0''''''0''''''''''''''0'''''''''''''''''''">
              <a:rPr lang="en-US" altLang="en-US" sz="9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,000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F15726-721D-1292-3928-1267AE36F602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604838" y="4008439"/>
            <a:ext cx="190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B31868C-61F8-4E31-867D-01BEAEE802B9}" type="datetime'''''''''''''''''''''''''''''5''''''''''''''0''''''''''0'''">
              <a:rPr lang="en-US" altLang="en-US" sz="9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00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C443512-32E7-0E65-5107-82D8A7754A29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509588" y="2266951"/>
            <a:ext cx="285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FD3E238-BB4F-46C1-A9F8-6157358F111C}" type="datetime'''''1'''''''''',''''''''''''''''''''''5''''''''''00'''''''">
              <a:rPr lang="en-US" altLang="en-US" sz="9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,500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16CC9A8-4E50-223B-92DF-B3E394EAAC41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731838" y="4879976"/>
            <a:ext cx="63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F517AA2-E77E-4C9D-9729-CCB82E20829D}" type="datetime'''''''''''''''''''''''''''''0'''''''''''''''''''''''''''''">
              <a:rPr lang="en-US" altLang="en-US" sz="9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cxnSp>
        <p:nvCxnSpPr>
          <p:cNvPr id="93" name="Straight Connector 92"/>
          <p:cNvCxnSpPr/>
          <p:nvPr>
            <p:custDataLst>
              <p:tags r:id="rId8"/>
            </p:custDataLst>
          </p:nvPr>
        </p:nvCxnSpPr>
        <p:spPr bwMode="auto">
          <a:xfrm flipH="1">
            <a:off x="10174288" y="4854575"/>
            <a:ext cx="74613" cy="20638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solid"/>
            <a:round/>
            <a:headEnd type="none"/>
            <a:tailEnd type="none"/>
          </a:ln>
          <a:effectLst/>
        </p:spPr>
      </p:cxnSp>
      <p:cxnSp>
        <p:nvCxnSpPr>
          <p:cNvPr id="91" name="Straight Connector 90"/>
          <p:cNvCxnSpPr/>
          <p:nvPr>
            <p:custDataLst>
              <p:tags r:id="rId9"/>
            </p:custDataLst>
          </p:nvPr>
        </p:nvCxnSpPr>
        <p:spPr bwMode="auto">
          <a:xfrm flipH="1">
            <a:off x="11039475" y="4854576"/>
            <a:ext cx="74613" cy="11113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solid"/>
            <a:round/>
            <a:headEnd type="none"/>
            <a:tailEnd type="none"/>
          </a:ln>
          <a:effectLst/>
        </p:spPr>
      </p:cxnSp>
      <p:cxnSp>
        <p:nvCxnSpPr>
          <p:cNvPr id="94" name="Straight Connector 93"/>
          <p:cNvCxnSpPr/>
          <p:nvPr>
            <p:custDataLst>
              <p:tags r:id="rId10"/>
            </p:custDataLst>
          </p:nvPr>
        </p:nvCxnSpPr>
        <p:spPr bwMode="auto">
          <a:xfrm flipH="1">
            <a:off x="9309100" y="4840288"/>
            <a:ext cx="74613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solid"/>
            <a:round/>
            <a:headEnd type="none"/>
            <a:tailEnd type="none"/>
          </a:ln>
          <a:effectLst/>
        </p:spPr>
      </p:cxnSp>
      <p:cxnSp>
        <p:nvCxnSpPr>
          <p:cNvPr id="95" name="Straight Connector 94"/>
          <p:cNvCxnSpPr/>
          <p:nvPr>
            <p:custDataLst>
              <p:tags r:id="rId11"/>
            </p:custDataLst>
          </p:nvPr>
        </p:nvCxnSpPr>
        <p:spPr bwMode="auto">
          <a:xfrm flipH="1">
            <a:off x="8443913" y="4824413"/>
            <a:ext cx="74613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solid"/>
            <a:round/>
            <a:headEnd type="none"/>
            <a:tailEnd type="none"/>
          </a:ln>
          <a:effectLst/>
        </p:spPr>
      </p:cxnSp>
      <p:sp>
        <p:nvSpPr>
          <p:cNvPr id="135" name="Text Placeholder 434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27250" y="2738438"/>
            <a:ext cx="158750" cy="136525"/>
          </a:xfrm>
          <a:prstGeom prst="rect">
            <a:avLst/>
          </a:prstGeom>
          <a:solidFill>
            <a:srgbClr val="CAE3FF"/>
          </a:solidFill>
          <a:effectLst/>
        </p:spPr>
        <p:txBody>
          <a:bodyPr vert="horz" wrap="none" lIns="15875" tIns="0" rIns="1587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6149381-9882-4710-A865-F6B15EFC4488}" type="datetime'''''''''''4''''''''''0''''''''''''''''''''''''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40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41" name="Rectangle 140"/>
          <p:cNvSpPr/>
          <p:nvPr>
            <p:custDataLst>
              <p:tags r:id="rId13"/>
            </p:custDataLst>
          </p:nvPr>
        </p:nvSpPr>
        <p:spPr bwMode="auto">
          <a:xfrm>
            <a:off x="652463" y="2038350"/>
            <a:ext cx="5143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>
                <a:latin typeface="Arial"/>
                <a:cs typeface="Arial"/>
                <a:sym typeface="Arial"/>
              </a:rPr>
              <a:t># of SKUs</a:t>
            </a:r>
            <a:endParaRPr lang="el-GR" sz="900" dirty="0">
              <a:latin typeface="Arial"/>
              <a:cs typeface="Arial"/>
              <a:sym typeface="Arial"/>
            </a:endParaRPr>
          </a:p>
        </p:txBody>
      </p:sp>
      <p:sp>
        <p:nvSpPr>
          <p:cNvPr id="124" name="Text Placeholder 435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992438" y="3894138"/>
            <a:ext cx="158750" cy="136525"/>
          </a:xfrm>
          <a:prstGeom prst="rect">
            <a:avLst/>
          </a:prstGeom>
          <a:solidFill>
            <a:srgbClr val="CAE3FF"/>
          </a:solidFill>
          <a:effectLst/>
        </p:spPr>
        <p:txBody>
          <a:bodyPr vert="horz" wrap="none" lIns="15875" tIns="0" rIns="1587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00417B7-CE83-445E-AC3D-752C9B651048}" type="datetime'''''''''''1''''''''2''''''''''''''''''''''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12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2A2B1D-75E7-4BFC-B47B-91D34A4C7B44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1262063" y="3141663"/>
            <a:ext cx="15875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20F613-217A-4C2E-97E3-BE24E759185C}" type="datetime'5''''''''5'''''''''''''''''''''''''''">
              <a:rPr lang="en-US" altLang="en-US" sz="900" smtClean="0">
                <a:solidFill>
                  <a:schemeClr val="tx1"/>
                </a:solidFill>
                <a:effectLst/>
              </a:rPr>
              <a:pPr/>
              <a:t>55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36" name="Rectangle 135"/>
          <p:cNvSpPr/>
          <p:nvPr>
            <p:custDataLst>
              <p:tags r:id="rId16"/>
            </p:custDataLst>
          </p:nvPr>
        </p:nvSpPr>
        <p:spPr bwMode="auto">
          <a:xfrm>
            <a:off x="1173163" y="5032375"/>
            <a:ext cx="3365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AAE78000-B6D5-4DFB-8C26-841434DBDEC0}" type="datetime'''''0''''''''.''''''''0''''''''0''''''''''''-&#10;4''''''.9''9'">
              <a:rPr lang="en-US" altLang="en-US" sz="900">
                <a:cs typeface="Arial" panose="020B0604020202020204" pitchFamily="34" charset="0"/>
              </a:rPr>
              <a:pPr/>
              <a:t>0.00-
4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32" name="Rectangle 131"/>
          <p:cNvSpPr/>
          <p:nvPr>
            <p:custDataLst>
              <p:tags r:id="rId17"/>
            </p:custDataLst>
          </p:nvPr>
        </p:nvSpPr>
        <p:spPr bwMode="auto">
          <a:xfrm>
            <a:off x="2038350" y="5032375"/>
            <a:ext cx="3365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24B57669-DD40-4468-A26C-359118FAB430}" type="datetime'''''''''''''5.''''0''0''''''''''-&#10;9''.''''''''''''''''99'''''">
              <a:rPr lang="en-US" altLang="en-US" sz="900">
                <a:cs typeface="Arial" panose="020B0604020202020204" pitchFamily="34" charset="0"/>
              </a:rPr>
              <a:pPr/>
              <a:t>5.00-
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98" name="Text Placeholder 431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183563" y="4637088"/>
            <a:ext cx="1587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3BFB517-319B-4A5B-9569-F1538D2D7F7B}" type="datetime'''''''''''''''''''''''''7''''''''''''4''''''''''''''''''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74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22" name="Rectangle 121"/>
          <p:cNvSpPr/>
          <p:nvPr>
            <p:custDataLst>
              <p:tags r:id="rId19"/>
            </p:custDataLst>
          </p:nvPr>
        </p:nvSpPr>
        <p:spPr bwMode="auto">
          <a:xfrm>
            <a:off x="2871788" y="5032375"/>
            <a:ext cx="4000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8BEC108C-7A28-4CB1-A8C0-C1EB0FD22D56}" type="datetime'''''''''''''''1''''''''0''.00''-&#10;''''1''''''4.9''''9'''">
              <a:rPr lang="en-US" altLang="en-US" sz="900">
                <a:cs typeface="Arial" panose="020B0604020202020204" pitchFamily="34" charset="0"/>
              </a:rPr>
              <a:pPr/>
              <a:t>10.00-
14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21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857625" y="4314825"/>
            <a:ext cx="158750" cy="136525"/>
          </a:xfrm>
          <a:prstGeom prst="rect">
            <a:avLst/>
          </a:prstGeom>
          <a:solidFill>
            <a:srgbClr val="CAE3FF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B800A701-EB39-4E05-9DAB-AD9349A2AFD4}" type="datetime'''''''3''''0''''''''''''''''''''''''''''''''''''''''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30</a:t>
            </a:fld>
            <a:endParaRPr lang="en-US" sz="900" dirty="0">
              <a:solidFill>
                <a:schemeClr val="tx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8" name="Rectangle 117"/>
          <p:cNvSpPr/>
          <p:nvPr>
            <p:custDataLst>
              <p:tags r:id="rId21"/>
            </p:custDataLst>
          </p:nvPr>
        </p:nvSpPr>
        <p:spPr bwMode="auto">
          <a:xfrm>
            <a:off x="3736975" y="5032375"/>
            <a:ext cx="4000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7194D325-6259-4693-BBBF-13B88FAFC76A}" type="datetime'''''1''''5''''.''00''''-''&#10;''''''''''''''''''''''''''''19.99'">
              <a:rPr lang="en-US" altLang="en-US" sz="900">
                <a:cs typeface="Arial" panose="020B0604020202020204" pitchFamily="34" charset="0"/>
              </a:rPr>
              <a:pPr/>
              <a:t>15.00-
1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46" name="Text Placeholder 29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9913938" y="4686300"/>
            <a:ext cx="1587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52BE7CD-D359-4CAA-953A-AACB382390CC}" type="datetime'''''''''''''''''''''''''''''''43''''''''''''''''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43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17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722813" y="4103688"/>
            <a:ext cx="158750" cy="136525"/>
          </a:xfrm>
          <a:prstGeom prst="rect">
            <a:avLst/>
          </a:prstGeom>
          <a:solidFill>
            <a:srgbClr val="CAE3FF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6CEEB1DF-702A-44C9-9583-FF76A26AEFB1}" type="datetime'''2''''''''''''''9''''''''''''''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29</a:t>
            </a:fld>
            <a:endParaRPr lang="en-US" sz="900" dirty="0">
              <a:solidFill>
                <a:schemeClr val="tx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06" name="Text Placeholder 429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421438" y="4549775"/>
            <a:ext cx="2222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FBB18D7-18D7-421E-B251-8ADB35CE6493}" type="datetime'''''''''1''1''''''''''''''''''''''''''''''''6''''''''''''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116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13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740400" y="4554538"/>
            <a:ext cx="95250" cy="136525"/>
          </a:xfrm>
          <a:prstGeom prst="rect">
            <a:avLst/>
          </a:prstGeom>
          <a:solidFill>
            <a:srgbClr val="CAE3FF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7F82954-6E71-44F3-9E6C-EA7CF20732E8}" type="datetime'''''''''''''''9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9</a:t>
            </a:fld>
            <a:endParaRPr lang="en-US" sz="900" dirty="0">
              <a:solidFill>
                <a:schemeClr val="tx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09" name="Rectangle 108"/>
          <p:cNvSpPr/>
          <p:nvPr>
            <p:custDataLst>
              <p:tags r:id="rId26"/>
            </p:custDataLst>
          </p:nvPr>
        </p:nvSpPr>
        <p:spPr bwMode="auto">
          <a:xfrm>
            <a:off x="5467350" y="5032375"/>
            <a:ext cx="4000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1A11D6E6-03F3-4C3C-B2E6-839467084067}" type="datetime'''''''3''''''''0''.''''0''''0''-&#10;''''''3''9''''''''.''99'">
              <a:rPr lang="en-US" altLang="en-US" sz="900">
                <a:cs typeface="Arial" panose="020B0604020202020204" pitchFamily="34" charset="0"/>
              </a:rPr>
              <a:pPr/>
              <a:t>30.00-
3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0FF19CE-C7D4-40FC-BD89-C0DF7165A3CC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6370639" y="4686300"/>
            <a:ext cx="85725" cy="122238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1E9D8D4-9D38-416C-92A2-08B83820308D}" type="datetime'''''''''''''''''''''''2'''''''''''''''''''''">
              <a:rPr lang="en-US" alt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2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Text Placeholder 428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556250" y="4418013"/>
            <a:ext cx="2222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D34F65C-BA65-47D9-955D-CC9DC5168932}" type="datetime'''''''''''''''''''''''''19''''''''''''''''''''''''2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192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08" name="Text Placeholder 3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581775" y="4718050"/>
            <a:ext cx="142875" cy="122238"/>
          </a:xfrm>
          <a:prstGeom prst="rect">
            <a:avLst/>
          </a:prstGeom>
          <a:solidFill>
            <a:srgbClr val="25B4FF"/>
          </a:solidFill>
          <a:effectLst/>
        </p:spPr>
        <p:txBody>
          <a:bodyPr vert="horz" wrap="none" lIns="14287" tIns="0" rIns="14287" bIns="0" numCol="1" spc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2AD5F2C-866E-42EC-BBB8-3F608BB7F89C}" type="datetime'''''3''''''''''''''''5'''''''''''''''''''''''''''''''''''''">
              <a:rPr lang="en-US" altLang="en-US" sz="8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35</a:t>
            </a:fld>
            <a:endParaRPr lang="el-GR" sz="800">
              <a:solidFill>
                <a:schemeClr val="bg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14" name="Rectangle 113"/>
          <p:cNvSpPr/>
          <p:nvPr>
            <p:custDataLst>
              <p:tags r:id="rId30"/>
            </p:custDataLst>
          </p:nvPr>
        </p:nvSpPr>
        <p:spPr bwMode="auto">
          <a:xfrm>
            <a:off x="4602163" y="5032375"/>
            <a:ext cx="4000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E0515D94-7148-4CB7-9A11-C344F21FDD09}" type="datetime'2''''''0''''''''''''''''''''.0''0''''''-&#10;2''''9.9''9'''''''">
              <a:rPr lang="en-US" altLang="en-US" sz="900">
                <a:cs typeface="Arial" panose="020B0604020202020204" pitchFamily="34" charset="0"/>
              </a:rPr>
              <a:pPr/>
              <a:t>20.00-
2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445C467-F15D-4E1C-BC8E-A073CB041342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7470775" y="4554538"/>
            <a:ext cx="9525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4B6C20E-003D-4D67-B408-E864DADD2FE1}" type="datetime'''''''''''''''''''''''''''''''''''''''''''''''''''''''''''''9'">
              <a:rPr lang="en-US" altLang="en-US" sz="900" smtClean="0">
                <a:solidFill>
                  <a:schemeClr val="tx1"/>
                </a:solidFill>
                <a:effectLst/>
              </a:rPr>
              <a:pPr/>
              <a:t>9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01" name="Rectangle 100"/>
          <p:cNvSpPr/>
          <p:nvPr>
            <p:custDataLst>
              <p:tags r:id="rId32"/>
            </p:custDataLst>
          </p:nvPr>
        </p:nvSpPr>
        <p:spPr bwMode="auto">
          <a:xfrm>
            <a:off x="7197725" y="5032375"/>
            <a:ext cx="4000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3C4218C3-46E9-43CF-B0F0-5546DFACDEC7}" type="datetime'''''''''''''''50''''''.''''''''''''00-''&#10;7''''4.''''''''9''9'">
              <a:rPr lang="en-US" altLang="en-US" sz="900">
                <a:cs typeface="Arial" panose="020B0604020202020204" pitchFamily="34" charset="0"/>
              </a:rPr>
              <a:pPr/>
              <a:t>50.00-
74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37" name="Text Placeholder 424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182688" y="3000375"/>
            <a:ext cx="31750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FFD3E7B-8246-46E3-9A4D-1D2C89223AB4}" type="datetime'1'''''''''''''',''0''''2''''''''''''''''''''''''''''''''''6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1,026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99" name="Text Placeholder 36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064500" y="4832350"/>
            <a:ext cx="158750" cy="136525"/>
          </a:xfrm>
          <a:prstGeom prst="rect">
            <a:avLst/>
          </a:prstGeom>
          <a:solidFill>
            <a:srgbClr val="0070C0"/>
          </a:solidFill>
          <a:effectLst/>
        </p:spPr>
        <p:txBody>
          <a:bodyPr vert="horz" wrap="none" lIns="15875" tIns="0" rIns="1587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DD53674-C5E4-4BCB-AF9E-C33397ED7412}" type="datetime'''''54'''''''''''''''''''''''''''">
              <a:rPr lang="en-US" altLang="en-US" sz="900" b="0" smtClean="0">
                <a:solidFill>
                  <a:schemeClr val="bg1"/>
                </a:solidFill>
                <a:effectLst/>
              </a:rPr>
              <a:pPr/>
              <a:t>54</a:t>
            </a:fld>
            <a:endParaRPr lang="el-GR" sz="900" b="0">
              <a:solidFill>
                <a:schemeClr val="bg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00" name="Text Placeholder 439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8304213" y="4773613"/>
            <a:ext cx="158750" cy="136525"/>
          </a:xfrm>
          <a:prstGeom prst="rect">
            <a:avLst/>
          </a:prstGeom>
          <a:solidFill>
            <a:srgbClr val="25B4FF"/>
          </a:solidFill>
          <a:effectLst/>
        </p:spPr>
        <p:txBody>
          <a:bodyPr vert="horz" wrap="none" lIns="15875" tIns="0" rIns="1587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21F6036-4CBB-4F76-ABAD-E3C7FB8B06D1}" type="datetime'''''''''''''''''''''1''''''''''4'''''''''''''''''''''">
              <a:rPr lang="en-US" altLang="en-US" sz="900" b="0" smtClean="0">
                <a:solidFill>
                  <a:schemeClr val="bg1"/>
                </a:solidFill>
                <a:effectLst/>
              </a:rPr>
              <a:pPr/>
              <a:t>14</a:t>
            </a:fld>
            <a:endParaRPr lang="el-GR" sz="900" b="0" dirty="0">
              <a:solidFill>
                <a:schemeClr val="bg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97" name="Rectangle 96"/>
          <p:cNvSpPr/>
          <p:nvPr>
            <p:custDataLst>
              <p:tags r:id="rId36"/>
            </p:custDataLst>
          </p:nvPr>
        </p:nvSpPr>
        <p:spPr bwMode="auto">
          <a:xfrm>
            <a:off x="8062913" y="5032375"/>
            <a:ext cx="4000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7931185A-B57D-4C4F-83C1-31A5E2ECD62B}" type="datetime'''''7''''''''''''''''''''''5.00''-''&#10;''''''''9''''9.9''''''9'">
              <a:rPr lang="en-US" altLang="en-US" sz="900">
                <a:cs typeface="Arial" panose="020B0604020202020204" pitchFamily="34" charset="0"/>
              </a:rPr>
              <a:pPr/>
              <a:t>75.00-
9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AC082692-61E3-07FE-CD6A-232070C61756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9383713" y="4772026"/>
            <a:ext cx="95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7C0E4E3-C822-4AE2-B7D9-8169BDE56B6D}" type="datetime'''''''''''1''''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17" name="Text Placeholder 440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9169400" y="4783138"/>
            <a:ext cx="158750" cy="136525"/>
          </a:xfrm>
          <a:prstGeom prst="rect">
            <a:avLst/>
          </a:prstGeom>
          <a:solidFill>
            <a:srgbClr val="25B4FF"/>
          </a:solidFill>
          <a:effectLst/>
        </p:spPr>
        <p:txBody>
          <a:bodyPr vert="horz" wrap="none" lIns="15875" tIns="0" rIns="1587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83B00D3-43D8-4360-AEAB-1C613ADB02B4}" type="datetime'''''''''''''''''''''''1''''''''''''''''''''''1'">
              <a:rPr lang="en-US" altLang="en-US" sz="900" b="0" smtClean="0">
                <a:solidFill>
                  <a:schemeClr val="bg1"/>
                </a:solidFill>
              </a:rPr>
              <a:pPr/>
              <a:t>11</a:t>
            </a:fld>
            <a:endParaRPr lang="el-GR" sz="900" b="0">
              <a:solidFill>
                <a:schemeClr val="bg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216" name="Text Placeholder 37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8929688" y="4835525"/>
            <a:ext cx="158750" cy="136525"/>
          </a:xfrm>
          <a:prstGeom prst="rect">
            <a:avLst/>
          </a:prstGeom>
          <a:solidFill>
            <a:srgbClr val="0070C0"/>
          </a:solidFill>
          <a:effectLst/>
        </p:spPr>
        <p:txBody>
          <a:bodyPr vert="horz" wrap="none" lIns="15875" tIns="0" rIns="1587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50D2141-543C-46EE-92C5-0D7C380A7761}" type="datetime'''''''''''''''''''''''''''''''''''''5''0'">
              <a:rPr lang="en-US" altLang="en-US" sz="900" b="0" smtClean="0">
                <a:solidFill>
                  <a:schemeClr val="bg1"/>
                </a:solidFill>
                <a:effectLst/>
              </a:rPr>
              <a:pPr/>
              <a:t>50</a:t>
            </a:fld>
            <a:endParaRPr lang="el-GR" sz="900" b="0">
              <a:solidFill>
                <a:schemeClr val="bg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214" name="Rectangle 213"/>
          <p:cNvSpPr/>
          <p:nvPr>
            <p:custDataLst>
              <p:tags r:id="rId40"/>
            </p:custDataLst>
          </p:nvPr>
        </p:nvSpPr>
        <p:spPr bwMode="auto">
          <a:xfrm>
            <a:off x="8896350" y="5032375"/>
            <a:ext cx="4635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115B1E37-1232-4CAF-95E1-A0A1DE7E94BE}" type="datetime'''''1''''00''''''.''0''''0-&#10;''1''49''''''''.9''''''''''''''9'">
              <a:rPr lang="en-US" altLang="en-US" sz="900">
                <a:cs typeface="Arial" panose="020B0604020202020204" pitchFamily="34" charset="0"/>
              </a:rPr>
              <a:pPr/>
              <a:t>100.00-
14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13" name="Text Placeholder 39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0034588" y="4822825"/>
            <a:ext cx="158750" cy="136525"/>
          </a:xfrm>
          <a:prstGeom prst="rect">
            <a:avLst/>
          </a:prstGeom>
          <a:solidFill>
            <a:srgbClr val="25B4FF"/>
          </a:solidFill>
          <a:effectLst/>
        </p:spPr>
        <p:txBody>
          <a:bodyPr vert="horz" wrap="none" lIns="15875" tIns="0" rIns="1587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4A8ADCD-66F2-42EE-866E-6AA40040962D}" type="datetime'''''''''''''''''''''''''''''''''''''1''5'''">
              <a:rPr lang="en-US" altLang="en-US" sz="900" b="0" smtClean="0">
                <a:solidFill>
                  <a:schemeClr val="bg1"/>
                </a:solidFill>
                <a:effectLst/>
              </a:rPr>
              <a:pPr/>
              <a:t>15</a:t>
            </a:fld>
            <a:endParaRPr lang="el-GR" sz="900" b="0">
              <a:solidFill>
                <a:schemeClr val="bg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15" name="Text Placeholder 38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9794875" y="4857750"/>
            <a:ext cx="158750" cy="136525"/>
          </a:xfrm>
          <a:prstGeom prst="rect">
            <a:avLst/>
          </a:prstGeom>
          <a:solidFill>
            <a:srgbClr val="0070C0"/>
          </a:solidFill>
          <a:effectLst/>
        </p:spPr>
        <p:txBody>
          <a:bodyPr vert="horz" wrap="none" lIns="15875" tIns="0" rIns="1587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0B160AF-39E4-46CD-867E-90D7A780D347}" type="datetime'2''''''''''''''''''''''''''''5'">
              <a:rPr lang="en-US" altLang="en-US" sz="900" b="0" smtClean="0">
                <a:solidFill>
                  <a:schemeClr val="bg1"/>
                </a:solidFill>
                <a:effectLst/>
              </a:rPr>
              <a:pPr/>
              <a:t>25</a:t>
            </a:fld>
            <a:endParaRPr lang="el-GR" sz="900" b="0" dirty="0">
              <a:solidFill>
                <a:schemeClr val="bg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40" name="Rectangle 139"/>
          <p:cNvSpPr/>
          <p:nvPr>
            <p:custDataLst>
              <p:tags r:id="rId43"/>
            </p:custDataLst>
          </p:nvPr>
        </p:nvSpPr>
        <p:spPr bwMode="auto">
          <a:xfrm>
            <a:off x="11129963" y="1901825"/>
            <a:ext cx="3238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% of</a:t>
            </a:r>
          </a:p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 SKUs</a:t>
            </a:r>
            <a:endParaRPr lang="el-GR" sz="900" dirty="0">
              <a:latin typeface="Arial"/>
              <a:cs typeface="Arial"/>
              <a:sym typeface="Arial"/>
            </a:endParaRPr>
          </a:p>
        </p:txBody>
      </p:sp>
      <p:sp>
        <p:nvSpPr>
          <p:cNvPr id="105" name="Rectangle 104"/>
          <p:cNvSpPr/>
          <p:nvPr>
            <p:custDataLst>
              <p:tags r:id="rId44"/>
            </p:custDataLst>
          </p:nvPr>
        </p:nvSpPr>
        <p:spPr bwMode="auto">
          <a:xfrm>
            <a:off x="6332538" y="5032375"/>
            <a:ext cx="4000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54D0FB55-3676-485F-BE65-D3BBB28DC32F}" type="datetime'''''40''.''''00-''''''''''''&#10;4''''''9''''''.99'''''''">
              <a:rPr lang="en-US" altLang="en-US" sz="900">
                <a:cs typeface="Arial" panose="020B0604020202020204" pitchFamily="34" charset="0"/>
              </a:rPr>
              <a:pPr/>
              <a:t>40.00-
4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43" name="Text Placeholder 41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0931525" y="4808538"/>
            <a:ext cx="95250" cy="136525"/>
          </a:xfrm>
          <a:prstGeom prst="rect">
            <a:avLst/>
          </a:prstGeom>
          <a:solidFill>
            <a:srgbClr val="25B4FF"/>
          </a:solidFill>
          <a:effectLst/>
        </p:spPr>
        <p:txBody>
          <a:bodyPr vert="horz" wrap="none" lIns="15875" tIns="0" rIns="1587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07A86F3-B7AA-4068-A88F-F72507429026}" type="datetime'''''''6'''''''">
              <a:rPr lang="en-US" altLang="en-US" sz="900" b="0" smtClean="0">
                <a:solidFill>
                  <a:schemeClr val="bg1"/>
                </a:solidFill>
                <a:effectLst/>
              </a:rPr>
              <a:pPr/>
              <a:t>6</a:t>
            </a:fld>
            <a:endParaRPr lang="el-GR" sz="900" b="0">
              <a:solidFill>
                <a:schemeClr val="bg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42" name="Text Placeholder 40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10660063" y="4846638"/>
            <a:ext cx="158750" cy="136525"/>
          </a:xfrm>
          <a:prstGeom prst="rect">
            <a:avLst/>
          </a:prstGeom>
          <a:solidFill>
            <a:srgbClr val="0070C0"/>
          </a:solidFill>
          <a:effectLst/>
        </p:spPr>
        <p:txBody>
          <a:bodyPr vert="horz" wrap="none" lIns="15875" tIns="0" rIns="1587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B93DD94-2B2D-4292-8CE1-7B93D35184E6}" type="datetime'''''''''''''''3''''''''''''''''''''8'''''''''''''''''''">
              <a:rPr lang="en-US" altLang="en-US" sz="900" b="0" smtClean="0">
                <a:solidFill>
                  <a:schemeClr val="bg1"/>
                </a:solidFill>
                <a:effectLst/>
              </a:rPr>
              <a:pPr/>
              <a:t>38</a:t>
            </a:fld>
            <a:endParaRPr lang="el-GR" sz="900" b="0">
              <a:solidFill>
                <a:schemeClr val="bg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38" name="Rectangle 137"/>
          <p:cNvSpPr/>
          <p:nvPr>
            <p:custDataLst>
              <p:tags r:id="rId47"/>
            </p:custDataLst>
          </p:nvPr>
        </p:nvSpPr>
        <p:spPr bwMode="auto">
          <a:xfrm>
            <a:off x="10693400" y="5032375"/>
            <a:ext cx="3302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≥€</a:t>
            </a:r>
            <a:fld id="{6BC5A7FA-DE18-4219-A4D1-A5CBB9B5CBEF}" type="datetime'''''''''2''''''''0''''''''''''''''0'''">
              <a:rPr lang="en-US" altLang="en-US" sz="900">
                <a:cs typeface="Arial" panose="020B0604020202020204" pitchFamily="34" charset="0"/>
              </a:rPr>
              <a:pPr/>
              <a:t>200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33" name="Text Placeholder 425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2047875" y="2601913"/>
            <a:ext cx="317500" cy="13652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576B711-1FD6-416B-A368-3BB7B84F6744}" type="datetime'''''1'''''''''''''''',''''''''''2''''''''''''''''5''''0'">
              <a:rPr lang="en-US" altLang="en-US" sz="900" b="0" smtClean="0">
                <a:solidFill>
                  <a:schemeClr val="tx1"/>
                </a:solidFill>
              </a:rPr>
              <a:pPr/>
              <a:t>1,250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 useBgFill="1">
        <p:nvSpPr>
          <p:cNvPr id="123" name="Text Placeholder 8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2960688" y="3757613"/>
            <a:ext cx="2222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F704814-D0D9-4779-B6F5-7C1ADC37E2CE}" type="datetime'''5''''''''''''''7''''''''''2''''''''''''''''''''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572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44" name="Rectangle 143"/>
          <p:cNvSpPr/>
          <p:nvPr>
            <p:custDataLst>
              <p:tags r:id="rId50"/>
            </p:custDataLst>
          </p:nvPr>
        </p:nvSpPr>
        <p:spPr bwMode="auto">
          <a:xfrm>
            <a:off x="9761538" y="5032375"/>
            <a:ext cx="4635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>
                <a:latin typeface="Arial"/>
                <a:cs typeface="Arial"/>
                <a:sym typeface="Arial"/>
              </a:rPr>
              <a:t>€</a:t>
            </a:r>
            <a:fld id="{99A77CB4-0272-44D6-8EFA-D6C063F82578}" type="datetime'''''1''50''''''''''''.''''''00''''-&#10;1''''99.''''99'''''''''">
              <a:rPr lang="en-US" altLang="en-US" sz="900">
                <a:cs typeface="Arial" panose="020B0604020202020204" pitchFamily="34" charset="0"/>
              </a:rPr>
              <a:pPr/>
              <a:t>150.00-
199.99</a:t>
            </a:fld>
            <a:endParaRPr lang="el-GR" sz="900" strike="noStrike" cap="none" normalizeH="0" dirty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45" name="Text Placeholder 427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4691063" y="3967163"/>
            <a:ext cx="2222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8ABD954-C399-45EA-AD8E-F4B2795232D0}" type="datetime'4''''''''6''''''''''''''''''''''''''''''''''''0''''''''''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460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02" name="Text Placeholder 430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7286625" y="4418013"/>
            <a:ext cx="2222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29E67ED-BC08-4225-A5A9-C56EFBB29781}" type="datetime'''''''''''''''''1''''''''''''''''9''1''''''''''''''''''''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191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215" name="Text Placeholder 432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9048750" y="4646613"/>
            <a:ext cx="1587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053D27A-B885-4F65-8519-3B74628D9797}" type="datetime'''''''''''''''''''''''''''''''6''''''''''''''''''''''''''3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63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39" name="Text Placeholder 30"/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10779125" y="4672013"/>
            <a:ext cx="1587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7B6D75C-A768-4BF4-B68B-9753FDA0274A}" type="datetime'''''''''''''''''''''''''''''5''''''''''''''''''''''1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51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68AC6CD-48C3-4D7C-B05A-5971B80D73B0}"/>
              </a:ext>
            </a:extLst>
          </p:cNvPr>
          <p:cNvSpPr/>
          <p:nvPr>
            <p:custDataLst>
              <p:tags r:id="rId55"/>
            </p:custDataLst>
          </p:nvPr>
        </p:nvSpPr>
        <p:spPr bwMode="gray">
          <a:xfrm>
            <a:off x="2095500" y="3506788"/>
            <a:ext cx="222250" cy="136525"/>
          </a:xfrm>
          <a:prstGeom prst="rect">
            <a:avLst/>
          </a:prstGeom>
          <a:solidFill>
            <a:srgbClr val="25B4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3C6A81E-67F5-48A0-894C-3F9C6D9516F2}" type="datetime'''''''''''8''''''''''''''''4''3'''''''''''''''''''''''''''''''">
              <a:rPr lang="en-US" altLang="en-US" sz="900" smtClean="0">
                <a:solidFill>
                  <a:schemeClr val="bg1"/>
                </a:solidFill>
                <a:effectLst/>
              </a:rPr>
              <a:pPr/>
              <a:t>843</a:t>
            </a:fld>
            <a:endParaRPr lang="en-US" sz="9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19" name="Text Placeholder 426"/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3825875" y="4178300"/>
            <a:ext cx="22225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860316F-F5E7-4CA0-A057-83EAC860B605}" type="datetime'''''''''3''4''''0'''''''''''''''">
              <a:rPr lang="en-US" altLang="en-US" sz="900" b="0" smtClean="0">
                <a:solidFill>
                  <a:schemeClr val="tx1"/>
                </a:solidFill>
                <a:effectLst/>
              </a:rPr>
              <a:pPr/>
              <a:t>340</a:t>
            </a:fld>
            <a:endParaRPr lang="el-GR" sz="9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E10184-03B2-4E1B-A4FC-A4E6D7BFB4F9}"/>
              </a:ext>
            </a:extLst>
          </p:cNvPr>
          <p:cNvCxnSpPr/>
          <p:nvPr>
            <p:custDataLst>
              <p:tags r:id="rId57"/>
            </p:custDataLst>
          </p:nvPr>
        </p:nvCxnSpPr>
        <p:spPr bwMode="gray">
          <a:xfrm>
            <a:off x="969964" y="5929313"/>
            <a:ext cx="131763" cy="0"/>
          </a:xfrm>
          <a:prstGeom prst="line">
            <a:avLst/>
          </a:prstGeom>
          <a:ln w="28575" cap="rnd" cmpd="sng" algn="ctr">
            <a:solidFill>
              <a:srgbClr val="FF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4" name="Rectangle 223"/>
          <p:cNvSpPr/>
          <p:nvPr>
            <p:custDataLst>
              <p:tags r:id="rId58"/>
            </p:custDataLst>
          </p:nvPr>
        </p:nvSpPr>
        <p:spPr bwMode="auto">
          <a:xfrm>
            <a:off x="2439988" y="5868988"/>
            <a:ext cx="160338" cy="120650"/>
          </a:xfrm>
          <a:prstGeom prst="rect">
            <a:avLst/>
          </a:prstGeom>
          <a:solidFill>
            <a:srgbClr val="CAE3F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5E69634-8556-4AD1-9BFC-6A9CAD637D2C}"/>
              </a:ext>
            </a:extLst>
          </p:cNvPr>
          <p:cNvCxnSpPr/>
          <p:nvPr>
            <p:custDataLst>
              <p:tags r:id="rId59"/>
            </p:custDataLst>
          </p:nvPr>
        </p:nvCxnSpPr>
        <p:spPr bwMode="gray">
          <a:xfrm>
            <a:off x="1995489" y="5929313"/>
            <a:ext cx="131763" cy="0"/>
          </a:xfrm>
          <a:prstGeom prst="line">
            <a:avLst/>
          </a:prstGeom>
          <a:ln w="28575" cap="rnd" cmpd="sng" algn="ctr">
            <a:solidFill>
              <a:srgbClr val="25B4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5675A90-BDA1-4E86-AB7C-A7378C3411B2}"/>
              </a:ext>
            </a:extLst>
          </p:cNvPr>
          <p:cNvCxnSpPr/>
          <p:nvPr>
            <p:custDataLst>
              <p:tags r:id="rId60"/>
            </p:custDataLst>
          </p:nvPr>
        </p:nvCxnSpPr>
        <p:spPr bwMode="gray">
          <a:xfrm>
            <a:off x="1536700" y="5929313"/>
            <a:ext cx="131763" cy="0"/>
          </a:xfrm>
          <a:prstGeom prst="line">
            <a:avLst/>
          </a:prstGeom>
          <a:ln w="28575" cap="rnd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2" name="Rectangle 221"/>
          <p:cNvSpPr/>
          <p:nvPr>
            <p:custDataLst>
              <p:tags r:id="rId61"/>
            </p:custDataLst>
          </p:nvPr>
        </p:nvSpPr>
        <p:spPr bwMode="auto">
          <a:xfrm>
            <a:off x="3228975" y="5868988"/>
            <a:ext cx="160338" cy="120650"/>
          </a:xfrm>
          <a:prstGeom prst="rect">
            <a:avLst/>
          </a:prstGeom>
          <a:solidFill>
            <a:srgbClr val="25B4F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23" name="Rectangle 222"/>
          <p:cNvSpPr/>
          <p:nvPr>
            <p:custDataLst>
              <p:tags r:id="rId62"/>
            </p:custDataLst>
          </p:nvPr>
        </p:nvSpPr>
        <p:spPr bwMode="auto">
          <a:xfrm>
            <a:off x="4252913" y="5868988"/>
            <a:ext cx="160338" cy="120650"/>
          </a:xfrm>
          <a:prstGeom prst="rect">
            <a:avLst/>
          </a:prstGeom>
          <a:solidFill>
            <a:srgbClr val="0070C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30" name="Text Placeholder 10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1166813" y="5865813"/>
            <a:ext cx="2540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2FA0C01A-14E1-41D8-BA80-D79D26F57320}" type="datetime'T''o''''''t''''''''''''''a''l'''''''''''''''''''''">
              <a:rPr lang="en-US" altLang="en-US" sz="9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Total</a:t>
            </a:fld>
            <a:endParaRPr lang="el-GR" sz="9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29" name="Text Placeholder 9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1733550" y="5865813"/>
            <a:ext cx="1460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FE0E977E-7B8D-4F39-80D9-D18339429931}" type="datetime'''''''''''''''''''''''''''''''O''''''''''''x'''''''">
              <a:rPr lang="en-US" altLang="en-US" sz="9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Ox</a:t>
            </a:fld>
            <a:endParaRPr lang="el-GR" sz="9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27" name="Text Placeholder 6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2651125" y="5865813"/>
            <a:ext cx="4762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73290D5B-98A7-4325-9E7C-6AC1B6FEEF3F}" type="datetime'''U''''''''n''''kno''''''''''w''n'">
              <a:rPr lang="en-US" altLang="en-US" sz="9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Unknown</a:t>
            </a:fld>
            <a:endParaRPr lang="el-GR" sz="9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28" name="Text Placeholder 8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2192338" y="5865813"/>
            <a:ext cx="1460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026088C-5A58-41F4-8409-52525A821CD8}" type="datetime'''''''''''''''''''''''''''''''G''''''''''''''''x'''''''">
              <a:rPr lang="en-US" altLang="en-US" sz="9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Gx</a:t>
            </a:fld>
            <a:endParaRPr lang="el-GR" sz="9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26" name="Text Placeholder 5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3440113" y="5865813"/>
            <a:ext cx="71120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33803F55-0DB0-4C24-A931-CF4B7E892D39}" type="datetime'''''G''''''''e''n''''eri''''c''''''''''''''s'' (''''G''''''x)'">
              <a:rPr lang="en-US" altLang="en-US" sz="9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Generics (Gx)</a:t>
            </a:fld>
            <a:endParaRPr lang="el-GR" sz="9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25" name="Text Placeholder 7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4464050" y="5865813"/>
            <a:ext cx="704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CF01EBC-A331-4057-BD5E-4A8EF348ACE0}" type="datetime'''''O''''r''i''g''i''n''a''''ls'''''''' (''''Ox'''''''')'''''">
              <a:rPr lang="en-US" altLang="en-US" sz="9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Originals (Ox)</a:t>
            </a:fld>
            <a:endParaRPr lang="el-GR" sz="900" b="0" dirty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33" name="Oval 67"/>
          <p:cNvSpPr>
            <a:spLocks noChangeArrowheads="1"/>
          </p:cNvSpPr>
          <p:nvPr/>
        </p:nvSpPr>
        <p:spPr bwMode="auto">
          <a:xfrm>
            <a:off x="1982928" y="544754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28.6%</a:t>
            </a:r>
          </a:p>
        </p:txBody>
      </p:sp>
      <p:sp>
        <p:nvSpPr>
          <p:cNvPr id="234" name="Oval 67"/>
          <p:cNvSpPr>
            <a:spLocks noChangeArrowheads="1"/>
          </p:cNvSpPr>
          <p:nvPr/>
        </p:nvSpPr>
        <p:spPr bwMode="auto">
          <a:xfrm>
            <a:off x="2853325" y="544754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13.1%</a:t>
            </a:r>
          </a:p>
        </p:txBody>
      </p:sp>
      <p:sp>
        <p:nvSpPr>
          <p:cNvPr id="235" name="Oval 67"/>
          <p:cNvSpPr>
            <a:spLocks noChangeArrowheads="1"/>
          </p:cNvSpPr>
          <p:nvPr/>
        </p:nvSpPr>
        <p:spPr bwMode="auto">
          <a:xfrm>
            <a:off x="3723722" y="544754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7.8%</a:t>
            </a:r>
          </a:p>
        </p:txBody>
      </p:sp>
      <p:sp>
        <p:nvSpPr>
          <p:cNvPr id="236" name="Oval 67"/>
          <p:cNvSpPr>
            <a:spLocks noChangeArrowheads="1"/>
          </p:cNvSpPr>
          <p:nvPr/>
        </p:nvSpPr>
        <p:spPr bwMode="auto">
          <a:xfrm>
            <a:off x="4594119" y="544754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10.5%</a:t>
            </a:r>
          </a:p>
        </p:txBody>
      </p:sp>
      <p:sp>
        <p:nvSpPr>
          <p:cNvPr id="237" name="Oval 67"/>
          <p:cNvSpPr>
            <a:spLocks noChangeArrowheads="1"/>
          </p:cNvSpPr>
          <p:nvPr/>
        </p:nvSpPr>
        <p:spPr bwMode="auto">
          <a:xfrm>
            <a:off x="5464516" y="544754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4.4%</a:t>
            </a:r>
          </a:p>
        </p:txBody>
      </p:sp>
      <p:sp>
        <p:nvSpPr>
          <p:cNvPr id="238" name="Oval 67"/>
          <p:cNvSpPr>
            <a:spLocks noChangeArrowheads="1"/>
          </p:cNvSpPr>
          <p:nvPr/>
        </p:nvSpPr>
        <p:spPr bwMode="auto">
          <a:xfrm>
            <a:off x="6334913" y="544754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2.7%</a:t>
            </a:r>
          </a:p>
        </p:txBody>
      </p:sp>
      <p:sp>
        <p:nvSpPr>
          <p:cNvPr id="239" name="Oval 67"/>
          <p:cNvSpPr>
            <a:spLocks noChangeArrowheads="1"/>
          </p:cNvSpPr>
          <p:nvPr/>
        </p:nvSpPr>
        <p:spPr bwMode="auto">
          <a:xfrm>
            <a:off x="7205310" y="544754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4.4%</a:t>
            </a:r>
          </a:p>
        </p:txBody>
      </p:sp>
      <p:sp>
        <p:nvSpPr>
          <p:cNvPr id="240" name="Rounded Rectangle 239"/>
          <p:cNvSpPr>
            <a:spLocks noChangeArrowheads="1"/>
          </p:cNvSpPr>
          <p:nvPr/>
        </p:nvSpPr>
        <p:spPr bwMode="auto">
          <a:xfrm>
            <a:off x="8075707" y="544754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1.7%</a:t>
            </a:r>
          </a:p>
        </p:txBody>
      </p:sp>
      <p:sp>
        <p:nvSpPr>
          <p:cNvPr id="241" name="Oval 67"/>
          <p:cNvSpPr>
            <a:spLocks noChangeArrowheads="1"/>
          </p:cNvSpPr>
          <p:nvPr/>
        </p:nvSpPr>
        <p:spPr bwMode="auto">
          <a:xfrm>
            <a:off x="8946104" y="544754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1.4%</a:t>
            </a:r>
          </a:p>
        </p:txBody>
      </p:sp>
      <p:sp>
        <p:nvSpPr>
          <p:cNvPr id="242" name="Oval 67"/>
          <p:cNvSpPr>
            <a:spLocks noChangeArrowheads="1"/>
          </p:cNvSpPr>
          <p:nvPr/>
        </p:nvSpPr>
        <p:spPr bwMode="auto">
          <a:xfrm>
            <a:off x="9816501" y="544754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1.0%</a:t>
            </a:r>
          </a:p>
        </p:txBody>
      </p:sp>
      <p:sp>
        <p:nvSpPr>
          <p:cNvPr id="243" name="Oval 67"/>
          <p:cNvSpPr>
            <a:spLocks noChangeArrowheads="1"/>
          </p:cNvSpPr>
          <p:nvPr/>
        </p:nvSpPr>
        <p:spPr bwMode="auto">
          <a:xfrm>
            <a:off x="10686897" y="5447546"/>
            <a:ext cx="432000" cy="216000"/>
          </a:xfrm>
          <a:prstGeom prst="roundRect">
            <a:avLst/>
          </a:prstGeom>
          <a:solidFill>
            <a:schemeClr val="bg1">
              <a:alpha val="69804"/>
            </a:schemeClr>
          </a:solidFill>
          <a:ln w="19050" algn="ctr">
            <a:solidFill>
              <a:srgbClr val="8EAFBF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/>
            <a:r>
              <a:rPr lang="en-US" sz="900" dirty="0">
                <a:latin typeface="+mj-lt"/>
              </a:rPr>
              <a:t>1.2%</a:t>
            </a:r>
          </a:p>
        </p:txBody>
      </p:sp>
      <p:sp>
        <p:nvSpPr>
          <p:cNvPr id="252" name="TextBox 251"/>
          <p:cNvSpPr txBox="1"/>
          <p:nvPr/>
        </p:nvSpPr>
        <p:spPr>
          <a:xfrm>
            <a:off x="10895527" y="5110245"/>
            <a:ext cx="839084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900" i="1" dirty="0">
                <a:latin typeface="+mj-lt"/>
              </a:rPr>
              <a:t>Price </a:t>
            </a:r>
          </a:p>
          <a:p>
            <a:pPr algn="ctr"/>
            <a:r>
              <a:rPr lang="en-US" sz="900" i="1" dirty="0">
                <a:latin typeface="+mj-lt"/>
              </a:rPr>
              <a:t>groups</a:t>
            </a:r>
            <a:r>
              <a:rPr lang="en-US" sz="900" i="1" baseline="30000" dirty="0">
                <a:latin typeface="+mj-lt"/>
              </a:rPr>
              <a:t>2</a:t>
            </a:r>
            <a:endParaRPr lang="el-GR" sz="900" i="1" baseline="30000" dirty="0">
              <a:latin typeface="+mj-lt"/>
            </a:endParaRPr>
          </a:p>
        </p:txBody>
      </p:sp>
      <p:sp>
        <p:nvSpPr>
          <p:cNvPr id="262" name="TextBox 261"/>
          <p:cNvSpPr txBox="1"/>
          <p:nvPr/>
        </p:nvSpPr>
        <p:spPr>
          <a:xfrm>
            <a:off x="266023" y="5415554"/>
            <a:ext cx="576000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800" dirty="0">
                <a:latin typeface="+mj-lt"/>
                <a:sym typeface="+mn-lt"/>
              </a:rPr>
              <a:t>%</a:t>
            </a:r>
          </a:p>
          <a:p>
            <a:pPr algn="ctr"/>
            <a:r>
              <a:rPr lang="en-US" sz="800" dirty="0">
                <a:latin typeface="+mj-lt"/>
                <a:sym typeface="+mn-lt"/>
              </a:rPr>
              <a:t> of SKUs</a:t>
            </a:r>
          </a:p>
        </p:txBody>
      </p:sp>
      <p:cxnSp>
        <p:nvCxnSpPr>
          <p:cNvPr id="263" name="Straight Connector 262"/>
          <p:cNvCxnSpPr/>
          <p:nvPr/>
        </p:nvCxnSpPr>
        <p:spPr bwMode="auto">
          <a:xfrm>
            <a:off x="7835104" y="2425251"/>
            <a:ext cx="3456159" cy="33385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64" name="Straight Connector 263"/>
          <p:cNvCxnSpPr>
            <a:cxnSpLocks/>
          </p:cNvCxnSpPr>
          <p:nvPr/>
        </p:nvCxnSpPr>
        <p:spPr bwMode="auto">
          <a:xfrm>
            <a:off x="7835104" y="2416918"/>
            <a:ext cx="0" cy="2512051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65" name="TextBox 264"/>
          <p:cNvSpPr txBox="1">
            <a:spLocks/>
          </p:cNvSpPr>
          <p:nvPr/>
        </p:nvSpPr>
        <p:spPr>
          <a:xfrm>
            <a:off x="11315069" y="2385876"/>
            <a:ext cx="465576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900" b="1" dirty="0">
                <a:latin typeface="+mj-lt"/>
              </a:rPr>
              <a:t>95%</a:t>
            </a:r>
            <a:endParaRPr lang="el-GR" sz="900" b="1" dirty="0">
              <a:latin typeface="+mj-lt"/>
            </a:endParaRPr>
          </a:p>
        </p:txBody>
      </p:sp>
      <p:sp>
        <p:nvSpPr>
          <p:cNvPr id="266" name="TextBox 265"/>
          <p:cNvSpPr txBox="1"/>
          <p:nvPr/>
        </p:nvSpPr>
        <p:spPr>
          <a:xfrm>
            <a:off x="8278958" y="2796150"/>
            <a:ext cx="2363245" cy="16158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050" b="1" dirty="0">
                <a:latin typeface="+mj-lt"/>
              </a:rPr>
              <a:t>5</a:t>
            </a:r>
            <a:r>
              <a:rPr lang="el-GR" sz="1050" b="1" dirty="0">
                <a:latin typeface="+mj-lt"/>
              </a:rPr>
              <a:t>.</a:t>
            </a:r>
            <a:r>
              <a:rPr lang="en-US" sz="1050" b="1" dirty="0">
                <a:latin typeface="+mj-lt"/>
              </a:rPr>
              <a:t>3</a:t>
            </a:r>
            <a:r>
              <a:rPr lang="el-GR" sz="1050" b="1" dirty="0">
                <a:latin typeface="+mj-lt"/>
              </a:rPr>
              <a:t>% </a:t>
            </a:r>
            <a:r>
              <a:rPr lang="en-US" sz="1050" b="1" dirty="0">
                <a:latin typeface="+mj-lt"/>
              </a:rPr>
              <a:t>of total SKUs</a:t>
            </a:r>
            <a:endParaRPr lang="el-GR" sz="1050" b="1" dirty="0">
              <a:latin typeface="+mj-lt"/>
            </a:endParaRPr>
          </a:p>
        </p:txBody>
      </p:sp>
      <p:sp>
        <p:nvSpPr>
          <p:cNvPr id="267" name="Right Arrow 266"/>
          <p:cNvSpPr/>
          <p:nvPr/>
        </p:nvSpPr>
        <p:spPr bwMode="auto">
          <a:xfrm>
            <a:off x="7848595" y="2930082"/>
            <a:ext cx="3326060" cy="416370"/>
          </a:xfrm>
          <a:prstGeom prst="rightArrow">
            <a:avLst/>
          </a:prstGeom>
          <a:solidFill>
            <a:schemeClr val="tx2">
              <a:lumMod val="20000"/>
              <a:lumOff val="80000"/>
            </a:schemeClr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l-GR" sz="100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6CF2131C-BF95-47EE-40FF-482AD51E7F6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6250" y="6397625"/>
            <a:ext cx="7561263" cy="111125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</p:spTree>
    <p:extLst>
      <p:ext uri="{BB962C8B-B14F-4D97-AF65-F5344CB8AC3E}">
        <p14:creationId xmlns:p14="http://schemas.microsoft.com/office/powerpoint/2010/main" val="67144703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D09AF58E-1C25-4905-9A27-221B6B44A0A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28160" y="835016"/>
            <a:ext cx="6999461" cy="4999475"/>
          </a:xfrm>
        </p:spPr>
        <p:txBody>
          <a:bodyPr/>
          <a:lstStyle/>
          <a:p>
            <a:pPr marL="0" indent="0">
              <a:spcBef>
                <a:spcPts val="1200"/>
              </a:spcBef>
              <a:buNone/>
              <a:tabLst>
                <a:tab pos="8296275" algn="r"/>
              </a:tabLst>
            </a:pPr>
            <a:endParaRPr lang="en-US" dirty="0"/>
          </a:p>
          <a:p>
            <a:pPr>
              <a:spcBef>
                <a:spcPts val="1200"/>
              </a:spcBef>
              <a:buClr>
                <a:srgbClr val="AABECA"/>
              </a:buClr>
              <a:tabLst>
                <a:tab pos="8296275" algn="r"/>
              </a:tabLst>
            </a:pPr>
            <a:r>
              <a:rPr lang="en-US" dirty="0">
                <a:solidFill>
                  <a:srgbClr val="AABECA"/>
                </a:solidFill>
              </a:rPr>
              <a:t>Market Overview</a:t>
            </a:r>
          </a:p>
          <a:p>
            <a:pPr>
              <a:spcBef>
                <a:spcPts val="1200"/>
              </a:spcBef>
              <a:buClr>
                <a:srgbClr val="00A3E0"/>
              </a:buClr>
              <a:tabLst>
                <a:tab pos="8296275" algn="r"/>
              </a:tabLst>
            </a:pPr>
            <a:r>
              <a:rPr lang="en-US" dirty="0"/>
              <a:t>Analysis by ATC</a:t>
            </a:r>
          </a:p>
          <a:p>
            <a:pPr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tabLst>
                <a:tab pos="8296275" algn="r"/>
              </a:tabLst>
            </a:pPr>
            <a:r>
              <a:rPr lang="en-US" dirty="0">
                <a:solidFill>
                  <a:schemeClr val="tx2">
                    <a:lumMod val="40000"/>
                    <a:lumOff val="60000"/>
                  </a:schemeClr>
                </a:solidFill>
              </a:rPr>
              <a:t>Price evolution</a:t>
            </a:r>
          </a:p>
          <a:p>
            <a:pPr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tabLst>
                <a:tab pos="8296275" algn="r"/>
              </a:tabLst>
            </a:pPr>
            <a:r>
              <a:rPr lang="en-US" dirty="0">
                <a:solidFill>
                  <a:schemeClr val="tx2">
                    <a:lumMod val="40000"/>
                    <a:lumOff val="60000"/>
                  </a:schemeClr>
                </a:solidFill>
              </a:rPr>
              <a:t>Substitution analysis (Market Dynamics)</a:t>
            </a:r>
          </a:p>
          <a:p>
            <a:pPr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tabLst>
                <a:tab pos="8296275" algn="r"/>
              </a:tabLst>
            </a:pPr>
            <a:r>
              <a:rPr lang="en-US" dirty="0">
                <a:solidFill>
                  <a:schemeClr val="tx2">
                    <a:lumMod val="40000"/>
                    <a:lumOff val="60000"/>
                  </a:schemeClr>
                </a:solidFill>
              </a:rPr>
              <a:t>EU Benchmarking</a:t>
            </a:r>
          </a:p>
          <a:p>
            <a:pPr>
              <a:spcBef>
                <a:spcPts val="1200"/>
              </a:spcBef>
              <a:tabLst>
                <a:tab pos="8296275" algn="r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77805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248764A-8947-426D-9B8F-679FB0D21B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74560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592" imgH="591" progId="TCLayout.ActiveDocument.1">
                  <p:embed/>
                </p:oleObj>
              </mc:Choice>
              <mc:Fallback>
                <p:oleObj name="think-cell Slide" r:id="rId35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248764A-8947-426D-9B8F-679FB0D21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900" dirty="0" err="1">
              <a:cs typeface="Arial" panose="020B0604020202020204" pitchFamily="34" charset="0"/>
              <a:sym typeface="+mn-lt"/>
            </a:endParaRPr>
          </a:p>
        </p:txBody>
      </p:sp>
      <p:sp>
        <p:nvSpPr>
          <p:cNvPr id="198" name="Rectangle 197"/>
          <p:cNvSpPr>
            <a:spLocks/>
          </p:cNvSpPr>
          <p:nvPr/>
        </p:nvSpPr>
        <p:spPr bwMode="auto">
          <a:xfrm>
            <a:off x="965216" y="4670901"/>
            <a:ext cx="2644977" cy="648000"/>
          </a:xfrm>
          <a:prstGeom prst="rect">
            <a:avLst/>
          </a:prstGeom>
          <a:solidFill>
            <a:schemeClr val="bg1">
              <a:lumMod val="85000"/>
              <a:alpha val="40000"/>
            </a:schemeClr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+mj-lt"/>
            </a:endParaRPr>
          </a:p>
        </p:txBody>
      </p:sp>
      <p:cxnSp>
        <p:nvCxnSpPr>
          <p:cNvPr id="151" name="Straight Connector 150"/>
          <p:cNvCxnSpPr/>
          <p:nvPr>
            <p:custDataLst>
              <p:tags r:id="rId3"/>
            </p:custDataLst>
          </p:nvPr>
        </p:nvCxnSpPr>
        <p:spPr bwMode="auto">
          <a:xfrm>
            <a:off x="1447800" y="4025900"/>
            <a:ext cx="307975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8" name="Straight Connector 147"/>
          <p:cNvCxnSpPr/>
          <p:nvPr>
            <p:custDataLst>
              <p:tags r:id="rId4"/>
            </p:custDataLst>
          </p:nvPr>
        </p:nvCxnSpPr>
        <p:spPr bwMode="auto">
          <a:xfrm>
            <a:off x="8375650" y="2106613"/>
            <a:ext cx="307975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0" name="Straight Connector 129"/>
          <p:cNvCxnSpPr/>
          <p:nvPr>
            <p:custDataLst>
              <p:tags r:id="rId5"/>
            </p:custDataLst>
          </p:nvPr>
        </p:nvCxnSpPr>
        <p:spPr bwMode="auto">
          <a:xfrm>
            <a:off x="5605463" y="2320925"/>
            <a:ext cx="30638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0" name="Straight Connector 149"/>
          <p:cNvCxnSpPr/>
          <p:nvPr>
            <p:custDataLst>
              <p:tags r:id="rId6"/>
            </p:custDataLst>
          </p:nvPr>
        </p:nvCxnSpPr>
        <p:spPr bwMode="auto">
          <a:xfrm>
            <a:off x="2141538" y="3478213"/>
            <a:ext cx="30638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9" name="Straight Connector 148"/>
          <p:cNvCxnSpPr/>
          <p:nvPr>
            <p:custDataLst>
              <p:tags r:id="rId7"/>
            </p:custDataLst>
          </p:nvPr>
        </p:nvCxnSpPr>
        <p:spPr bwMode="auto">
          <a:xfrm>
            <a:off x="2833688" y="3141663"/>
            <a:ext cx="307975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8" name="Straight Connector 127"/>
          <p:cNvCxnSpPr/>
          <p:nvPr>
            <p:custDataLst>
              <p:tags r:id="rId8"/>
            </p:custDataLst>
          </p:nvPr>
        </p:nvCxnSpPr>
        <p:spPr bwMode="auto">
          <a:xfrm>
            <a:off x="3527425" y="2816225"/>
            <a:ext cx="30638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9" name="Straight Connector 128"/>
          <p:cNvCxnSpPr/>
          <p:nvPr>
            <p:custDataLst>
              <p:tags r:id="rId9"/>
            </p:custDataLst>
          </p:nvPr>
        </p:nvCxnSpPr>
        <p:spPr bwMode="auto">
          <a:xfrm>
            <a:off x="6297613" y="2247900"/>
            <a:ext cx="307975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1" name="Straight Connector 130"/>
          <p:cNvCxnSpPr/>
          <p:nvPr>
            <p:custDataLst>
              <p:tags r:id="rId10"/>
            </p:custDataLst>
          </p:nvPr>
        </p:nvCxnSpPr>
        <p:spPr bwMode="auto">
          <a:xfrm>
            <a:off x="4219575" y="2597150"/>
            <a:ext cx="30638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6" name="Straight Connector 125"/>
          <p:cNvCxnSpPr/>
          <p:nvPr>
            <p:custDataLst>
              <p:tags r:id="rId11"/>
            </p:custDataLst>
          </p:nvPr>
        </p:nvCxnSpPr>
        <p:spPr bwMode="auto">
          <a:xfrm>
            <a:off x="4911725" y="2411413"/>
            <a:ext cx="307975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7" name="Straight Connector 146"/>
          <p:cNvCxnSpPr/>
          <p:nvPr>
            <p:custDataLst>
              <p:tags r:id="rId12"/>
            </p:custDataLst>
          </p:nvPr>
        </p:nvCxnSpPr>
        <p:spPr bwMode="auto">
          <a:xfrm>
            <a:off x="6991350" y="2184400"/>
            <a:ext cx="30638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5" name="Straight Connector 124"/>
          <p:cNvCxnSpPr/>
          <p:nvPr>
            <p:custDataLst>
              <p:tags r:id="rId13"/>
            </p:custDataLst>
          </p:nvPr>
        </p:nvCxnSpPr>
        <p:spPr bwMode="auto">
          <a:xfrm>
            <a:off x="7683500" y="2141538"/>
            <a:ext cx="30638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0" name="Straight Connector 119"/>
          <p:cNvCxnSpPr/>
          <p:nvPr>
            <p:custDataLst>
              <p:tags r:id="rId14"/>
            </p:custDataLst>
          </p:nvPr>
        </p:nvCxnSpPr>
        <p:spPr bwMode="auto">
          <a:xfrm>
            <a:off x="9069388" y="2082800"/>
            <a:ext cx="30638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7" name="Straight Connector 126"/>
          <p:cNvCxnSpPr/>
          <p:nvPr>
            <p:custDataLst>
              <p:tags r:id="rId15"/>
            </p:custDataLst>
          </p:nvPr>
        </p:nvCxnSpPr>
        <p:spPr bwMode="auto">
          <a:xfrm>
            <a:off x="9761538" y="2058988"/>
            <a:ext cx="307975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6" name="Straight Connector 115"/>
          <p:cNvCxnSpPr/>
          <p:nvPr>
            <p:custDataLst>
              <p:tags r:id="rId16"/>
            </p:custDataLst>
          </p:nvPr>
        </p:nvCxnSpPr>
        <p:spPr bwMode="auto">
          <a:xfrm>
            <a:off x="10455275" y="2044700"/>
            <a:ext cx="30638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46FB2F6-7760-A16A-8579-96E4CDED0E13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326175792"/>
              </p:ext>
            </p:extLst>
          </p:nvPr>
        </p:nvGraphicFramePr>
        <p:xfrm>
          <a:off x="417513" y="1860550"/>
          <a:ext cx="10966450" cy="2873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176" name="Rectangle 80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0109200" y="4681538"/>
            <a:ext cx="30480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0AF48812-17DC-439B-AC75-D89703BEA9CC}" type="datetime'''''''''''''''''''V''''/''''K''''''''''/''P'''''''''''''''''''">
              <a:rPr lang="en-US" altLang="en-US" sz="900">
                <a:cs typeface="Arial" panose="020B0604020202020204" pitchFamily="34" charset="0"/>
              </a:rPr>
              <a:pPr/>
              <a:t>V/K/P</a:t>
            </a:fld>
            <a:endParaRPr lang="en-US" sz="9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61" name="Rectangle 79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9520238" y="4681538"/>
            <a:ext cx="9525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30FF2534-FC3E-4CC6-B67F-DCD9190F0950}" type="datetime'''D'''''''''''''''''''''''''''''''''">
              <a:rPr lang="en-US" altLang="en-US" sz="900" smtClean="0">
                <a:cs typeface="Arial" panose="020B0604020202020204" pitchFamily="34" charset="0"/>
              </a:rPr>
              <a:pPr/>
              <a:t>D</a:t>
            </a:fld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169" name="Rectangle 5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30263" y="1798638"/>
            <a:ext cx="15875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anchor="b"/>
          <a:lstStyle/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M€</a:t>
            </a:r>
          </a:p>
        </p:txBody>
      </p:sp>
      <p:sp>
        <p:nvSpPr>
          <p:cNvPr id="168" name="Rectangle 57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209675" y="4681538"/>
            <a:ext cx="889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A7227577-8F1A-45B8-A49A-DB750828D3E6}" type="datetime'''''''A'''''''''''''''''''''''''''">
              <a:rPr lang="en-US" altLang="en-US" sz="900" smtClean="0">
                <a:cs typeface="Arial" panose="020B0604020202020204" pitchFamily="34" charset="0"/>
              </a:rPr>
              <a:pPr/>
              <a:t>A</a:t>
            </a:fld>
            <a:endParaRPr lang="en-US" sz="9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64" name="Rectangle 76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7451725" y="4681538"/>
            <a:ext cx="7620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6BF87C90-0BA0-4E65-8D38-65623A8BF507}" type="datetime'''''''''''''''''''''''''''''''L'''''''''''''''''''''''''''''">
              <a:rPr lang="en-US" altLang="en-US" sz="900">
                <a:cs typeface="Arial" panose="020B0604020202020204" pitchFamily="34" charset="0"/>
              </a:rPr>
              <a:pPr/>
              <a:t>L</a:t>
            </a:fld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167" name="Rectangle 59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900238" y="4681538"/>
            <a:ext cx="9525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17FDBF1D-C353-4ABC-8F20-F6677C120801}" type="datetime'''''''''''''''C'''''''''''''''''''''''''''''''''''''''''">
              <a:rPr lang="en-US" altLang="en-US" sz="900" smtClean="0">
                <a:cs typeface="Arial" panose="020B0604020202020204" pitchFamily="34" charset="0"/>
              </a:rPr>
              <a:pPr/>
              <a:t>C</a:t>
            </a:fld>
            <a:endParaRPr lang="en-US" sz="9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62" name="Rectangle 78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8831263" y="4681538"/>
            <a:ext cx="8890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EC0DD9EA-D18C-47AA-B388-238E895769D3}" type="datetime'S'''''''''''''''''''''">
              <a:rPr lang="en-US" altLang="en-US" sz="900" smtClean="0">
                <a:cs typeface="Arial" panose="020B0604020202020204" pitchFamily="34" charset="0"/>
              </a:rPr>
              <a:pPr/>
              <a:t>S</a:t>
            </a:fld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166" name="Rectangle 58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2592388" y="4681538"/>
            <a:ext cx="9525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EA9F39FA-CE99-4FB3-898B-88329ABF646E}" type="datetime'''''''''''''''N'''''''''''''''''''''''''">
              <a:rPr lang="en-US" altLang="en-US" sz="900">
                <a:cs typeface="Arial" panose="020B0604020202020204" pitchFamily="34" charset="0"/>
              </a:rPr>
              <a:pPr/>
              <a:t>N</a:t>
            </a:fld>
            <a:endParaRPr lang="en-US" sz="9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74" name="Rectangle 173"/>
          <p:cNvSpPr/>
          <p:nvPr>
            <p:custDataLst>
              <p:tags r:id="rId26"/>
            </p:custDataLst>
          </p:nvPr>
        </p:nvSpPr>
        <p:spPr bwMode="auto">
          <a:xfrm>
            <a:off x="10820400" y="4681538"/>
            <a:ext cx="2667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Total</a:t>
            </a:r>
            <a:endParaRPr kumimoji="0" lang="el-GR" sz="900" strike="noStrike" cap="none" normalizeH="0" dirty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65" name="Rectangle 56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3289300" y="4681538"/>
            <a:ext cx="889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C5478CF8-E941-4236-814F-A98B75D3C639}" type="datetime'''''''''''''''''''''''''''''''B'''''">
              <a:rPr lang="en-US" altLang="en-US" sz="900">
                <a:cs typeface="Arial" panose="020B0604020202020204" pitchFamily="34" charset="0"/>
              </a:rPr>
              <a:pPr/>
              <a:t>B</a:t>
            </a:fld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160" name="Rectangle 124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3990975" y="4681538"/>
            <a:ext cx="6985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4A384863-CDB5-4190-AC3A-7472AA6ACB38}" type="datetime'''''''''''''''''''''''''''J'''''''''''''''''''''''''''''">
              <a:rPr lang="en-US" altLang="en-US" sz="900">
                <a:cs typeface="Arial" panose="020B0604020202020204" pitchFamily="34" charset="0"/>
              </a:rPr>
              <a:pPr/>
              <a:t>J</a:t>
            </a:fld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173" name="Rectangle 61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4670425" y="4681538"/>
            <a:ext cx="9525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A83ECBBD-8A69-4885-B6A1-788A31F30B54}" type="datetime'''''''''''''''''''R'''''''''''''''''''''''''''''">
              <a:rPr lang="en-US" altLang="en-US" sz="900">
                <a:cs typeface="Arial" panose="020B0604020202020204" pitchFamily="34" charset="0"/>
              </a:rPr>
              <a:pPr/>
              <a:t>R</a:t>
            </a:fld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172" name="Rectangle 65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5357813" y="4681538"/>
            <a:ext cx="10795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64E2E2D8-A94A-43FF-9C9A-F4D018461F5C}" type="datetime'''''''''''M'''''''''''''''''''''''''">
              <a:rPr lang="en-US" altLang="en-US" sz="900">
                <a:cs typeface="Arial" panose="020B0604020202020204" pitchFamily="34" charset="0"/>
              </a:rPr>
              <a:pPr/>
              <a:t>M</a:t>
            </a:fld>
            <a:endParaRPr lang="en-US" sz="9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71" name="Rectangle 71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6062663" y="4681538"/>
            <a:ext cx="8255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896C1BF5-5EA4-4A50-8CDD-9806473C2C15}" type="datetime'T'''''''''''''''''''''''''''''''''''''''">
              <a:rPr lang="en-US" altLang="en-US" sz="900">
                <a:cs typeface="Arial" panose="020B0604020202020204" pitchFamily="34" charset="0"/>
              </a:rPr>
              <a:pPr/>
              <a:t>T</a:t>
            </a:fld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170" name="Rectangle 72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6746875" y="4681538"/>
            <a:ext cx="10160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E9544F3A-B894-4640-B3D3-99A5B6C71AB1}" type="datetime'''''''''''''''''''''G'''''''''''''''''''''''">
              <a:rPr lang="en-US" altLang="en-US" sz="900">
                <a:cs typeface="Arial" panose="020B0604020202020204" pitchFamily="34" charset="0"/>
              </a:rPr>
              <a:pPr/>
              <a:t>G</a:t>
            </a:fld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163" name="Rectangle 77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8134350" y="4681538"/>
            <a:ext cx="9525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C0610D0E-FFA2-4144-811C-D29834F03B79}" type="datetime'''''''''''''H'''''''''''''''''''''">
              <a:rPr lang="en-US" altLang="en-US" sz="900">
                <a:cs typeface="Arial" panose="020B0604020202020204" pitchFamily="34" charset="0"/>
              </a:rPr>
              <a:pPr/>
              <a:t>H</a:t>
            </a:fld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4007C1-D739-4EE8-AA67-4EADBBFE009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REIMBURSED MARKE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C2F8F7-85C5-496F-8D0F-A4F6F6E7E5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Note: Excluding all L.3816 products; Based on </a:t>
            </a:r>
            <a:r>
              <a:rPr lang="en-US" dirty="0" err="1"/>
              <a:t>EphMRA</a:t>
            </a:r>
            <a:r>
              <a:rPr lang="en-US" dirty="0"/>
              <a:t> classification (exc. L. 3816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arket size in values (PSP): Reimbursed only – Split by ATC-1 – MAT/03/23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br>
              <a:rPr lang="en-US" dirty="0"/>
            </a:br>
            <a:r>
              <a:rPr lang="en-US" dirty="0"/>
              <a:t>Top-4 ATC-1s account for ~70% of the Reimbursed market</a:t>
            </a:r>
          </a:p>
        </p:txBody>
      </p:sp>
      <p:sp>
        <p:nvSpPr>
          <p:cNvPr id="177" name="Oval 67"/>
          <p:cNvSpPr>
            <a:spLocks noChangeArrowheads="1"/>
          </p:cNvSpPr>
          <p:nvPr/>
        </p:nvSpPr>
        <p:spPr bwMode="auto">
          <a:xfrm>
            <a:off x="3821442" y="4949411"/>
            <a:ext cx="396000" cy="2160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>
              <a:defRPr/>
            </a:pPr>
            <a:r>
              <a:rPr lang="en-US" sz="900" dirty="0">
                <a:latin typeface="+mj-lt"/>
              </a:rPr>
              <a:t>8.5%</a:t>
            </a:r>
          </a:p>
        </p:txBody>
      </p:sp>
      <p:sp>
        <p:nvSpPr>
          <p:cNvPr id="178" name="Oval 67"/>
          <p:cNvSpPr>
            <a:spLocks noChangeArrowheads="1"/>
          </p:cNvSpPr>
          <p:nvPr/>
        </p:nvSpPr>
        <p:spPr bwMode="auto">
          <a:xfrm>
            <a:off x="4514531" y="4949411"/>
            <a:ext cx="396000" cy="2160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>
              <a:defRPr/>
            </a:pPr>
            <a:r>
              <a:rPr lang="en-US" sz="900" dirty="0">
                <a:latin typeface="+mj-lt"/>
              </a:rPr>
              <a:t>7.1%</a:t>
            </a:r>
          </a:p>
        </p:txBody>
      </p:sp>
      <p:sp>
        <p:nvSpPr>
          <p:cNvPr id="179" name="Oval 67"/>
          <p:cNvSpPr>
            <a:spLocks noChangeArrowheads="1"/>
          </p:cNvSpPr>
          <p:nvPr/>
        </p:nvSpPr>
        <p:spPr bwMode="auto">
          <a:xfrm>
            <a:off x="5207620" y="4949411"/>
            <a:ext cx="396000" cy="2160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>
              <a:defRPr/>
            </a:pPr>
            <a:r>
              <a:rPr lang="en-US" sz="900" dirty="0">
                <a:latin typeface="+mj-lt"/>
              </a:rPr>
              <a:t>3.5%</a:t>
            </a:r>
          </a:p>
        </p:txBody>
      </p:sp>
      <p:sp>
        <p:nvSpPr>
          <p:cNvPr id="180" name="Oval 67"/>
          <p:cNvSpPr>
            <a:spLocks noChangeArrowheads="1"/>
          </p:cNvSpPr>
          <p:nvPr/>
        </p:nvSpPr>
        <p:spPr bwMode="auto">
          <a:xfrm>
            <a:off x="5900709" y="4949411"/>
            <a:ext cx="396000" cy="2160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>
              <a:defRPr/>
            </a:pPr>
            <a:r>
              <a:rPr lang="en-US" sz="900">
                <a:latin typeface="+mj-lt"/>
              </a:rPr>
              <a:t>2.8%</a:t>
            </a:r>
            <a:endParaRPr lang="en-US" sz="900" dirty="0">
              <a:latin typeface="+mj-lt"/>
            </a:endParaRPr>
          </a:p>
        </p:txBody>
      </p:sp>
      <p:sp>
        <p:nvSpPr>
          <p:cNvPr id="181" name="Oval 67"/>
          <p:cNvSpPr>
            <a:spLocks noChangeArrowheads="1"/>
          </p:cNvSpPr>
          <p:nvPr/>
        </p:nvSpPr>
        <p:spPr bwMode="auto">
          <a:xfrm>
            <a:off x="6593798" y="4949411"/>
            <a:ext cx="396000" cy="2160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>
              <a:defRPr/>
            </a:pPr>
            <a:r>
              <a:rPr lang="en-US" sz="900">
                <a:latin typeface="+mj-lt"/>
              </a:rPr>
              <a:t>2.5%</a:t>
            </a:r>
            <a:endParaRPr lang="en-US" sz="900" dirty="0">
              <a:latin typeface="+mj-lt"/>
            </a:endParaRPr>
          </a:p>
        </p:txBody>
      </p:sp>
      <p:sp>
        <p:nvSpPr>
          <p:cNvPr id="182" name="Oval 67"/>
          <p:cNvSpPr>
            <a:spLocks noChangeArrowheads="1"/>
          </p:cNvSpPr>
          <p:nvPr/>
        </p:nvSpPr>
        <p:spPr bwMode="auto">
          <a:xfrm>
            <a:off x="7286887" y="4949411"/>
            <a:ext cx="396000" cy="2160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>
              <a:defRPr/>
            </a:pPr>
            <a:r>
              <a:rPr lang="en-US" sz="900" dirty="0">
                <a:latin typeface="+mj-lt"/>
              </a:rPr>
              <a:t>1.6%</a:t>
            </a:r>
          </a:p>
        </p:txBody>
      </p:sp>
      <p:sp>
        <p:nvSpPr>
          <p:cNvPr id="183" name="Oval 67"/>
          <p:cNvSpPr>
            <a:spLocks noChangeArrowheads="1"/>
          </p:cNvSpPr>
          <p:nvPr/>
        </p:nvSpPr>
        <p:spPr bwMode="auto">
          <a:xfrm>
            <a:off x="7979976" y="4949411"/>
            <a:ext cx="396000" cy="2160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>
              <a:defRPr/>
            </a:pPr>
            <a:r>
              <a:rPr lang="en-US" sz="900" dirty="0">
                <a:latin typeface="+mj-lt"/>
              </a:rPr>
              <a:t>1.3%</a:t>
            </a:r>
          </a:p>
        </p:txBody>
      </p:sp>
      <p:sp>
        <p:nvSpPr>
          <p:cNvPr id="184" name="Oval 67"/>
          <p:cNvSpPr>
            <a:spLocks noChangeArrowheads="1"/>
          </p:cNvSpPr>
          <p:nvPr/>
        </p:nvSpPr>
        <p:spPr bwMode="auto">
          <a:xfrm>
            <a:off x="8673065" y="4949411"/>
            <a:ext cx="396000" cy="2160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>
              <a:defRPr/>
            </a:pPr>
            <a:r>
              <a:rPr lang="en-US" sz="900" dirty="0">
                <a:latin typeface="+mj-lt"/>
              </a:rPr>
              <a:t>1.0%</a:t>
            </a:r>
          </a:p>
        </p:txBody>
      </p:sp>
      <p:sp>
        <p:nvSpPr>
          <p:cNvPr id="185" name="Oval 67"/>
          <p:cNvSpPr>
            <a:spLocks noChangeArrowheads="1"/>
          </p:cNvSpPr>
          <p:nvPr/>
        </p:nvSpPr>
        <p:spPr bwMode="auto">
          <a:xfrm>
            <a:off x="9366154" y="4949411"/>
            <a:ext cx="396000" cy="2160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>
              <a:defRPr/>
            </a:pPr>
            <a:r>
              <a:rPr lang="en-US" sz="900" dirty="0">
                <a:latin typeface="+mj-lt"/>
              </a:rPr>
              <a:t>0.9%</a:t>
            </a:r>
          </a:p>
        </p:txBody>
      </p:sp>
      <p:sp>
        <p:nvSpPr>
          <p:cNvPr id="186" name="Oval 67"/>
          <p:cNvSpPr>
            <a:spLocks noChangeArrowheads="1"/>
          </p:cNvSpPr>
          <p:nvPr/>
        </p:nvSpPr>
        <p:spPr bwMode="auto">
          <a:xfrm>
            <a:off x="10059245" y="4949411"/>
            <a:ext cx="396000" cy="2160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>
              <a:defRPr/>
            </a:pPr>
            <a:r>
              <a:rPr lang="en-US" sz="900" dirty="0">
                <a:latin typeface="+mj-lt"/>
              </a:rPr>
              <a:t>0.5%</a:t>
            </a:r>
          </a:p>
        </p:txBody>
      </p:sp>
      <p:sp>
        <p:nvSpPr>
          <p:cNvPr id="187" name="Text Box 9"/>
          <p:cNvSpPr txBox="1">
            <a:spLocks noChangeArrowheads="1"/>
          </p:cNvSpPr>
          <p:nvPr/>
        </p:nvSpPr>
        <p:spPr bwMode="auto">
          <a:xfrm>
            <a:off x="967514" y="5582242"/>
            <a:ext cx="1638299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A</a:t>
            </a:r>
            <a:r>
              <a:rPr lang="en-US" sz="800" i="1" dirty="0">
                <a:latin typeface="+mj-lt"/>
              </a:rPr>
              <a:t>=Alimentary T.&amp; Metabolism </a:t>
            </a:r>
            <a:r>
              <a:rPr lang="en-US" sz="800" b="1" i="1" dirty="0">
                <a:latin typeface="+mj-lt"/>
              </a:rPr>
              <a:t>B</a:t>
            </a:r>
            <a:r>
              <a:rPr lang="en-US" sz="800" i="1" dirty="0">
                <a:latin typeface="+mj-lt"/>
              </a:rPr>
              <a:t>=Blood + B.Forming Organs </a:t>
            </a:r>
            <a:r>
              <a:rPr lang="en-US" sz="800" b="1" i="1" dirty="0">
                <a:latin typeface="+mj-lt"/>
              </a:rPr>
              <a:t>C</a:t>
            </a:r>
            <a:r>
              <a:rPr lang="en-US" sz="800" i="1" dirty="0">
                <a:latin typeface="+mj-lt"/>
              </a:rPr>
              <a:t>=Cardiovascular System</a:t>
            </a:r>
          </a:p>
        </p:txBody>
      </p:sp>
      <p:sp>
        <p:nvSpPr>
          <p:cNvPr id="188" name="Text Box 9"/>
          <p:cNvSpPr txBox="1">
            <a:spLocks noChangeArrowheads="1"/>
          </p:cNvSpPr>
          <p:nvPr/>
        </p:nvSpPr>
        <p:spPr bwMode="auto">
          <a:xfrm>
            <a:off x="2863019" y="5582242"/>
            <a:ext cx="1908174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D</a:t>
            </a:r>
            <a:r>
              <a:rPr lang="en-US" sz="800" i="1" dirty="0">
                <a:latin typeface="+mj-lt"/>
              </a:rPr>
              <a:t>=</a:t>
            </a:r>
            <a:r>
              <a:rPr lang="en-US" sz="800" i="1" dirty="0" err="1">
                <a:latin typeface="+mj-lt"/>
              </a:rPr>
              <a:t>Dermatologicals</a:t>
            </a:r>
            <a:endParaRPr lang="en-US" sz="800" i="1" dirty="0">
              <a:latin typeface="+mj-lt"/>
            </a:endParaRPr>
          </a:p>
          <a:p>
            <a:pPr eaLnBrk="0" hangingPunct="0">
              <a:lnSpc>
                <a:spcPct val="85000"/>
              </a:lnSpc>
            </a:pPr>
            <a:r>
              <a:rPr lang="en-US" sz="800" b="1" i="1">
                <a:latin typeface="+mj-lt"/>
              </a:rPr>
              <a:t>G</a:t>
            </a:r>
            <a:r>
              <a:rPr lang="en-US" sz="800" i="1">
                <a:latin typeface="+mj-lt"/>
              </a:rPr>
              <a:t>=G.U.System &amp; Sex Hormones </a:t>
            </a:r>
            <a:r>
              <a:rPr lang="en-US" sz="800" b="1" i="1">
                <a:latin typeface="+mj-lt"/>
              </a:rPr>
              <a:t>H</a:t>
            </a:r>
            <a:r>
              <a:rPr lang="en-US" sz="800" i="1">
                <a:latin typeface="+mj-lt"/>
              </a:rPr>
              <a:t>=Systemic Hormones</a:t>
            </a:r>
            <a:endParaRPr lang="en-US" sz="800" i="1" dirty="0">
              <a:latin typeface="+mj-lt"/>
            </a:endParaRPr>
          </a:p>
        </p:txBody>
      </p:sp>
      <p:sp>
        <p:nvSpPr>
          <p:cNvPr id="189" name="Text Box 9"/>
          <p:cNvSpPr txBox="1">
            <a:spLocks noChangeArrowheads="1"/>
          </p:cNvSpPr>
          <p:nvPr/>
        </p:nvSpPr>
        <p:spPr bwMode="auto">
          <a:xfrm>
            <a:off x="5028399" y="5582242"/>
            <a:ext cx="1908174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J</a:t>
            </a:r>
            <a:r>
              <a:rPr lang="en-US" sz="800" i="1" dirty="0">
                <a:latin typeface="+mj-lt"/>
              </a:rPr>
              <a:t>=Systemic Anti-</a:t>
            </a:r>
            <a:r>
              <a:rPr lang="en-US" sz="800" i="1" dirty="0" err="1">
                <a:latin typeface="+mj-lt"/>
              </a:rPr>
              <a:t>Infectives</a:t>
            </a:r>
            <a:endParaRPr lang="en-US" sz="800" i="1" dirty="0">
              <a:latin typeface="+mj-lt"/>
            </a:endParaRPr>
          </a:p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K</a:t>
            </a:r>
            <a:r>
              <a:rPr lang="en-US" sz="800" i="1" dirty="0">
                <a:latin typeface="+mj-lt"/>
              </a:rPr>
              <a:t>=Hospital Solutions</a:t>
            </a:r>
          </a:p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L</a:t>
            </a:r>
            <a:r>
              <a:rPr lang="en-US" sz="800" i="1" dirty="0">
                <a:latin typeface="+mj-lt"/>
              </a:rPr>
              <a:t>=</a:t>
            </a:r>
            <a:r>
              <a:rPr lang="en-US" sz="800" i="1" dirty="0" err="1">
                <a:latin typeface="+mj-lt"/>
              </a:rPr>
              <a:t>Antineoplast+Immunomodul</a:t>
            </a:r>
            <a:endParaRPr lang="en-US" sz="800" i="1" dirty="0">
              <a:latin typeface="+mj-lt"/>
            </a:endParaRPr>
          </a:p>
        </p:txBody>
      </p:sp>
      <p:sp>
        <p:nvSpPr>
          <p:cNvPr id="190" name="Text Box 9"/>
          <p:cNvSpPr txBox="1">
            <a:spLocks noChangeArrowheads="1"/>
          </p:cNvSpPr>
          <p:nvPr/>
        </p:nvSpPr>
        <p:spPr bwMode="auto">
          <a:xfrm>
            <a:off x="7193779" y="5582242"/>
            <a:ext cx="1908174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M</a:t>
            </a:r>
            <a:r>
              <a:rPr lang="en-US" sz="800" i="1" dirty="0">
                <a:latin typeface="+mj-lt"/>
              </a:rPr>
              <a:t>=Musculo-Skeletal System</a:t>
            </a:r>
          </a:p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N</a:t>
            </a:r>
            <a:r>
              <a:rPr lang="en-US" sz="800" i="1" dirty="0">
                <a:latin typeface="+mj-lt"/>
              </a:rPr>
              <a:t>=Central Nervous System </a:t>
            </a:r>
            <a:r>
              <a:rPr lang="en-US" sz="800" b="1" i="1" dirty="0">
                <a:latin typeface="+mj-lt"/>
              </a:rPr>
              <a:t>P</a:t>
            </a:r>
            <a:r>
              <a:rPr lang="en-US" sz="800" i="1" dirty="0">
                <a:latin typeface="+mj-lt"/>
              </a:rPr>
              <a:t>=Parasitology</a:t>
            </a:r>
          </a:p>
        </p:txBody>
      </p:sp>
      <p:sp>
        <p:nvSpPr>
          <p:cNvPr id="191" name="Text Box 9"/>
          <p:cNvSpPr txBox="1">
            <a:spLocks noChangeArrowheads="1"/>
          </p:cNvSpPr>
          <p:nvPr/>
        </p:nvSpPr>
        <p:spPr bwMode="auto">
          <a:xfrm>
            <a:off x="9359160" y="5586792"/>
            <a:ext cx="1233510" cy="418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R</a:t>
            </a:r>
            <a:r>
              <a:rPr lang="en-US" sz="800" i="1" dirty="0">
                <a:latin typeface="+mj-lt"/>
              </a:rPr>
              <a:t>=Respiratory System</a:t>
            </a:r>
          </a:p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S</a:t>
            </a:r>
            <a:r>
              <a:rPr lang="en-US" sz="800" i="1" dirty="0">
                <a:latin typeface="+mj-lt"/>
              </a:rPr>
              <a:t>=Sensory Organs</a:t>
            </a:r>
          </a:p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T</a:t>
            </a:r>
            <a:r>
              <a:rPr lang="en-US" sz="800" i="1" dirty="0">
                <a:latin typeface="+mj-lt"/>
              </a:rPr>
              <a:t>=Diagnostic Agents</a:t>
            </a:r>
          </a:p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V</a:t>
            </a:r>
            <a:r>
              <a:rPr lang="en-US" sz="800" i="1" dirty="0">
                <a:latin typeface="+mj-lt"/>
              </a:rPr>
              <a:t>=Various</a:t>
            </a:r>
          </a:p>
        </p:txBody>
      </p:sp>
      <p:sp>
        <p:nvSpPr>
          <p:cNvPr id="192" name="Oval 67"/>
          <p:cNvSpPr>
            <a:spLocks noChangeArrowheads="1"/>
          </p:cNvSpPr>
          <p:nvPr/>
        </p:nvSpPr>
        <p:spPr bwMode="auto">
          <a:xfrm>
            <a:off x="1049086" y="4949411"/>
            <a:ext cx="396000" cy="2160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>
              <a:defRPr/>
            </a:pPr>
            <a:r>
              <a:rPr lang="en-US" sz="900" dirty="0">
                <a:latin typeface="+mj-lt"/>
              </a:rPr>
              <a:t>23.8%</a:t>
            </a:r>
          </a:p>
        </p:txBody>
      </p:sp>
      <p:sp>
        <p:nvSpPr>
          <p:cNvPr id="193" name="Oval 67"/>
          <p:cNvSpPr>
            <a:spLocks noChangeArrowheads="1"/>
          </p:cNvSpPr>
          <p:nvPr/>
        </p:nvSpPr>
        <p:spPr bwMode="auto">
          <a:xfrm>
            <a:off x="1742175" y="4949411"/>
            <a:ext cx="396000" cy="2160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>
              <a:defRPr/>
            </a:pPr>
            <a:r>
              <a:rPr lang="en-US" sz="900" dirty="0">
                <a:latin typeface="+mj-lt"/>
              </a:rPr>
              <a:t>21.0%</a:t>
            </a:r>
          </a:p>
        </p:txBody>
      </p:sp>
      <p:sp>
        <p:nvSpPr>
          <p:cNvPr id="194" name="Oval 67"/>
          <p:cNvSpPr>
            <a:spLocks noChangeArrowheads="1"/>
          </p:cNvSpPr>
          <p:nvPr/>
        </p:nvSpPr>
        <p:spPr bwMode="auto">
          <a:xfrm>
            <a:off x="2435264" y="4949411"/>
            <a:ext cx="396000" cy="2160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>
              <a:defRPr/>
            </a:pPr>
            <a:r>
              <a:rPr lang="en-US" sz="900" dirty="0">
                <a:latin typeface="+mj-lt"/>
              </a:rPr>
              <a:t>13.0%</a:t>
            </a:r>
          </a:p>
        </p:txBody>
      </p:sp>
      <p:sp>
        <p:nvSpPr>
          <p:cNvPr id="195" name="Oval 67"/>
          <p:cNvSpPr>
            <a:spLocks noChangeArrowheads="1"/>
          </p:cNvSpPr>
          <p:nvPr/>
        </p:nvSpPr>
        <p:spPr bwMode="auto">
          <a:xfrm>
            <a:off x="3128353" y="4949411"/>
            <a:ext cx="396000" cy="2160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>
              <a:defRPr/>
            </a:pPr>
            <a:r>
              <a:rPr lang="en-US" sz="900" dirty="0">
                <a:latin typeface="+mj-lt"/>
              </a:rPr>
              <a:t>12.5%</a:t>
            </a:r>
          </a:p>
        </p:txBody>
      </p:sp>
      <p:sp>
        <p:nvSpPr>
          <p:cNvPr id="196" name="Text Box 76"/>
          <p:cNvSpPr txBox="1">
            <a:spLocks noChangeArrowheads="1"/>
          </p:cNvSpPr>
          <p:nvPr/>
        </p:nvSpPr>
        <p:spPr bwMode="auto">
          <a:xfrm>
            <a:off x="345681" y="4972990"/>
            <a:ext cx="622300" cy="2354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900" i="1" dirty="0">
                <a:latin typeface="+mj-lt"/>
                <a:cs typeface="Arial" pitchFamily="34" charset="0"/>
              </a:rPr>
              <a:t>% ATC-1</a:t>
            </a:r>
          </a:p>
          <a:p>
            <a:pPr algn="ctr">
              <a:lnSpc>
                <a:spcPct val="85000"/>
              </a:lnSpc>
            </a:pPr>
            <a:r>
              <a:rPr lang="en-US" sz="900" i="1" dirty="0">
                <a:latin typeface="+mj-lt"/>
                <a:cs typeface="Arial" pitchFamily="34" charset="0"/>
              </a:rPr>
              <a:t>m.s.:</a:t>
            </a:r>
          </a:p>
        </p:txBody>
      </p:sp>
      <p:sp>
        <p:nvSpPr>
          <p:cNvPr id="197" name="Oval 67"/>
          <p:cNvSpPr>
            <a:spLocks noChangeArrowheads="1"/>
          </p:cNvSpPr>
          <p:nvPr/>
        </p:nvSpPr>
        <p:spPr bwMode="auto">
          <a:xfrm>
            <a:off x="2094428" y="5227614"/>
            <a:ext cx="396000" cy="216000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 anchorCtr="1"/>
          <a:lstStyle/>
          <a:p>
            <a:pPr algn="ctr">
              <a:defRPr/>
            </a:pPr>
            <a:r>
              <a:rPr lang="el-GR" sz="900" dirty="0"/>
              <a:t>7</a:t>
            </a:r>
            <a:r>
              <a:rPr lang="en-US" sz="900" dirty="0"/>
              <a:t>0</a:t>
            </a:r>
            <a:r>
              <a:rPr lang="el-GR" sz="900" dirty="0"/>
              <a:t>.</a:t>
            </a:r>
            <a:r>
              <a:rPr lang="en-US" sz="900" dirty="0"/>
              <a:t>3</a:t>
            </a:r>
            <a:r>
              <a:rPr lang="el-GR" sz="900" dirty="0"/>
              <a:t>%</a:t>
            </a: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6673F61-91EE-4037-A3EC-AC1D47399E5F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9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Text Placeholder 1">
            <a:extLst>
              <a:ext uri="{FF2B5EF4-FFF2-40B4-BE49-F238E27FC236}">
                <a16:creationId xmlns:a16="http://schemas.microsoft.com/office/drawing/2014/main" id="{5F99E998-39B6-4845-9589-D7569B98A2B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013" y="6397157"/>
            <a:ext cx="7560000" cy="110800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</p:spTree>
    <p:extLst>
      <p:ext uri="{BB962C8B-B14F-4D97-AF65-F5344CB8AC3E}">
        <p14:creationId xmlns:p14="http://schemas.microsoft.com/office/powerpoint/2010/main" val="342381165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248764A-8947-426D-9B8F-679FB0D21B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827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3" imgW="592" imgH="591" progId="TCLayout.ActiveDocument.1">
                  <p:embed/>
                </p:oleObj>
              </mc:Choice>
              <mc:Fallback>
                <p:oleObj name="think-cell Slide" r:id="rId123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248764A-8947-426D-9B8F-679FB0D21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800" dirty="0" err="1">
              <a:cs typeface="Arial" panose="020B0604020202020204" pitchFamily="34" charset="0"/>
              <a:sym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4007C1-D739-4EE8-AA67-4EADBBFE009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REIMBURSED MARKE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C2F8F7-85C5-496F-8D0F-A4F6F6E7E5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Note: Excluding all L.3816 products; Based on EphMRA classification (exc. L. 3816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arket values and YoY change: Reimbursed – Split by ATC-1 &amp; patent status – MAT/03/23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imbursed value sales increased in the last 12 months across top-4 ATC-1s, except N and B</a:t>
            </a:r>
          </a:p>
        </p:txBody>
      </p:sp>
      <p:sp>
        <p:nvSpPr>
          <p:cNvPr id="187" name="Text Box 9"/>
          <p:cNvSpPr txBox="1">
            <a:spLocks noChangeArrowheads="1"/>
          </p:cNvSpPr>
          <p:nvPr/>
        </p:nvSpPr>
        <p:spPr bwMode="auto">
          <a:xfrm>
            <a:off x="967514" y="5758411"/>
            <a:ext cx="1638299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A</a:t>
            </a:r>
            <a:r>
              <a:rPr lang="en-US" sz="800" i="1" dirty="0">
                <a:latin typeface="+mj-lt"/>
              </a:rPr>
              <a:t>=Alimentary T.&amp; Metabolism </a:t>
            </a:r>
            <a:r>
              <a:rPr lang="en-US" sz="800" b="1" i="1" dirty="0">
                <a:latin typeface="+mj-lt"/>
              </a:rPr>
              <a:t>B</a:t>
            </a:r>
            <a:r>
              <a:rPr lang="en-US" sz="800" i="1" dirty="0">
                <a:latin typeface="+mj-lt"/>
              </a:rPr>
              <a:t>=Blood + B.Forming Organs </a:t>
            </a:r>
            <a:r>
              <a:rPr lang="en-US" sz="800" b="1" i="1" dirty="0">
                <a:latin typeface="+mj-lt"/>
              </a:rPr>
              <a:t>C</a:t>
            </a:r>
            <a:r>
              <a:rPr lang="en-US" sz="800" i="1" dirty="0">
                <a:latin typeface="+mj-lt"/>
              </a:rPr>
              <a:t>=Cardiovascular System</a:t>
            </a:r>
          </a:p>
        </p:txBody>
      </p:sp>
      <p:sp>
        <p:nvSpPr>
          <p:cNvPr id="188" name="Text Box 9"/>
          <p:cNvSpPr txBox="1">
            <a:spLocks noChangeArrowheads="1"/>
          </p:cNvSpPr>
          <p:nvPr/>
        </p:nvSpPr>
        <p:spPr bwMode="auto">
          <a:xfrm>
            <a:off x="2863019" y="5758411"/>
            <a:ext cx="1908174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D</a:t>
            </a:r>
            <a:r>
              <a:rPr lang="en-US" sz="800" i="1" dirty="0">
                <a:latin typeface="+mj-lt"/>
              </a:rPr>
              <a:t>=Dermatologicals</a:t>
            </a:r>
          </a:p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G</a:t>
            </a:r>
            <a:r>
              <a:rPr lang="en-US" sz="800" i="1" dirty="0">
                <a:latin typeface="+mj-lt"/>
              </a:rPr>
              <a:t>=G.U.System &amp; Sex Hormones </a:t>
            </a:r>
            <a:r>
              <a:rPr lang="en-US" sz="800" b="1" i="1" dirty="0">
                <a:latin typeface="+mj-lt"/>
              </a:rPr>
              <a:t>H</a:t>
            </a:r>
            <a:r>
              <a:rPr lang="en-US" sz="800" i="1" dirty="0">
                <a:latin typeface="+mj-lt"/>
              </a:rPr>
              <a:t>=Systemic Hormones</a:t>
            </a:r>
          </a:p>
        </p:txBody>
      </p:sp>
      <p:sp>
        <p:nvSpPr>
          <p:cNvPr id="189" name="Text Box 9"/>
          <p:cNvSpPr txBox="1">
            <a:spLocks noChangeArrowheads="1"/>
          </p:cNvSpPr>
          <p:nvPr/>
        </p:nvSpPr>
        <p:spPr bwMode="auto">
          <a:xfrm>
            <a:off x="5028399" y="5758411"/>
            <a:ext cx="1908174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J</a:t>
            </a:r>
            <a:r>
              <a:rPr lang="en-US" sz="800" i="1" dirty="0">
                <a:latin typeface="+mj-lt"/>
              </a:rPr>
              <a:t>=Systemic Anti-</a:t>
            </a:r>
            <a:r>
              <a:rPr lang="en-US" sz="800" i="1" dirty="0" err="1">
                <a:latin typeface="+mj-lt"/>
              </a:rPr>
              <a:t>Infectives</a:t>
            </a:r>
            <a:endParaRPr lang="en-US" sz="800" i="1" dirty="0">
              <a:latin typeface="+mj-lt"/>
            </a:endParaRPr>
          </a:p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K</a:t>
            </a:r>
            <a:r>
              <a:rPr lang="en-US" sz="800" i="1" dirty="0">
                <a:latin typeface="+mj-lt"/>
              </a:rPr>
              <a:t>=Hospital Solutions</a:t>
            </a:r>
          </a:p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L</a:t>
            </a:r>
            <a:r>
              <a:rPr lang="en-US" sz="800" i="1" dirty="0">
                <a:latin typeface="+mj-lt"/>
              </a:rPr>
              <a:t>=Antineoplast+Immunomodul</a:t>
            </a:r>
          </a:p>
        </p:txBody>
      </p:sp>
      <p:sp>
        <p:nvSpPr>
          <p:cNvPr id="190" name="Text Box 9"/>
          <p:cNvSpPr txBox="1">
            <a:spLocks noChangeArrowheads="1"/>
          </p:cNvSpPr>
          <p:nvPr/>
        </p:nvSpPr>
        <p:spPr bwMode="auto">
          <a:xfrm>
            <a:off x="7193779" y="5758411"/>
            <a:ext cx="1908174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M</a:t>
            </a:r>
            <a:r>
              <a:rPr lang="en-US" sz="800" i="1" dirty="0">
                <a:latin typeface="+mj-lt"/>
              </a:rPr>
              <a:t>=Musculo-Skeletal System</a:t>
            </a:r>
          </a:p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N</a:t>
            </a:r>
            <a:r>
              <a:rPr lang="en-US" sz="800" i="1" dirty="0">
                <a:latin typeface="+mj-lt"/>
              </a:rPr>
              <a:t>=Central Nervous System </a:t>
            </a:r>
            <a:r>
              <a:rPr lang="en-US" sz="800" b="1" i="1" dirty="0">
                <a:latin typeface="+mj-lt"/>
              </a:rPr>
              <a:t>P</a:t>
            </a:r>
            <a:r>
              <a:rPr lang="en-US" sz="800" i="1" dirty="0">
                <a:latin typeface="+mj-lt"/>
              </a:rPr>
              <a:t>=Parasitology</a:t>
            </a:r>
          </a:p>
        </p:txBody>
      </p:sp>
      <p:sp>
        <p:nvSpPr>
          <p:cNvPr id="191" name="Text Box 9"/>
          <p:cNvSpPr txBox="1">
            <a:spLocks noChangeArrowheads="1"/>
          </p:cNvSpPr>
          <p:nvPr/>
        </p:nvSpPr>
        <p:spPr bwMode="auto">
          <a:xfrm>
            <a:off x="9359160" y="5762961"/>
            <a:ext cx="1233510" cy="418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R</a:t>
            </a:r>
            <a:r>
              <a:rPr lang="en-US" sz="800" i="1" dirty="0">
                <a:latin typeface="+mj-lt"/>
              </a:rPr>
              <a:t>=Respiratory System</a:t>
            </a:r>
          </a:p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S</a:t>
            </a:r>
            <a:r>
              <a:rPr lang="en-US" sz="800" i="1" dirty="0">
                <a:latin typeface="+mj-lt"/>
              </a:rPr>
              <a:t>=Sensory Organs</a:t>
            </a:r>
          </a:p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T</a:t>
            </a:r>
            <a:r>
              <a:rPr lang="en-US" sz="800" i="1" dirty="0">
                <a:latin typeface="+mj-lt"/>
              </a:rPr>
              <a:t>=Diagnostic Agents</a:t>
            </a:r>
          </a:p>
          <a:p>
            <a:pPr eaLnBrk="0" hangingPunct="0">
              <a:lnSpc>
                <a:spcPct val="85000"/>
              </a:lnSpc>
            </a:pPr>
            <a:r>
              <a:rPr lang="en-US" sz="800" b="1" i="1" dirty="0">
                <a:latin typeface="+mj-lt"/>
              </a:rPr>
              <a:t>V</a:t>
            </a:r>
            <a:r>
              <a:rPr lang="en-US" sz="800" i="1" dirty="0">
                <a:latin typeface="+mj-lt"/>
              </a:rPr>
              <a:t>=Various</a:t>
            </a:r>
          </a:p>
        </p:txBody>
      </p:sp>
      <p:graphicFrame>
        <p:nvGraphicFramePr>
          <p:cNvPr id="127" name="Chart 126">
            <a:extLst>
              <a:ext uri="{FF2B5EF4-FFF2-40B4-BE49-F238E27FC236}">
                <a16:creationId xmlns:a16="http://schemas.microsoft.com/office/drawing/2014/main" id="{CD611035-CF1A-FF81-268D-6D0EDAF9E21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93995215"/>
              </p:ext>
            </p:extLst>
          </p:nvPr>
        </p:nvGraphicFramePr>
        <p:xfrm>
          <a:off x="460375" y="1747838"/>
          <a:ext cx="11345863" cy="1839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5"/>
          </a:graphicData>
        </a:graphic>
      </p:graphicFrame>
      <p:cxnSp>
        <p:nvCxnSpPr>
          <p:cNvPr id="100" name="Straight Connector 99"/>
          <p:cNvCxnSpPr/>
          <p:nvPr>
            <p:custDataLst>
              <p:tags r:id="rId4"/>
            </p:custDataLst>
          </p:nvPr>
        </p:nvCxnSpPr>
        <p:spPr bwMode="auto">
          <a:xfrm>
            <a:off x="1176338" y="1701800"/>
            <a:ext cx="296863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1" name="Straight Connector 100"/>
          <p:cNvCxnSpPr/>
          <p:nvPr>
            <p:custDataLst>
              <p:tags r:id="rId5"/>
            </p:custDataLst>
          </p:nvPr>
        </p:nvCxnSpPr>
        <p:spPr bwMode="auto">
          <a:xfrm flipV="1">
            <a:off x="1176338" y="1701800"/>
            <a:ext cx="0" cy="339725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9" name="Straight Connector 98"/>
          <p:cNvCxnSpPr/>
          <p:nvPr>
            <p:custDataLst>
              <p:tags r:id="rId6"/>
            </p:custDataLst>
          </p:nvPr>
        </p:nvCxnSpPr>
        <p:spPr bwMode="auto">
          <a:xfrm>
            <a:off x="1473200" y="1701800"/>
            <a:ext cx="0" cy="230188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8" name="Straight Connector 97"/>
          <p:cNvCxnSpPr/>
          <p:nvPr>
            <p:custDataLst>
              <p:tags r:id="rId7"/>
            </p:custDataLst>
          </p:nvPr>
        </p:nvCxnSpPr>
        <p:spPr bwMode="auto">
          <a:xfrm flipV="1">
            <a:off x="2008188" y="1862138"/>
            <a:ext cx="0" cy="263525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7" name="Straight Connector 96"/>
          <p:cNvCxnSpPr/>
          <p:nvPr>
            <p:custDataLst>
              <p:tags r:id="rId8"/>
            </p:custDataLst>
          </p:nvPr>
        </p:nvCxnSpPr>
        <p:spPr bwMode="auto">
          <a:xfrm>
            <a:off x="2008188" y="1862138"/>
            <a:ext cx="296863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6" name="Straight Connector 95"/>
          <p:cNvCxnSpPr/>
          <p:nvPr>
            <p:custDataLst>
              <p:tags r:id="rId9"/>
            </p:custDataLst>
          </p:nvPr>
        </p:nvCxnSpPr>
        <p:spPr bwMode="auto">
          <a:xfrm>
            <a:off x="2305050" y="1862138"/>
            <a:ext cx="0" cy="230188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3" name="Straight Connector 92"/>
          <p:cNvCxnSpPr/>
          <p:nvPr>
            <p:custDataLst>
              <p:tags r:id="rId10"/>
            </p:custDataLst>
          </p:nvPr>
        </p:nvCxnSpPr>
        <p:spPr bwMode="auto">
          <a:xfrm>
            <a:off x="3136900" y="2411413"/>
            <a:ext cx="0" cy="15240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94" name="Straight Connector 93"/>
          <p:cNvCxnSpPr/>
          <p:nvPr>
            <p:custDataLst>
              <p:tags r:id="rId11"/>
            </p:custDataLst>
          </p:nvPr>
        </p:nvCxnSpPr>
        <p:spPr bwMode="auto">
          <a:xfrm>
            <a:off x="2840038" y="2411413"/>
            <a:ext cx="296863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5" name="Straight Connector 94"/>
          <p:cNvCxnSpPr/>
          <p:nvPr>
            <p:custDataLst>
              <p:tags r:id="rId12"/>
            </p:custDataLst>
          </p:nvPr>
        </p:nvCxnSpPr>
        <p:spPr bwMode="auto">
          <a:xfrm flipV="1">
            <a:off x="2840038" y="2411413"/>
            <a:ext cx="0" cy="15240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Straight Connector 107"/>
          <p:cNvCxnSpPr/>
          <p:nvPr>
            <p:custDataLst>
              <p:tags r:id="rId13"/>
            </p:custDataLst>
          </p:nvPr>
        </p:nvCxnSpPr>
        <p:spPr bwMode="auto">
          <a:xfrm flipV="1">
            <a:off x="3671888" y="2435224"/>
            <a:ext cx="0" cy="15240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1" name="Straight Connector 90"/>
          <p:cNvCxnSpPr/>
          <p:nvPr>
            <p:custDataLst>
              <p:tags r:id="rId14"/>
            </p:custDataLst>
          </p:nvPr>
        </p:nvCxnSpPr>
        <p:spPr bwMode="auto">
          <a:xfrm>
            <a:off x="3671888" y="2435225"/>
            <a:ext cx="296863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0" name="Straight Connector 89"/>
          <p:cNvCxnSpPr/>
          <p:nvPr>
            <p:custDataLst>
              <p:tags r:id="rId15"/>
            </p:custDataLst>
          </p:nvPr>
        </p:nvCxnSpPr>
        <p:spPr bwMode="auto">
          <a:xfrm>
            <a:off x="3968750" y="2435225"/>
            <a:ext cx="0" cy="15240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88" name="Straight Connector 87"/>
          <p:cNvCxnSpPr/>
          <p:nvPr>
            <p:custDataLst>
              <p:tags r:id="rId16"/>
            </p:custDataLst>
          </p:nvPr>
        </p:nvCxnSpPr>
        <p:spPr bwMode="auto">
          <a:xfrm>
            <a:off x="4503738" y="2593975"/>
            <a:ext cx="296863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7" name="Straight Connector 86"/>
          <p:cNvCxnSpPr/>
          <p:nvPr>
            <p:custDataLst>
              <p:tags r:id="rId17"/>
            </p:custDataLst>
          </p:nvPr>
        </p:nvCxnSpPr>
        <p:spPr bwMode="auto">
          <a:xfrm>
            <a:off x="4800600" y="2593975"/>
            <a:ext cx="0" cy="230188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89" name="Straight Connector 88"/>
          <p:cNvCxnSpPr/>
          <p:nvPr>
            <p:custDataLst>
              <p:tags r:id="rId18"/>
            </p:custDataLst>
          </p:nvPr>
        </p:nvCxnSpPr>
        <p:spPr bwMode="auto">
          <a:xfrm flipV="1">
            <a:off x="4503738" y="2593975"/>
            <a:ext cx="0" cy="29845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" name="Straight Connector 83"/>
          <p:cNvCxnSpPr/>
          <p:nvPr>
            <p:custDataLst>
              <p:tags r:id="rId19"/>
            </p:custDataLst>
          </p:nvPr>
        </p:nvCxnSpPr>
        <p:spPr bwMode="auto">
          <a:xfrm>
            <a:off x="5632450" y="2671763"/>
            <a:ext cx="0" cy="230188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86" name="Straight Connector 85"/>
          <p:cNvCxnSpPr/>
          <p:nvPr>
            <p:custDataLst>
              <p:tags r:id="rId20"/>
            </p:custDataLst>
          </p:nvPr>
        </p:nvCxnSpPr>
        <p:spPr bwMode="auto">
          <a:xfrm flipV="1">
            <a:off x="5335588" y="2671763"/>
            <a:ext cx="0" cy="28575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5" name="Straight Connector 84"/>
          <p:cNvCxnSpPr/>
          <p:nvPr>
            <p:custDataLst>
              <p:tags r:id="rId21"/>
            </p:custDataLst>
          </p:nvPr>
        </p:nvCxnSpPr>
        <p:spPr bwMode="auto">
          <a:xfrm>
            <a:off x="5335588" y="2671763"/>
            <a:ext cx="296863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3" name="Straight Connector 82"/>
          <p:cNvCxnSpPr/>
          <p:nvPr>
            <p:custDataLst>
              <p:tags r:id="rId22"/>
            </p:custDataLst>
          </p:nvPr>
        </p:nvCxnSpPr>
        <p:spPr bwMode="auto">
          <a:xfrm flipV="1">
            <a:off x="6167438" y="2886074"/>
            <a:ext cx="0" cy="23495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7" name="Straight Connector 106"/>
          <p:cNvCxnSpPr/>
          <p:nvPr>
            <p:custDataLst>
              <p:tags r:id="rId23"/>
            </p:custDataLst>
          </p:nvPr>
        </p:nvCxnSpPr>
        <p:spPr bwMode="auto">
          <a:xfrm>
            <a:off x="6464300" y="2886075"/>
            <a:ext cx="0" cy="230188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82" name="Straight Connector 81"/>
          <p:cNvCxnSpPr/>
          <p:nvPr>
            <p:custDataLst>
              <p:tags r:id="rId24"/>
            </p:custDataLst>
          </p:nvPr>
        </p:nvCxnSpPr>
        <p:spPr bwMode="auto">
          <a:xfrm>
            <a:off x="6167438" y="2886075"/>
            <a:ext cx="296863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6" name="Straight Connector 105"/>
          <p:cNvCxnSpPr/>
          <p:nvPr>
            <p:custDataLst>
              <p:tags r:id="rId25"/>
            </p:custDataLst>
          </p:nvPr>
        </p:nvCxnSpPr>
        <p:spPr bwMode="auto">
          <a:xfrm flipV="1">
            <a:off x="6999288" y="2924175"/>
            <a:ext cx="0" cy="238125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4" name="Straight Connector 103"/>
          <p:cNvCxnSpPr/>
          <p:nvPr>
            <p:custDataLst>
              <p:tags r:id="rId26"/>
            </p:custDataLst>
          </p:nvPr>
        </p:nvCxnSpPr>
        <p:spPr bwMode="auto">
          <a:xfrm>
            <a:off x="7296150" y="2924175"/>
            <a:ext cx="0" cy="230188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05" name="Straight Connector 104"/>
          <p:cNvCxnSpPr/>
          <p:nvPr>
            <p:custDataLst>
              <p:tags r:id="rId27"/>
            </p:custDataLst>
          </p:nvPr>
        </p:nvCxnSpPr>
        <p:spPr bwMode="auto">
          <a:xfrm>
            <a:off x="6999288" y="2924175"/>
            <a:ext cx="296863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Straight Connector 101"/>
          <p:cNvCxnSpPr/>
          <p:nvPr>
            <p:custDataLst>
              <p:tags r:id="rId28"/>
            </p:custDataLst>
          </p:nvPr>
        </p:nvCxnSpPr>
        <p:spPr bwMode="auto">
          <a:xfrm>
            <a:off x="7831138" y="2944813"/>
            <a:ext cx="296863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3" name="Straight Connector 102"/>
          <p:cNvCxnSpPr/>
          <p:nvPr>
            <p:custDataLst>
              <p:tags r:id="rId29"/>
            </p:custDataLst>
          </p:nvPr>
        </p:nvCxnSpPr>
        <p:spPr bwMode="auto">
          <a:xfrm flipV="1">
            <a:off x="7831138" y="2944814"/>
            <a:ext cx="0" cy="233363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2" name="Straight Connector 91"/>
          <p:cNvCxnSpPr/>
          <p:nvPr>
            <p:custDataLst>
              <p:tags r:id="rId30"/>
            </p:custDataLst>
          </p:nvPr>
        </p:nvCxnSpPr>
        <p:spPr bwMode="auto">
          <a:xfrm>
            <a:off x="8128000" y="2944813"/>
            <a:ext cx="0" cy="230188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38" name="Rectangle 137"/>
          <p:cNvSpPr/>
          <p:nvPr>
            <p:custDataLst>
              <p:tags r:id="rId31"/>
            </p:custDataLst>
          </p:nvPr>
        </p:nvSpPr>
        <p:spPr bwMode="auto">
          <a:xfrm>
            <a:off x="2944813" y="3536950"/>
            <a:ext cx="85725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911C4583-56A0-4F37-BCD3-08DBBA99DD59}" type="datetime'''''''''''''''''''''''''''''''''''''''''''''''''''''''N'''''">
              <a:rPr lang="en-US" altLang="en-US" sz="800">
                <a:cs typeface="Arial" panose="020B0604020202020204" pitchFamily="34" charset="0"/>
              </a:rPr>
              <a:pPr/>
              <a:t>N</a:t>
            </a:fld>
            <a:endParaRPr kumimoji="0" lang="el-GR" sz="800" strike="noStrike" cap="non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140" name="Rectangle 139"/>
          <p:cNvSpPr/>
          <p:nvPr>
            <p:custDataLst>
              <p:tags r:id="rId32"/>
            </p:custDataLst>
          </p:nvPr>
        </p:nvSpPr>
        <p:spPr bwMode="auto">
          <a:xfrm>
            <a:off x="1284288" y="3536950"/>
            <a:ext cx="80963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A255726D-2FD2-43BD-B9A2-8D2805323DBC}" type="datetime'''A'''''''''''''''''''''''''''''">
              <a:rPr lang="en-US" altLang="en-US" sz="800" smtClean="0">
                <a:cs typeface="Arial" panose="020B0604020202020204" pitchFamily="34" charset="0"/>
              </a:rPr>
              <a:pPr/>
              <a:t>A</a:t>
            </a:fld>
            <a:endParaRPr kumimoji="0" lang="el-GR" sz="800" strike="noStrik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123" name="Rectangle 122"/>
          <p:cNvSpPr/>
          <p:nvPr>
            <p:custDataLst>
              <p:tags r:id="rId33"/>
            </p:custDataLst>
          </p:nvPr>
        </p:nvSpPr>
        <p:spPr bwMode="auto">
          <a:xfrm>
            <a:off x="9599613" y="3536950"/>
            <a:ext cx="85725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9498F7FB-21C2-44FA-ADC6-A80FB0461750}" type="datetime'''''''H'''''">
              <a:rPr lang="en-US" altLang="en-US" sz="800">
                <a:cs typeface="Arial" panose="020B0604020202020204" pitchFamily="34" charset="0"/>
              </a:rPr>
              <a:pPr/>
              <a:t>H</a:t>
            </a:fld>
            <a:endParaRPr kumimoji="0" lang="el-GR" sz="800" strike="noStrike" cap="non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132" name="Rectangle 131"/>
          <p:cNvSpPr/>
          <p:nvPr>
            <p:custDataLst>
              <p:tags r:id="rId34"/>
            </p:custDataLst>
          </p:nvPr>
        </p:nvSpPr>
        <p:spPr bwMode="auto">
          <a:xfrm>
            <a:off x="7932738" y="3536950"/>
            <a:ext cx="92075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A64BAAA9-805F-45EF-9669-9B77AACB4786}" type="datetime'''''''''''''''''''''''G'''''''''''''''''''''">
              <a:rPr lang="en-US" altLang="en-US" sz="800">
                <a:cs typeface="Arial" panose="020B0604020202020204" pitchFamily="34" charset="0"/>
              </a:rPr>
              <a:pPr/>
              <a:t>G</a:t>
            </a:fld>
            <a:endParaRPr kumimoji="0" lang="el-GR" sz="800" strike="noStrike" cap="non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124" name="Rectangle 123"/>
          <p:cNvSpPr/>
          <p:nvPr>
            <p:custDataLst>
              <p:tags r:id="rId35"/>
            </p:custDataLst>
          </p:nvPr>
        </p:nvSpPr>
        <p:spPr bwMode="auto">
          <a:xfrm>
            <a:off x="8775700" y="3536950"/>
            <a:ext cx="6985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54CC93EC-3E8E-4FF8-975C-BCD42C520FC7}" type="datetime'''''''''''''''''''''''''''''''''''L'''">
              <a:rPr lang="en-US" altLang="en-US" sz="800">
                <a:cs typeface="Arial" panose="020B0604020202020204" pitchFamily="34" charset="0"/>
              </a:rPr>
              <a:pPr/>
              <a:t>L</a:t>
            </a:fld>
            <a:endParaRPr kumimoji="0" lang="el-GR" sz="800" strike="noStrike" cap="non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133" name="Rectangle 132"/>
          <p:cNvSpPr/>
          <p:nvPr>
            <p:custDataLst>
              <p:tags r:id="rId36"/>
            </p:custDataLst>
          </p:nvPr>
        </p:nvSpPr>
        <p:spPr bwMode="auto">
          <a:xfrm>
            <a:off x="7110413" y="3536950"/>
            <a:ext cx="74613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27A87D6B-8A19-4E41-8E4A-3F67AE9D4867}" type="datetime'''T'''''''''''''''''''''''''''''''">
              <a:rPr lang="en-US" altLang="en-US" sz="800">
                <a:cs typeface="Arial" panose="020B0604020202020204" pitchFamily="34" charset="0"/>
              </a:rPr>
              <a:pPr/>
              <a:t>T</a:t>
            </a:fld>
            <a:endParaRPr kumimoji="0" lang="el-GR" sz="800" strike="noStrike" cap="non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134" name="Rectangle 133"/>
          <p:cNvSpPr/>
          <p:nvPr>
            <p:custDataLst>
              <p:tags r:id="rId37"/>
            </p:custDataLst>
          </p:nvPr>
        </p:nvSpPr>
        <p:spPr bwMode="auto">
          <a:xfrm>
            <a:off x="6267450" y="3536950"/>
            <a:ext cx="96838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697EA24D-7230-412B-930B-2D2335F7CCDA}" type="datetime'''M'''''''''''''">
              <a:rPr lang="en-US" altLang="en-US" sz="800">
                <a:cs typeface="Arial" panose="020B0604020202020204" pitchFamily="34" charset="0"/>
              </a:rPr>
              <a:pPr/>
              <a:t>M</a:t>
            </a:fld>
            <a:endParaRPr kumimoji="0" lang="el-GR" sz="800" strike="noStrike" cap="non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135" name="Rectangle 134"/>
          <p:cNvSpPr/>
          <p:nvPr>
            <p:custDataLst>
              <p:tags r:id="rId38"/>
            </p:custDataLst>
          </p:nvPr>
        </p:nvSpPr>
        <p:spPr bwMode="auto">
          <a:xfrm>
            <a:off x="5440363" y="3536950"/>
            <a:ext cx="85725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A971F0B9-5BBA-4F1F-BCC0-5F36575E83C6}" type="datetime'''''''''''''''''''''''''''R'''''''''''''''''''">
              <a:rPr lang="en-US" altLang="en-US" sz="800">
                <a:cs typeface="Arial" panose="020B0604020202020204" pitchFamily="34" charset="0"/>
              </a:rPr>
              <a:pPr/>
              <a:t>R</a:t>
            </a:fld>
            <a:endParaRPr kumimoji="0" lang="el-GR" sz="800" strike="noStrike" cap="non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121" name="Rectangle 120"/>
          <p:cNvSpPr/>
          <p:nvPr>
            <p:custDataLst>
              <p:tags r:id="rId39"/>
            </p:custDataLst>
          </p:nvPr>
        </p:nvSpPr>
        <p:spPr bwMode="auto">
          <a:xfrm>
            <a:off x="11263313" y="3536950"/>
            <a:ext cx="85725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0548261E-5504-43A8-B9B7-AC9C6CE86E19}" type="datetime'''''''''''''''''''D'''''''''">
              <a:rPr lang="en-US" altLang="en-US" sz="800" smtClean="0">
                <a:cs typeface="Arial" panose="020B0604020202020204" pitchFamily="34" charset="0"/>
              </a:rPr>
              <a:pPr/>
              <a:t>D</a:t>
            </a:fld>
            <a:endParaRPr kumimoji="0" lang="el-GR" sz="800" strike="noStrik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122" name="Rectangle 121"/>
          <p:cNvSpPr/>
          <p:nvPr>
            <p:custDataLst>
              <p:tags r:id="rId40"/>
            </p:custDataLst>
          </p:nvPr>
        </p:nvSpPr>
        <p:spPr bwMode="auto">
          <a:xfrm>
            <a:off x="10434638" y="3536950"/>
            <a:ext cx="80963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C6FFBE3B-8EB5-4A3D-A31F-C365A8C85179}" type="datetime'''''''''''''''''''''''''''''''''''''S'''">
              <a:rPr lang="en-US" altLang="en-US" sz="800" smtClean="0">
                <a:cs typeface="Arial" panose="020B0604020202020204" pitchFamily="34" charset="0"/>
              </a:rPr>
              <a:pPr/>
              <a:t>S</a:t>
            </a:fld>
            <a:endParaRPr kumimoji="0" lang="el-GR" sz="800" strike="noStrik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136" name="Rectangle 135"/>
          <p:cNvSpPr/>
          <p:nvPr>
            <p:custDataLst>
              <p:tags r:id="rId41"/>
            </p:custDataLst>
          </p:nvPr>
        </p:nvSpPr>
        <p:spPr bwMode="auto">
          <a:xfrm>
            <a:off x="4619625" y="3536950"/>
            <a:ext cx="635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221E8C4E-C38D-4C98-ACEB-4BA49CFF34E2}" type="datetime'''''''''''''J'''''''''''''''''''''''''''''''''''''''''''''''">
              <a:rPr lang="en-US" altLang="en-US" sz="800">
                <a:cs typeface="Arial" panose="020B0604020202020204" pitchFamily="34" charset="0"/>
              </a:rPr>
              <a:pPr/>
              <a:t>J</a:t>
            </a:fld>
            <a:endParaRPr kumimoji="0" lang="el-GR" sz="800" strike="noStrike" cap="non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109" name="Rectangle 108"/>
          <p:cNvSpPr/>
          <p:nvPr>
            <p:custDataLst>
              <p:tags r:id="rId42"/>
            </p:custDataLst>
          </p:nvPr>
        </p:nvSpPr>
        <p:spPr bwMode="auto">
          <a:xfrm>
            <a:off x="839787" y="1622425"/>
            <a:ext cx="141288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latin typeface="Arial"/>
                <a:cs typeface="Arial"/>
                <a:sym typeface="Arial"/>
              </a:rPr>
              <a:t>M€</a:t>
            </a:r>
          </a:p>
        </p:txBody>
      </p:sp>
      <p:sp>
        <p:nvSpPr>
          <p:cNvPr id="137" name="Rectangle 136"/>
          <p:cNvSpPr/>
          <p:nvPr>
            <p:custDataLst>
              <p:tags r:id="rId43"/>
            </p:custDataLst>
          </p:nvPr>
        </p:nvSpPr>
        <p:spPr bwMode="auto">
          <a:xfrm>
            <a:off x="3779838" y="3536950"/>
            <a:ext cx="80963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9C827EDB-3664-40C6-8EEA-5B5A8D92DBE6}" type="datetime'B'''''''''''''''''''''''''''''''''''''''''''''''''''''''''''''">
              <a:rPr lang="en-US" altLang="en-US" sz="800">
                <a:cs typeface="Arial" panose="020B0604020202020204" pitchFamily="34" charset="0"/>
              </a:rPr>
              <a:pPr/>
              <a:t>B</a:t>
            </a:fld>
            <a:endParaRPr kumimoji="0" lang="el-GR" sz="800" strike="noStrike" cap="non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139" name="Rectangle 138"/>
          <p:cNvSpPr/>
          <p:nvPr>
            <p:custDataLst>
              <p:tags r:id="rId44"/>
            </p:custDataLst>
          </p:nvPr>
        </p:nvSpPr>
        <p:spPr bwMode="auto">
          <a:xfrm>
            <a:off x="2112963" y="3536950"/>
            <a:ext cx="85725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244F5387-E74B-4171-B841-E99078F24519}" type="datetime'''''''''''C'''">
              <a:rPr lang="en-US" altLang="en-US" sz="800" smtClean="0">
                <a:cs typeface="Arial" panose="020B0604020202020204" pitchFamily="34" charset="0"/>
              </a:rPr>
              <a:pPr/>
              <a:t>C</a:t>
            </a:fld>
            <a:endParaRPr kumimoji="0" lang="el-GR" sz="800" strike="noStrik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119" name="Oval 118"/>
          <p:cNvSpPr/>
          <p:nvPr>
            <p:custDataLst>
              <p:tags r:id="rId45"/>
            </p:custDataLst>
          </p:nvPr>
        </p:nvSpPr>
        <p:spPr bwMode="auto">
          <a:xfrm>
            <a:off x="1177925" y="1624013"/>
            <a:ext cx="292100" cy="155575"/>
          </a:xfrm>
          <a:prstGeom prst="ellipse">
            <a:avLst/>
          </a:prstGeom>
          <a:solidFill>
            <a:srgbClr val="00777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EA342E18-FBD5-4AEC-9352-DF27F7F29450}" type="datetime'''''''''''''''''''''''''''''''+''''''9''''''''''%'">
              <a:rPr lang="en-US" altLang="en-US" sz="800" b="1" smtClean="0">
                <a:solidFill>
                  <a:schemeClr val="bg1"/>
                </a:solidFill>
                <a:effectLst/>
                <a:ea typeface="Verdana" panose="020B0604030504040204" pitchFamily="34" charset="0"/>
              </a:rPr>
              <a:pPr/>
              <a:t>+9%</a:t>
            </a:fld>
            <a:endParaRPr lang="el-GR" sz="800" b="1" strike="noStrike" normalizeH="0" dirty="0">
              <a:ln>
                <a:noFill/>
              </a:ln>
              <a:solidFill>
                <a:schemeClr val="bg1"/>
              </a:solidFill>
              <a:effectLst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18" name="Oval 117"/>
          <p:cNvSpPr/>
          <p:nvPr>
            <p:custDataLst>
              <p:tags r:id="rId46"/>
            </p:custDataLst>
          </p:nvPr>
        </p:nvSpPr>
        <p:spPr bwMode="auto">
          <a:xfrm>
            <a:off x="2009775" y="1784350"/>
            <a:ext cx="292100" cy="155575"/>
          </a:xfrm>
          <a:prstGeom prst="ellipse">
            <a:avLst/>
          </a:prstGeom>
          <a:solidFill>
            <a:srgbClr val="D6D7D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B9CE1877-18BB-40D6-860E-095868187EAD}" type="datetime'''''''''''''''+''3%'''''''''''''">
              <a:rPr lang="en-US" altLang="en-US" sz="800" b="1" smtClean="0">
                <a:effectLst/>
                <a:ea typeface="Verdana" panose="020B0604030504040204" pitchFamily="34" charset="0"/>
              </a:rPr>
              <a:pPr/>
              <a:t>+3%</a:t>
            </a:fld>
            <a:endParaRPr lang="el-GR" sz="800" b="1" strike="noStrike" normalizeH="0" dirty="0">
              <a:ln>
                <a:noFill/>
              </a:ln>
              <a:effectLst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17" name="Oval 116"/>
          <p:cNvSpPr/>
          <p:nvPr>
            <p:custDataLst>
              <p:tags r:id="rId47"/>
            </p:custDataLst>
          </p:nvPr>
        </p:nvSpPr>
        <p:spPr bwMode="auto">
          <a:xfrm>
            <a:off x="2882900" y="2333625"/>
            <a:ext cx="209550" cy="155575"/>
          </a:xfrm>
          <a:prstGeom prst="ellipse">
            <a:avLst/>
          </a:prstGeom>
          <a:solidFill>
            <a:srgbClr val="D6D7D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AD0C5D33-A9D5-4010-A278-FA406E2956B4}" type="datetime'''''''''''0''''''''''''%'''''''''''''''''''''''''''">
              <a:rPr lang="en-US" altLang="en-US" sz="800" b="1" smtClean="0">
                <a:effectLst/>
                <a:ea typeface="Verdana" panose="020B0604030504040204" pitchFamily="34" charset="0"/>
              </a:rPr>
              <a:pPr/>
              <a:t>0%</a:t>
            </a:fld>
            <a:endParaRPr lang="el-GR" sz="800" b="1" strike="noStrike" normalizeH="0" dirty="0">
              <a:ln>
                <a:noFill/>
              </a:ln>
              <a:effectLst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15" name="Oval 114"/>
          <p:cNvSpPr/>
          <p:nvPr>
            <p:custDataLst>
              <p:tags r:id="rId48"/>
            </p:custDataLst>
          </p:nvPr>
        </p:nvSpPr>
        <p:spPr bwMode="auto">
          <a:xfrm>
            <a:off x="3714750" y="2357438"/>
            <a:ext cx="209550" cy="155575"/>
          </a:xfrm>
          <a:prstGeom prst="ellipse">
            <a:avLst/>
          </a:prstGeom>
          <a:solidFill>
            <a:srgbClr val="D6D7D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DCE6AFD4-C0E8-4783-A7FE-1D584EB58280}" type="datetime'''''''''''''''''''''''''''''''''''''''''''''0''''''''''%'''">
              <a:rPr lang="en-US" altLang="en-US" sz="800" b="1" smtClean="0">
                <a:effectLst/>
                <a:ea typeface="Verdana" panose="020B0604030504040204" pitchFamily="34" charset="0"/>
              </a:rPr>
              <a:pPr/>
              <a:t>0%</a:t>
            </a:fld>
            <a:endParaRPr lang="el-GR" sz="800" b="1" strike="noStrike" normalizeH="0" dirty="0">
              <a:ln>
                <a:noFill/>
              </a:ln>
              <a:effectLst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14" name="Oval 113"/>
          <p:cNvSpPr/>
          <p:nvPr>
            <p:custDataLst>
              <p:tags r:id="rId49"/>
            </p:custDataLst>
          </p:nvPr>
        </p:nvSpPr>
        <p:spPr bwMode="auto">
          <a:xfrm>
            <a:off x="4465638" y="2516188"/>
            <a:ext cx="373063" cy="155575"/>
          </a:xfrm>
          <a:prstGeom prst="ellipse">
            <a:avLst/>
          </a:prstGeom>
          <a:solidFill>
            <a:srgbClr val="00777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FFB5A889-CD33-4A2A-B7B6-DF4C994E4430}" type="datetime'+''''''''''''''1''''''''''6''''''''%'''''''''''''''">
              <a:rPr lang="en-US" altLang="en-US" sz="800" b="1" smtClean="0">
                <a:solidFill>
                  <a:srgbClr val="FFFFFF"/>
                </a:solidFill>
                <a:effectLst/>
                <a:ea typeface="Verdana" panose="020B0604030504040204" pitchFamily="34" charset="0"/>
              </a:rPr>
              <a:pPr/>
              <a:t>+16%</a:t>
            </a:fld>
            <a:endParaRPr lang="el-GR" sz="800" b="1" strike="noStrike" normalizeH="0" dirty="0">
              <a:ln>
                <a:noFill/>
              </a:ln>
              <a:solidFill>
                <a:srgbClr val="FFFFFF"/>
              </a:solidFill>
              <a:effectLst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13" name="Oval 112"/>
          <p:cNvSpPr/>
          <p:nvPr>
            <p:custDataLst>
              <p:tags r:id="rId50"/>
            </p:custDataLst>
          </p:nvPr>
        </p:nvSpPr>
        <p:spPr bwMode="auto">
          <a:xfrm>
            <a:off x="5297488" y="2593975"/>
            <a:ext cx="373063" cy="155575"/>
          </a:xfrm>
          <a:prstGeom prst="ellipse">
            <a:avLst/>
          </a:prstGeom>
          <a:solidFill>
            <a:srgbClr val="00777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A457514C-9FCF-4460-B446-10E7A6802E72}" type="datetime'''''''''''''''+''''''''''''1''''''6%'''''''''''''''''''">
              <a:rPr lang="en-US" altLang="en-US" sz="800" b="1" smtClean="0">
                <a:solidFill>
                  <a:schemeClr val="bg1"/>
                </a:solidFill>
                <a:effectLst/>
                <a:ea typeface="Verdana" panose="020B0604030504040204" pitchFamily="34" charset="0"/>
              </a:rPr>
              <a:pPr/>
              <a:t>+16%</a:t>
            </a:fld>
            <a:endParaRPr lang="el-GR" sz="800" b="1" strike="noStrike" normalizeH="0" dirty="0">
              <a:ln>
                <a:noFill/>
              </a:ln>
              <a:solidFill>
                <a:schemeClr val="bg1"/>
              </a:solidFill>
              <a:effectLst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12" name="Oval 111"/>
          <p:cNvSpPr/>
          <p:nvPr>
            <p:custDataLst>
              <p:tags r:id="rId51"/>
            </p:custDataLst>
          </p:nvPr>
        </p:nvSpPr>
        <p:spPr bwMode="auto">
          <a:xfrm>
            <a:off x="6169025" y="2808288"/>
            <a:ext cx="292100" cy="155575"/>
          </a:xfrm>
          <a:prstGeom prst="ellipse">
            <a:avLst/>
          </a:prstGeom>
          <a:solidFill>
            <a:srgbClr val="D6D7D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AD9475C4-A800-4E8E-A21E-601C0BDBC565}" type="datetime'''+3''''''''''''''''''''''''''''''''''''''''''''''''''%'''''">
              <a:rPr lang="en-US" altLang="en-US" sz="800" b="1" smtClean="0">
                <a:effectLst/>
                <a:ea typeface="Verdana" panose="020B0604030504040204" pitchFamily="34" charset="0"/>
              </a:rPr>
              <a:pPr/>
              <a:t>+3%</a:t>
            </a:fld>
            <a:endParaRPr lang="el-GR" sz="800" b="1" strike="noStrike" normalizeH="0" dirty="0">
              <a:ln>
                <a:noFill/>
              </a:ln>
              <a:effectLst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11" name="Oval 110"/>
          <p:cNvSpPr/>
          <p:nvPr>
            <p:custDataLst>
              <p:tags r:id="rId52"/>
            </p:custDataLst>
          </p:nvPr>
        </p:nvSpPr>
        <p:spPr bwMode="auto">
          <a:xfrm>
            <a:off x="7000875" y="2846388"/>
            <a:ext cx="292100" cy="155575"/>
          </a:xfrm>
          <a:prstGeom prst="ellipse">
            <a:avLst/>
          </a:prstGeom>
          <a:solidFill>
            <a:srgbClr val="00777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7FFFBA89-A1F6-456A-8125-F461A96CCFB8}" type="datetime'''''''''''''''''''''''''''''''+''''''''''''6%'''">
              <a:rPr lang="en-US" altLang="en-US" sz="800" b="1" smtClean="0">
                <a:solidFill>
                  <a:schemeClr val="bg1"/>
                </a:solidFill>
                <a:effectLst/>
                <a:ea typeface="Verdana" panose="020B0604030504040204" pitchFamily="34" charset="0"/>
              </a:rPr>
              <a:pPr/>
              <a:t>+6%</a:t>
            </a:fld>
            <a:endParaRPr lang="el-GR" sz="800" b="1" strike="noStrike" normalizeH="0" dirty="0">
              <a:ln>
                <a:noFill/>
              </a:ln>
              <a:solidFill>
                <a:schemeClr val="bg1"/>
              </a:solidFill>
              <a:effectLst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10" name="Oval 109"/>
          <p:cNvSpPr/>
          <p:nvPr>
            <p:custDataLst>
              <p:tags r:id="rId53"/>
            </p:custDataLst>
          </p:nvPr>
        </p:nvSpPr>
        <p:spPr bwMode="auto">
          <a:xfrm>
            <a:off x="7832725" y="2867025"/>
            <a:ext cx="292100" cy="155575"/>
          </a:xfrm>
          <a:prstGeom prst="ellipse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D4D152EA-FD00-4368-8CB1-00FB98D27670}" type="datetime'''''''''+''''''''''''''''''''''''''''2''%'''''''''''''">
              <a:rPr lang="en-US" altLang="en-US" sz="800" b="1" smtClean="0">
                <a:effectLst/>
                <a:ea typeface="Verdana" panose="020B0604030504040204" pitchFamily="34" charset="0"/>
              </a:rPr>
              <a:pPr/>
              <a:t>+2%</a:t>
            </a:fld>
            <a:endParaRPr lang="el-GR" sz="800" b="1" strike="noStrike" normalizeH="0" dirty="0">
              <a:ln>
                <a:noFill/>
              </a:ln>
              <a:effectLst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42" name="Rectangle 141"/>
          <p:cNvSpPr/>
          <p:nvPr>
            <p:custDataLst>
              <p:tags r:id="rId54"/>
            </p:custDataLst>
          </p:nvPr>
        </p:nvSpPr>
        <p:spPr bwMode="auto">
          <a:xfrm>
            <a:off x="10006013" y="1793875"/>
            <a:ext cx="160337" cy="120650"/>
          </a:xfrm>
          <a:prstGeom prst="rect">
            <a:avLst/>
          </a:prstGeom>
          <a:solidFill>
            <a:srgbClr val="0070C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41" name="Rectangle 140"/>
          <p:cNvSpPr/>
          <p:nvPr>
            <p:custDataLst>
              <p:tags r:id="rId55"/>
            </p:custDataLst>
          </p:nvPr>
        </p:nvSpPr>
        <p:spPr bwMode="auto">
          <a:xfrm>
            <a:off x="10006013" y="1981200"/>
            <a:ext cx="160337" cy="120650"/>
          </a:xfrm>
          <a:prstGeom prst="rect">
            <a:avLst/>
          </a:prstGeom>
          <a:solidFill>
            <a:srgbClr val="25B4F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44" name="Rectangle 143"/>
          <p:cNvSpPr/>
          <p:nvPr>
            <p:custDataLst>
              <p:tags r:id="rId56"/>
            </p:custDataLst>
          </p:nvPr>
        </p:nvSpPr>
        <p:spPr bwMode="auto">
          <a:xfrm>
            <a:off x="10217150" y="1790700"/>
            <a:ext cx="6858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7D6A5237-D8E2-4AAE-A534-9F7C8D6B6FE3}" type="datetime'''''''M''AT''''''/''''03/''2''''''''''''0''''''''2''''''2'''">
              <a:rPr lang="en-US" altLang="en-US" sz="900" smtClean="0">
                <a:effectLst/>
              </a:rPr>
              <a:pPr/>
              <a:t>MAT/03/2022</a:t>
            </a:fld>
            <a:endParaRPr lang="el-GR" sz="900" strike="noStrike" normalizeH="0" dirty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143" name="Rectangle 142"/>
          <p:cNvSpPr/>
          <p:nvPr>
            <p:custDataLst>
              <p:tags r:id="rId57"/>
            </p:custDataLst>
          </p:nvPr>
        </p:nvSpPr>
        <p:spPr bwMode="auto">
          <a:xfrm>
            <a:off x="10217150" y="1978025"/>
            <a:ext cx="6858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EB25EF29-1837-4CED-845B-40C892876F84}" type="datetime'''M''''A''''T''''''/''''''''03/''''20''''''2''''''3'''">
              <a:rPr lang="en-US" altLang="en-US" sz="900" smtClean="0">
                <a:effectLst/>
              </a:rPr>
              <a:pPr/>
              <a:t>MAT/03/2023</a:t>
            </a:fld>
            <a:endParaRPr kumimoji="0" lang="el-GR" sz="900" strike="noStrike" normalizeH="0" dirty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graphicFrame>
        <p:nvGraphicFramePr>
          <p:cNvPr id="128" name="Chart 127">
            <a:extLst>
              <a:ext uri="{FF2B5EF4-FFF2-40B4-BE49-F238E27FC236}">
                <a16:creationId xmlns:a16="http://schemas.microsoft.com/office/drawing/2014/main" id="{663678CA-184D-12B0-C4DB-636D7F146F21}"/>
              </a:ext>
            </a:extLst>
          </p:cNvPr>
          <p:cNvGraphicFramePr/>
          <p:nvPr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1687078001"/>
              </p:ext>
            </p:extLst>
          </p:nvPr>
        </p:nvGraphicFramePr>
        <p:xfrm>
          <a:off x="574675" y="4046538"/>
          <a:ext cx="11231563" cy="577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6"/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7D6EAAB-AE53-46C3-9278-47ACC4546C48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1203325" y="4032250"/>
            <a:ext cx="296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EDD1660-8E27-4814-A5D9-7A33D068A331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 flipV="1">
            <a:off x="1203325" y="4032249"/>
            <a:ext cx="0" cy="2492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56B89B3-8BFC-4381-B990-1C5089AAE426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1500188" y="4032250"/>
            <a:ext cx="0" cy="2397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DBC16D5-EEB6-41F9-A544-73EB8460B8FD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 flipV="1">
            <a:off x="2033588" y="3790950"/>
            <a:ext cx="0" cy="2746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44BDB9D-F87B-450B-9CBB-CE914B55B7C2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2033588" y="3790950"/>
            <a:ext cx="296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10EFB9C-83B1-437E-BB03-AC1D32A8B1D7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2330450" y="3790950"/>
            <a:ext cx="0" cy="2397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4C2C907-1D67-46FA-A097-79E0C9AD6F15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 flipV="1">
            <a:off x="2862263" y="3951287"/>
            <a:ext cx="0" cy="2476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01F1F16-FA03-427E-A913-684971CD0097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2862263" y="3951288"/>
            <a:ext cx="296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DC006A3-C94B-41E2-B6DD-08C76301C6CE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3159125" y="3951288"/>
            <a:ext cx="0" cy="2397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6ACDED7-E042-49E2-8A24-AC5AE462FBAB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 flipV="1">
            <a:off x="3692525" y="4092575"/>
            <a:ext cx="0" cy="2381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6696FF2-5472-42A4-94E9-E5C4C0E381F4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3692525" y="4092575"/>
            <a:ext cx="296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0102CD1-601F-46FD-96CA-4F7A274D365B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3989388" y="4092575"/>
            <a:ext cx="0" cy="2397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00259089-84F2-4CE9-87A1-F88BB919A0F5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4521200" y="4086225"/>
            <a:ext cx="296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AEA26C3A-47D3-4BCA-A9EF-F83BFDB5F66D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 flipV="1">
            <a:off x="4521200" y="4086225"/>
            <a:ext cx="0" cy="2444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C689B8D5-9E9A-4442-BD14-E717594294AF}"/>
              </a:ext>
            </a:extLst>
          </p:cNvPr>
          <p:cNvCxnSpPr/>
          <p:nvPr>
            <p:custDataLst>
              <p:tags r:id="rId73"/>
            </p:custDataLst>
          </p:nvPr>
        </p:nvCxnSpPr>
        <p:spPr bwMode="auto">
          <a:xfrm>
            <a:off x="4818063" y="4086225"/>
            <a:ext cx="0" cy="2397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C6CE0C76-5988-4A8B-941A-F2C45117D0A2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 flipV="1">
            <a:off x="5351463" y="4059238"/>
            <a:ext cx="0" cy="2428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F1436197-4CF9-43E9-B7A3-3F65C3891B3E}"/>
              </a:ext>
            </a:extLst>
          </p:cNvPr>
          <p:cNvCxnSpPr/>
          <p:nvPr>
            <p:custDataLst>
              <p:tags r:id="rId75"/>
            </p:custDataLst>
          </p:nvPr>
        </p:nvCxnSpPr>
        <p:spPr bwMode="auto">
          <a:xfrm>
            <a:off x="5351463" y="4059238"/>
            <a:ext cx="296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AD0021C6-A7E3-412A-B064-490D16C8FB07}"/>
              </a:ext>
            </a:extLst>
          </p:cNvPr>
          <p:cNvCxnSpPr/>
          <p:nvPr>
            <p:custDataLst>
              <p:tags r:id="rId76"/>
            </p:custDataLst>
          </p:nvPr>
        </p:nvCxnSpPr>
        <p:spPr bwMode="auto">
          <a:xfrm>
            <a:off x="5648325" y="4059238"/>
            <a:ext cx="0" cy="2397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F39176DA-8128-4066-8907-2665885B4AB6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6478588" y="4081463"/>
            <a:ext cx="0" cy="2397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C8465622-AA15-4108-9962-081097E9971F}"/>
              </a:ext>
            </a:extLst>
          </p:cNvPr>
          <p:cNvCxnSpPr/>
          <p:nvPr>
            <p:custDataLst>
              <p:tags r:id="rId78"/>
            </p:custDataLst>
          </p:nvPr>
        </p:nvCxnSpPr>
        <p:spPr bwMode="auto">
          <a:xfrm flipV="1">
            <a:off x="6181725" y="4081463"/>
            <a:ext cx="0" cy="2413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6168F64F-EA3E-4097-B7DD-B3890FDA8922}"/>
              </a:ext>
            </a:extLst>
          </p:cNvPr>
          <p:cNvCxnSpPr/>
          <p:nvPr>
            <p:custDataLst>
              <p:tags r:id="rId79"/>
            </p:custDataLst>
          </p:nvPr>
        </p:nvCxnSpPr>
        <p:spPr bwMode="auto">
          <a:xfrm>
            <a:off x="6181725" y="4081463"/>
            <a:ext cx="296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tangle 145"/>
          <p:cNvSpPr/>
          <p:nvPr>
            <p:custDataLst>
              <p:tags r:id="rId80"/>
            </p:custDataLst>
          </p:nvPr>
        </p:nvSpPr>
        <p:spPr bwMode="auto">
          <a:xfrm>
            <a:off x="868363" y="3922712"/>
            <a:ext cx="141288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latin typeface="Arial"/>
                <a:cs typeface="Arial"/>
                <a:sym typeface="Arial"/>
              </a:rPr>
              <a:t>M€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FDDB71F8-22B5-4851-87A4-82D0A15B1F4E}"/>
              </a:ext>
            </a:extLst>
          </p:cNvPr>
          <p:cNvSpPr/>
          <p:nvPr>
            <p:custDataLst>
              <p:tags r:id="rId81"/>
            </p:custDataLst>
          </p:nvPr>
        </p:nvSpPr>
        <p:spPr bwMode="gray">
          <a:xfrm>
            <a:off x="6967538" y="4392613"/>
            <a:ext cx="857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46C15C0-B447-41C5-95AB-A5BA0B6395D8}" type="datetime'''''''''''''''''''''''''''''''0'''''''''''''">
              <a:rPr lang="en-US" altLang="en-US" sz="800" smtClean="0">
                <a:solidFill>
                  <a:schemeClr val="tx1"/>
                </a:solidFill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8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984EC218-1D01-4756-AFF0-E52C311E79EA}"/>
              </a:ext>
            </a:extLst>
          </p:cNvPr>
          <p:cNvSpPr/>
          <p:nvPr>
            <p:custDataLst>
              <p:tags r:id="rId82"/>
            </p:custDataLst>
          </p:nvPr>
        </p:nvSpPr>
        <p:spPr bwMode="gray">
          <a:xfrm>
            <a:off x="7264400" y="4392613"/>
            <a:ext cx="857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A2077BB-6D02-4464-B2B9-B892CB93B9B6}" type="datetime'''0'''''''''''''''''''''''''">
              <a:rPr lang="en-US" altLang="en-US" sz="800" smtClean="0">
                <a:solidFill>
                  <a:schemeClr val="tx1"/>
                </a:solidFill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8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5830031-7899-4679-86A1-D72C905F78F2}"/>
              </a:ext>
            </a:extLst>
          </p:cNvPr>
          <p:cNvSpPr/>
          <p:nvPr>
            <p:custDataLst>
              <p:tags r:id="rId83"/>
            </p:custDataLst>
          </p:nvPr>
        </p:nvSpPr>
        <p:spPr bwMode="auto">
          <a:xfrm>
            <a:off x="1165225" y="3946525"/>
            <a:ext cx="373063" cy="173038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45845B8-B093-4FDA-AA65-8030A2990C20}" type="datetime'''''''''''''''+''''''''''''''''''''''''''''''''''''1''''3%'''">
              <a:rPr lang="en-US" altLang="en-US" sz="800" b="1" smtClean="0">
                <a:solidFill>
                  <a:schemeClr val="bg1"/>
                </a:solidFill>
                <a:effectLst/>
              </a:rPr>
              <a:pPr/>
              <a:t>+13%</a:t>
            </a:fld>
            <a:endParaRPr lang="en-US" sz="800" b="1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EF21B5D-0F14-414B-A74C-7C69CC8CAE70}"/>
              </a:ext>
            </a:extLst>
          </p:cNvPr>
          <p:cNvSpPr/>
          <p:nvPr>
            <p:custDataLst>
              <p:tags r:id="rId84"/>
            </p:custDataLst>
          </p:nvPr>
        </p:nvSpPr>
        <p:spPr bwMode="auto">
          <a:xfrm>
            <a:off x="1995488" y="3705225"/>
            <a:ext cx="373063" cy="173038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60ECC2E-608A-4FBA-962D-6339D9A81A5F}" type="datetime'''''''''''''+1''''''''''''''''''''''''''''''''''''''''''2''%'">
              <a:rPr lang="en-US" altLang="en-US" sz="800" b="1" smtClean="0">
                <a:solidFill>
                  <a:schemeClr val="bg1"/>
                </a:solidFill>
                <a:effectLst/>
              </a:rPr>
              <a:pPr/>
              <a:t>+12%</a:t>
            </a:fld>
            <a:endParaRPr lang="en-US" sz="800" b="1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C8A11D3-6725-4A12-8D56-6347463E7E94}"/>
              </a:ext>
            </a:extLst>
          </p:cNvPr>
          <p:cNvSpPr/>
          <p:nvPr>
            <p:custDataLst>
              <p:tags r:id="rId85"/>
            </p:custDataLst>
          </p:nvPr>
        </p:nvSpPr>
        <p:spPr bwMode="auto">
          <a:xfrm>
            <a:off x="2863850" y="3865563"/>
            <a:ext cx="292100" cy="173038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2D6C630-5BBE-4ADF-9C5D-AEBE198927AA}" type="datetime'''''''''''''''''''''''''+''''''''''5''''''''''''''%'''''''">
              <a:rPr lang="en-US" altLang="en-US" sz="800" b="1" smtClean="0">
                <a:solidFill>
                  <a:schemeClr val="bg1"/>
                </a:solidFill>
                <a:effectLst/>
              </a:rPr>
              <a:pPr/>
              <a:t>+5%</a:t>
            </a:fld>
            <a:endParaRPr lang="en-US" sz="800" b="1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1A7E50D5-7A62-48C1-A938-9F311506EA24}"/>
              </a:ext>
            </a:extLst>
          </p:cNvPr>
          <p:cNvSpPr/>
          <p:nvPr>
            <p:custDataLst>
              <p:tags r:id="rId86"/>
            </p:custDataLst>
          </p:nvPr>
        </p:nvSpPr>
        <p:spPr bwMode="auto">
          <a:xfrm>
            <a:off x="3711575" y="4006850"/>
            <a:ext cx="257175" cy="173038"/>
          </a:xfrm>
          <a:prstGeom prst="ellipse">
            <a:avLst/>
          </a:prstGeom>
          <a:solidFill>
            <a:srgbClr val="C30C3E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B42B2DB-A7B6-4900-92A2-E1019E3E63AD}" type="datetime'''''''''''''''''''''-''''''''''''''''''''4''''''''''''%'''">
              <a:rPr lang="en-US" altLang="en-US" sz="800" b="1" smtClean="0">
                <a:solidFill>
                  <a:schemeClr val="bg1"/>
                </a:solidFill>
                <a:effectLst/>
              </a:rPr>
              <a:pPr/>
              <a:t>-4%</a:t>
            </a:fld>
            <a:endParaRPr lang="en-US" sz="800" b="1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615512A7-6A43-4CB9-BF4A-6908DF0EAE92}"/>
              </a:ext>
            </a:extLst>
          </p:cNvPr>
          <p:cNvSpPr/>
          <p:nvPr>
            <p:custDataLst>
              <p:tags r:id="rId87"/>
            </p:custDataLst>
          </p:nvPr>
        </p:nvSpPr>
        <p:spPr bwMode="auto">
          <a:xfrm>
            <a:off x="4483100" y="4000500"/>
            <a:ext cx="373063" cy="173038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228DC9D-F685-46D1-8449-78BD1766A9DA}" type="datetime'''''''''''''+''2''3''''''''''%'''''''''''''''''''''''''''''''">
              <a:rPr lang="en-US" altLang="en-US" sz="800" b="1" smtClean="0">
                <a:solidFill>
                  <a:schemeClr val="bg1"/>
                </a:solidFill>
                <a:effectLst/>
              </a:rPr>
              <a:pPr/>
              <a:t>+23%</a:t>
            </a:fld>
            <a:endParaRPr lang="en-US" sz="800" b="1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56971106-64E6-4857-97D9-33E27116D335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5353050" y="3973513"/>
            <a:ext cx="292100" cy="173038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9F05EA5-4485-4D23-B26B-D10986A8DA7A}" type="datetime'''''''''+''''''9''''''%'''''''''''''''''''''''''''">
              <a:rPr lang="en-US" altLang="en-US" sz="800" b="1" smtClean="0">
                <a:solidFill>
                  <a:schemeClr val="bg1"/>
                </a:solidFill>
                <a:effectLst/>
              </a:rPr>
              <a:pPr/>
              <a:t>+9%</a:t>
            </a:fld>
            <a:endParaRPr lang="en-US" sz="800" b="1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86C00AEE-E4BE-46DE-B582-3A199333C2D7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6183313" y="3995738"/>
            <a:ext cx="292100" cy="173038"/>
          </a:xfrm>
          <a:prstGeom prst="ellipse">
            <a:avLst/>
          </a:prstGeom>
          <a:solidFill>
            <a:srgbClr val="D6D7D9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1EC0FF2-904F-44D9-B3E9-C9704BDDE236}" type="datetime'''''''''''''''''''''''''''''''''''''''''''''''''+4''''''''%'''">
              <a:rPr lang="en-US" altLang="en-US" sz="800" b="1" smtClean="0">
                <a:solidFill>
                  <a:schemeClr val="tx1"/>
                </a:solidFill>
                <a:effectLst/>
              </a:rPr>
              <a:pPr/>
              <a:t>+4%</a:t>
            </a:fld>
            <a:endParaRPr lang="en-US" sz="800" b="1" dirty="0" err="1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129" name="Chart 128">
            <a:extLst>
              <a:ext uri="{FF2B5EF4-FFF2-40B4-BE49-F238E27FC236}">
                <a16:creationId xmlns:a16="http://schemas.microsoft.com/office/drawing/2014/main" id="{A604F770-85F0-C925-EF07-6509975F1144}"/>
              </a:ext>
            </a:extLst>
          </p:cNvPr>
          <p:cNvGraphicFramePr/>
          <p:nvPr>
            <p:custDataLst>
              <p:tags r:id="rId90"/>
            </p:custDataLst>
            <p:extLst>
              <p:ext uri="{D42A27DB-BD31-4B8C-83A1-F6EECF244321}">
                <p14:modId xmlns:p14="http://schemas.microsoft.com/office/powerpoint/2010/main" val="2731602048"/>
              </p:ext>
            </p:extLst>
          </p:nvPr>
        </p:nvGraphicFramePr>
        <p:xfrm>
          <a:off x="546100" y="5167313"/>
          <a:ext cx="11260138" cy="579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7"/>
          </a:graphicData>
        </a:graphic>
      </p:graphicFrame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82E2A17E-568C-4456-858B-4C8464E5FDF1}"/>
              </a:ext>
            </a:extLst>
          </p:cNvPr>
          <p:cNvCxnSpPr/>
          <p:nvPr>
            <p:custDataLst>
              <p:tags r:id="rId91"/>
            </p:custDataLst>
          </p:nvPr>
        </p:nvCxnSpPr>
        <p:spPr bwMode="auto">
          <a:xfrm>
            <a:off x="1473200" y="5083175"/>
            <a:ext cx="0" cy="2397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285BA2C7-7747-472F-9793-21ECB51FCDA1}"/>
              </a:ext>
            </a:extLst>
          </p:cNvPr>
          <p:cNvCxnSpPr/>
          <p:nvPr>
            <p:custDataLst>
              <p:tags r:id="rId92"/>
            </p:custDataLst>
          </p:nvPr>
        </p:nvCxnSpPr>
        <p:spPr bwMode="auto">
          <a:xfrm flipV="1">
            <a:off x="1176338" y="5083175"/>
            <a:ext cx="0" cy="2603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E93B74E3-1D5A-4DDC-B96E-CABF750C6FC2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>
            <a:off x="1176338" y="5083175"/>
            <a:ext cx="296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42099AD4-B354-41E1-B25A-58B400EDD143}"/>
              </a:ext>
            </a:extLst>
          </p:cNvPr>
          <p:cNvCxnSpPr/>
          <p:nvPr>
            <p:custDataLst>
              <p:tags r:id="rId94"/>
            </p:custDataLst>
          </p:nvPr>
        </p:nvCxnSpPr>
        <p:spPr bwMode="auto">
          <a:xfrm>
            <a:off x="2305050" y="4926013"/>
            <a:ext cx="0" cy="2397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34A34C49-6B64-4B22-85D4-D2E25CA2E870}"/>
              </a:ext>
            </a:extLst>
          </p:cNvPr>
          <p:cNvCxnSpPr/>
          <p:nvPr>
            <p:custDataLst>
              <p:tags r:id="rId95"/>
            </p:custDataLst>
          </p:nvPr>
        </p:nvCxnSpPr>
        <p:spPr bwMode="auto">
          <a:xfrm flipV="1">
            <a:off x="2008188" y="4926013"/>
            <a:ext cx="0" cy="2254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6DB3BB5B-E8AF-480C-9789-B5E11D913E65}"/>
              </a:ext>
            </a:extLst>
          </p:cNvPr>
          <p:cNvCxnSpPr/>
          <p:nvPr>
            <p:custDataLst>
              <p:tags r:id="rId96"/>
            </p:custDataLst>
          </p:nvPr>
        </p:nvCxnSpPr>
        <p:spPr bwMode="auto">
          <a:xfrm>
            <a:off x="2008188" y="4926013"/>
            <a:ext cx="296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226A3F49-9C67-4961-931B-226F062FE8A3}"/>
              </a:ext>
            </a:extLst>
          </p:cNvPr>
          <p:cNvCxnSpPr/>
          <p:nvPr>
            <p:custDataLst>
              <p:tags r:id="rId97"/>
            </p:custDataLst>
          </p:nvPr>
        </p:nvCxnSpPr>
        <p:spPr bwMode="auto">
          <a:xfrm flipV="1">
            <a:off x="2840038" y="5016499"/>
            <a:ext cx="0" cy="2349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61226839-27CE-4A66-B3C4-6937446BE766}"/>
              </a:ext>
            </a:extLst>
          </p:cNvPr>
          <p:cNvCxnSpPr/>
          <p:nvPr>
            <p:custDataLst>
              <p:tags r:id="rId98"/>
            </p:custDataLst>
          </p:nvPr>
        </p:nvCxnSpPr>
        <p:spPr bwMode="auto">
          <a:xfrm>
            <a:off x="2840038" y="5016500"/>
            <a:ext cx="296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3ECB6AE7-65E5-4D66-9BB6-52302DD27711}"/>
              </a:ext>
            </a:extLst>
          </p:cNvPr>
          <p:cNvCxnSpPr/>
          <p:nvPr>
            <p:custDataLst>
              <p:tags r:id="rId99"/>
            </p:custDataLst>
          </p:nvPr>
        </p:nvCxnSpPr>
        <p:spPr bwMode="auto">
          <a:xfrm>
            <a:off x="3136900" y="5016500"/>
            <a:ext cx="0" cy="2397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C6DA7BEE-A240-4A89-AC57-35E573E405C0}"/>
              </a:ext>
            </a:extLst>
          </p:cNvPr>
          <p:cNvCxnSpPr/>
          <p:nvPr>
            <p:custDataLst>
              <p:tags r:id="rId100"/>
            </p:custDataLst>
          </p:nvPr>
        </p:nvCxnSpPr>
        <p:spPr bwMode="auto">
          <a:xfrm>
            <a:off x="3968750" y="5156200"/>
            <a:ext cx="0" cy="2397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3C91E541-53C2-4219-9B35-E975038D93C8}"/>
              </a:ext>
            </a:extLst>
          </p:cNvPr>
          <p:cNvCxnSpPr/>
          <p:nvPr>
            <p:custDataLst>
              <p:tags r:id="rId101"/>
            </p:custDataLst>
          </p:nvPr>
        </p:nvCxnSpPr>
        <p:spPr bwMode="auto">
          <a:xfrm flipV="1">
            <a:off x="3671888" y="5156200"/>
            <a:ext cx="0" cy="2317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B88C2CEA-C5BF-40F9-AA1B-F2D613C4D2AD}"/>
              </a:ext>
            </a:extLst>
          </p:cNvPr>
          <p:cNvCxnSpPr/>
          <p:nvPr>
            <p:custDataLst>
              <p:tags r:id="rId102"/>
            </p:custDataLst>
          </p:nvPr>
        </p:nvCxnSpPr>
        <p:spPr bwMode="auto">
          <a:xfrm>
            <a:off x="3671888" y="5156200"/>
            <a:ext cx="296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DF8FACC7-E7C9-4820-9849-358A37761321}"/>
              </a:ext>
            </a:extLst>
          </p:cNvPr>
          <p:cNvCxnSpPr/>
          <p:nvPr>
            <p:custDataLst>
              <p:tags r:id="rId103"/>
            </p:custDataLst>
          </p:nvPr>
        </p:nvCxnSpPr>
        <p:spPr bwMode="auto">
          <a:xfrm flipV="1">
            <a:off x="4503738" y="5156200"/>
            <a:ext cx="0" cy="2555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B58BB0A7-C5C6-4444-9B78-D249CEFA1BF8}"/>
              </a:ext>
            </a:extLst>
          </p:cNvPr>
          <p:cNvCxnSpPr/>
          <p:nvPr>
            <p:custDataLst>
              <p:tags r:id="rId104"/>
            </p:custDataLst>
          </p:nvPr>
        </p:nvCxnSpPr>
        <p:spPr bwMode="auto">
          <a:xfrm>
            <a:off x="4503738" y="5156200"/>
            <a:ext cx="296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05ADB01A-1D56-4389-8363-3F468770BFDE}"/>
              </a:ext>
            </a:extLst>
          </p:cNvPr>
          <p:cNvCxnSpPr/>
          <p:nvPr>
            <p:custDataLst>
              <p:tags r:id="rId105"/>
            </p:custDataLst>
          </p:nvPr>
        </p:nvCxnSpPr>
        <p:spPr bwMode="auto">
          <a:xfrm>
            <a:off x="4800600" y="5156200"/>
            <a:ext cx="0" cy="2397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EBADAD9B-4ED1-4555-A6EF-6338B7052BA1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auto">
          <a:xfrm flipV="1">
            <a:off x="5335588" y="5162550"/>
            <a:ext cx="0" cy="2508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D3A21EFC-076F-4530-B77A-A8E8B2E92867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auto">
          <a:xfrm>
            <a:off x="5335588" y="5162550"/>
            <a:ext cx="296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41D648AB-9C5F-4C78-A87C-F660BCDD6016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auto">
          <a:xfrm>
            <a:off x="5632450" y="5162550"/>
            <a:ext cx="0" cy="2397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35D44037-60EE-43B1-A36F-989FC39A3CDA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auto">
          <a:xfrm>
            <a:off x="6464300" y="5210175"/>
            <a:ext cx="0" cy="2397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5A8E2F00-BAA4-47A7-860C-AE975C2618FD}"/>
              </a:ext>
            </a:extLst>
          </p:cNvPr>
          <p:cNvCxnSpPr/>
          <p:nvPr>
            <p:custDataLst>
              <p:tags r:id="rId110"/>
            </p:custDataLst>
          </p:nvPr>
        </p:nvCxnSpPr>
        <p:spPr bwMode="auto">
          <a:xfrm flipV="1">
            <a:off x="6167438" y="5210175"/>
            <a:ext cx="0" cy="2397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AABAC33D-879F-4110-ADAF-C3F42435115A}"/>
              </a:ext>
            </a:extLst>
          </p:cNvPr>
          <p:cNvCxnSpPr/>
          <p:nvPr>
            <p:custDataLst>
              <p:tags r:id="rId111"/>
            </p:custDataLst>
          </p:nvPr>
        </p:nvCxnSpPr>
        <p:spPr bwMode="auto">
          <a:xfrm>
            <a:off x="6167438" y="5210175"/>
            <a:ext cx="296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Rectangle 198"/>
          <p:cNvSpPr/>
          <p:nvPr>
            <p:custDataLst>
              <p:tags r:id="rId112"/>
            </p:custDataLst>
          </p:nvPr>
        </p:nvSpPr>
        <p:spPr bwMode="auto">
          <a:xfrm>
            <a:off x="839787" y="5045075"/>
            <a:ext cx="141288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latin typeface="Arial"/>
                <a:cs typeface="Arial"/>
                <a:sym typeface="Arial"/>
              </a:rPr>
              <a:t>M€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3244607-C5CA-4530-A766-D332EC38B7C2}"/>
              </a:ext>
            </a:extLst>
          </p:cNvPr>
          <p:cNvSpPr/>
          <p:nvPr>
            <p:custDataLst>
              <p:tags r:id="rId113"/>
            </p:custDataLst>
          </p:nvPr>
        </p:nvSpPr>
        <p:spPr bwMode="gray">
          <a:xfrm>
            <a:off x="6956425" y="5514975"/>
            <a:ext cx="857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3CB70B9-8296-43AC-BBC9-2A67AACB9C78}" type="datetime'''''''''''''''''''''''''''''''''''''0'''''''''''''">
              <a:rPr lang="en-US" alt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0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4E52D25-9BD1-46EA-956B-5A40B8F94A76}"/>
              </a:ext>
            </a:extLst>
          </p:cNvPr>
          <p:cNvSpPr/>
          <p:nvPr>
            <p:custDataLst>
              <p:tags r:id="rId114"/>
            </p:custDataLst>
          </p:nvPr>
        </p:nvSpPr>
        <p:spPr bwMode="gray">
          <a:xfrm>
            <a:off x="7253288" y="5514975"/>
            <a:ext cx="857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260F893-5B79-464F-86F3-586F9F564909}" type="datetime'''''''0'''''''''''''''''''''''''''''''''''''''''''''''''">
              <a:rPr lang="en-US" altLang="en-US" sz="8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0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CB35465C-A335-45A5-A1BB-0627F4D13344}"/>
              </a:ext>
            </a:extLst>
          </p:cNvPr>
          <p:cNvSpPr/>
          <p:nvPr>
            <p:custDataLst>
              <p:tags r:id="rId115"/>
            </p:custDataLst>
          </p:nvPr>
        </p:nvSpPr>
        <p:spPr bwMode="auto">
          <a:xfrm>
            <a:off x="1138238" y="4997450"/>
            <a:ext cx="373063" cy="173038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EF67681-E4ED-4D86-B2DA-CA0422FDB542}" type="datetime'''''+''1''''''''''''''''''''5''''''%'''''''''''''''">
              <a:rPr lang="en-US" altLang="en-US" sz="800" b="1" smtClean="0">
                <a:solidFill>
                  <a:schemeClr val="bg1"/>
                </a:solidFill>
                <a:effectLst/>
              </a:rPr>
              <a:pPr/>
              <a:t>+15%</a:t>
            </a:fld>
            <a:endParaRPr lang="en-US" sz="8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64D4EA65-2E87-4D03-8120-1EC026C93A7F}"/>
              </a:ext>
            </a:extLst>
          </p:cNvPr>
          <p:cNvSpPr/>
          <p:nvPr>
            <p:custDataLst>
              <p:tags r:id="rId116"/>
            </p:custDataLst>
          </p:nvPr>
        </p:nvSpPr>
        <p:spPr bwMode="auto">
          <a:xfrm>
            <a:off x="2027238" y="4840288"/>
            <a:ext cx="257175" cy="173038"/>
          </a:xfrm>
          <a:prstGeom prst="ellipse">
            <a:avLst/>
          </a:prstGeom>
          <a:solidFill>
            <a:srgbClr val="C30C3E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AEF4BA-BF5B-4700-AC74-DEDC5A56FDFD}" type="datetime'''''-''''''''''''''''''''''''''''5''''''''''%'''''">
              <a:rPr lang="en-US" altLang="en-US" sz="800" b="1" smtClean="0">
                <a:solidFill>
                  <a:schemeClr val="bg1"/>
                </a:solidFill>
                <a:effectLst/>
              </a:rPr>
              <a:pPr/>
              <a:t>-5%</a:t>
            </a:fld>
            <a:endParaRPr lang="en-US" sz="8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A57A0CA3-21ED-415B-AF0D-9E4299C8E691}"/>
              </a:ext>
            </a:extLst>
          </p:cNvPr>
          <p:cNvSpPr/>
          <p:nvPr>
            <p:custDataLst>
              <p:tags r:id="rId117"/>
            </p:custDataLst>
          </p:nvPr>
        </p:nvSpPr>
        <p:spPr bwMode="auto">
          <a:xfrm>
            <a:off x="2859088" y="4930775"/>
            <a:ext cx="257175" cy="173038"/>
          </a:xfrm>
          <a:prstGeom prst="ellipse">
            <a:avLst/>
          </a:prstGeom>
          <a:solidFill>
            <a:srgbClr val="C30C3E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F47A4D2-217C-4CA5-B651-031FEB0866A8}" type="datetime'''''''''''''''''''''''''''''''''''''''''''''-''2''%'''''">
              <a:rPr lang="en-US" altLang="en-US" sz="800" b="1" smtClean="0">
                <a:solidFill>
                  <a:schemeClr val="bg1"/>
                </a:solidFill>
                <a:effectLst/>
              </a:rPr>
              <a:pPr/>
              <a:t>-2%</a:t>
            </a:fld>
            <a:endParaRPr lang="en-US" sz="8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577726EB-10E2-4C30-9A1B-1ED75BD1FA0F}"/>
              </a:ext>
            </a:extLst>
          </p:cNvPr>
          <p:cNvSpPr/>
          <p:nvPr>
            <p:custDataLst>
              <p:tags r:id="rId118"/>
            </p:custDataLst>
          </p:nvPr>
        </p:nvSpPr>
        <p:spPr bwMode="auto">
          <a:xfrm>
            <a:off x="3673475" y="5070475"/>
            <a:ext cx="292100" cy="173038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800" b="1" dirty="0">
                <a:solidFill>
                  <a:schemeClr val="bg1"/>
                </a:solidFill>
                <a:cs typeface="Arial" panose="020B0604020202020204" pitchFamily="34" charset="0"/>
              </a:rPr>
              <a:t>+</a:t>
            </a:r>
            <a:fld id="{267D6AC1-BBEA-4EE1-9364-2216E7B2BFCA}" type="datetime'''''''''''''8''''''''''''''''''''''''''''''''''''%'''''">
              <a:rPr lang="en-US" altLang="en-US" sz="800" b="1" smtClean="0">
                <a:solidFill>
                  <a:schemeClr val="bg1"/>
                </a:solidFill>
                <a:effectLst/>
              </a:rPr>
              <a:pPr/>
              <a:t>8%</a:t>
            </a:fld>
            <a:endParaRPr lang="en-US" sz="8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10887622-CFB5-4490-8BFF-0908D31118F9}"/>
              </a:ext>
            </a:extLst>
          </p:cNvPr>
          <p:cNvSpPr/>
          <p:nvPr>
            <p:custDataLst>
              <p:tags r:id="rId119"/>
            </p:custDataLst>
          </p:nvPr>
        </p:nvSpPr>
        <p:spPr bwMode="auto">
          <a:xfrm>
            <a:off x="4465638" y="5070475"/>
            <a:ext cx="373063" cy="173038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0C15380-7899-4985-B4FB-1DFD53123C32}" type="datetime'''''''''''''''''''''+2''4''''''''%'''''''''''''''''''">
              <a:rPr lang="en-US" altLang="en-US" sz="800" b="1" smtClean="0">
                <a:solidFill>
                  <a:schemeClr val="bg1"/>
                </a:solidFill>
                <a:effectLst/>
              </a:rPr>
              <a:pPr/>
              <a:t>+24%</a:t>
            </a:fld>
            <a:endParaRPr lang="en-US" sz="8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44208AD4-F62F-423A-9D10-5F01CA952819}"/>
              </a:ext>
            </a:extLst>
          </p:cNvPr>
          <p:cNvSpPr/>
          <p:nvPr>
            <p:custDataLst>
              <p:tags r:id="rId120"/>
            </p:custDataLst>
          </p:nvPr>
        </p:nvSpPr>
        <p:spPr bwMode="auto">
          <a:xfrm>
            <a:off x="5297488" y="5076825"/>
            <a:ext cx="373063" cy="173038"/>
          </a:xfrm>
          <a:prstGeom prst="ellipse">
            <a:avLst/>
          </a:prstGeom>
          <a:solidFill>
            <a:srgbClr val="007770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FAEA9D5-4954-4B8F-B02E-6B63B22C3220}" type="datetime'''''''+''''1''''8''''''''''%'''''''''''''''''''''''''''">
              <a:rPr lang="en-US" altLang="en-US" sz="800" b="1" smtClean="0">
                <a:solidFill>
                  <a:schemeClr val="bg1"/>
                </a:solidFill>
                <a:effectLst/>
              </a:rPr>
              <a:pPr/>
              <a:t>+18%</a:t>
            </a:fld>
            <a:endParaRPr lang="en-US" sz="8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E2612C42-FC03-4236-BA25-E3FAA53FD69D}"/>
              </a:ext>
            </a:extLst>
          </p:cNvPr>
          <p:cNvSpPr/>
          <p:nvPr>
            <p:custDataLst>
              <p:tags r:id="rId121"/>
            </p:custDataLst>
          </p:nvPr>
        </p:nvSpPr>
        <p:spPr bwMode="auto">
          <a:xfrm>
            <a:off x="6186488" y="5124450"/>
            <a:ext cx="257175" cy="173038"/>
          </a:xfrm>
          <a:prstGeom prst="ellipse">
            <a:avLst/>
          </a:prstGeom>
          <a:solidFill>
            <a:srgbClr val="C30C3E"/>
          </a:solidFill>
          <a:ln w="9525" algn="ctr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C26D22-9CB0-49C0-A7BA-9D0F699C45E3}" type="datetime'''''''''-2''''''''''''%'''''''''''''''''''''''''''''''''''''">
              <a:rPr lang="en-US" altLang="en-US" sz="800" b="1" smtClean="0">
                <a:solidFill>
                  <a:schemeClr val="bg1"/>
                </a:solidFill>
                <a:effectLst/>
              </a:rPr>
              <a:pPr/>
              <a:t>-2%</a:t>
            </a:fld>
            <a:endParaRPr lang="en-US" sz="800" b="1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2" name="Rectangle 201"/>
          <p:cNvSpPr/>
          <p:nvPr/>
        </p:nvSpPr>
        <p:spPr>
          <a:xfrm>
            <a:off x="479425" y="3669165"/>
            <a:ext cx="11243821" cy="991545"/>
          </a:xfrm>
          <a:prstGeom prst="rect">
            <a:avLst/>
          </a:prstGeom>
          <a:noFill/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108000" rtlCol="0" anchor="t"/>
          <a:lstStyle/>
          <a:p>
            <a:pPr algn="r"/>
            <a:r>
              <a:rPr lang="en-US" sz="900" dirty="0">
                <a:solidFill>
                  <a:schemeClr val="bg2"/>
                </a:solidFill>
                <a:latin typeface="Arial"/>
              </a:rPr>
              <a:t>Gx</a:t>
            </a:r>
            <a:endParaRPr lang="el-GR" sz="900" dirty="0">
              <a:solidFill>
                <a:schemeClr val="bg2"/>
              </a:solidFill>
              <a:latin typeface="Arial"/>
            </a:endParaRPr>
          </a:p>
        </p:txBody>
      </p:sp>
      <p:sp>
        <p:nvSpPr>
          <p:cNvPr id="203" name="Rectangle 202"/>
          <p:cNvSpPr/>
          <p:nvPr/>
        </p:nvSpPr>
        <p:spPr>
          <a:xfrm>
            <a:off x="480439" y="4697568"/>
            <a:ext cx="11243821" cy="1036356"/>
          </a:xfrm>
          <a:prstGeom prst="rect">
            <a:avLst/>
          </a:prstGeom>
          <a:noFill/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108000" rtlCol="0" anchor="t"/>
          <a:lstStyle/>
          <a:p>
            <a:pPr algn="r"/>
            <a:r>
              <a:rPr lang="en-US" sz="900" dirty="0">
                <a:solidFill>
                  <a:schemeClr val="bg2"/>
                </a:solidFill>
                <a:latin typeface="Arial"/>
              </a:rPr>
              <a:t>Gx</a:t>
            </a:r>
            <a:endParaRPr lang="el-GR" sz="900" dirty="0">
              <a:solidFill>
                <a:schemeClr val="bg2"/>
              </a:solidFill>
              <a:latin typeface="Arial"/>
            </a:endParaRPr>
          </a:p>
        </p:txBody>
      </p:sp>
      <p:sp>
        <p:nvSpPr>
          <p:cNvPr id="204" name="Rectangle 203"/>
          <p:cNvSpPr/>
          <p:nvPr/>
        </p:nvSpPr>
        <p:spPr>
          <a:xfrm>
            <a:off x="10949339" y="3675850"/>
            <a:ext cx="774349" cy="244352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/>
              </a:rPr>
              <a:t>Generics</a:t>
            </a:r>
            <a:endParaRPr lang="el-GR" sz="9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205" name="Rectangle 204"/>
          <p:cNvSpPr/>
          <p:nvPr/>
        </p:nvSpPr>
        <p:spPr>
          <a:xfrm>
            <a:off x="10949339" y="4704282"/>
            <a:ext cx="774349" cy="244352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</a:rPr>
              <a:t>Off patent</a:t>
            </a:r>
          </a:p>
        </p:txBody>
      </p:sp>
      <p:sp>
        <p:nvSpPr>
          <p:cNvPr id="207" name="Rounded Rectangular Callout 206"/>
          <p:cNvSpPr>
            <a:spLocks/>
          </p:cNvSpPr>
          <p:nvPr/>
        </p:nvSpPr>
        <p:spPr bwMode="auto">
          <a:xfrm>
            <a:off x="3989388" y="3668713"/>
            <a:ext cx="735500" cy="200025"/>
          </a:xfrm>
          <a:prstGeom prst="wedgeRoundRectCallout">
            <a:avLst>
              <a:gd name="adj1" fmla="val -39344"/>
              <a:gd name="adj2" fmla="val 143632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latin typeface="+mj-lt"/>
              </a:rPr>
              <a:t>Decrease</a:t>
            </a:r>
          </a:p>
        </p:txBody>
      </p:sp>
      <p:sp>
        <p:nvSpPr>
          <p:cNvPr id="208" name="Rounded Rectangular Callout 207"/>
          <p:cNvSpPr>
            <a:spLocks/>
          </p:cNvSpPr>
          <p:nvPr/>
        </p:nvSpPr>
        <p:spPr bwMode="auto">
          <a:xfrm>
            <a:off x="1408699" y="1406237"/>
            <a:ext cx="735500" cy="198438"/>
          </a:xfrm>
          <a:prstGeom prst="wedgeRoundRectCallout">
            <a:avLst>
              <a:gd name="adj1" fmla="val -40191"/>
              <a:gd name="adj2" fmla="val 101430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00777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latin typeface="+mj-lt"/>
              </a:rPr>
              <a:t>Increase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A76B202-D6DE-4C7C-B146-95086D31C41F}"/>
              </a:ext>
            </a:extLst>
          </p:cNvPr>
          <p:cNvSpPr/>
          <p:nvPr/>
        </p:nvSpPr>
        <p:spPr>
          <a:xfrm>
            <a:off x="7280459" y="1679575"/>
            <a:ext cx="653545" cy="4000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l"/>
            <a:r>
              <a:rPr lang="en-US" sz="1200" dirty="0"/>
              <a:t>+5.0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895C556-5B11-4227-89CB-45AF020104CF}"/>
              </a:ext>
            </a:extLst>
          </p:cNvPr>
          <p:cNvSpPr txBox="1"/>
          <p:nvPr/>
        </p:nvSpPr>
        <p:spPr>
          <a:xfrm>
            <a:off x="6225614" y="1790700"/>
            <a:ext cx="1029128" cy="1666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200" dirty="0"/>
              <a:t>Market growth</a:t>
            </a:r>
          </a:p>
        </p:txBody>
      </p:sp>
      <p:sp>
        <p:nvSpPr>
          <p:cNvPr id="180" name="Oval 179">
            <a:extLst>
              <a:ext uri="{FF2B5EF4-FFF2-40B4-BE49-F238E27FC236}">
                <a16:creationId xmlns:a16="http://schemas.microsoft.com/office/drawing/2014/main" id="{473E599A-0637-4A99-9CC0-524776161A02}"/>
              </a:ext>
            </a:extLst>
          </p:cNvPr>
          <p:cNvSpPr/>
          <p:nvPr/>
        </p:nvSpPr>
        <p:spPr>
          <a:xfrm>
            <a:off x="10947633" y="3952876"/>
            <a:ext cx="735543" cy="4000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l"/>
            <a:r>
              <a:rPr lang="el-GR" sz="1200" dirty="0"/>
              <a:t>+</a:t>
            </a:r>
            <a:r>
              <a:rPr lang="en-US" sz="1200" dirty="0"/>
              <a:t>8.3%</a:t>
            </a:r>
          </a:p>
        </p:txBody>
      </p:sp>
      <p:sp>
        <p:nvSpPr>
          <p:cNvPr id="184" name="Oval 183">
            <a:extLst>
              <a:ext uri="{FF2B5EF4-FFF2-40B4-BE49-F238E27FC236}">
                <a16:creationId xmlns:a16="http://schemas.microsoft.com/office/drawing/2014/main" id="{2D1DE555-6EF1-4D0C-8985-2E373E5E0EEE}"/>
              </a:ext>
            </a:extLst>
          </p:cNvPr>
          <p:cNvSpPr/>
          <p:nvPr/>
        </p:nvSpPr>
        <p:spPr>
          <a:xfrm>
            <a:off x="10956022" y="4976743"/>
            <a:ext cx="739733" cy="4000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l"/>
            <a:r>
              <a:rPr lang="el-GR" sz="1200" dirty="0"/>
              <a:t>+</a:t>
            </a:r>
            <a:r>
              <a:rPr lang="en-US" sz="1200" dirty="0"/>
              <a:t>2.1%</a:t>
            </a:r>
          </a:p>
        </p:txBody>
      </p:sp>
      <p:sp>
        <p:nvSpPr>
          <p:cNvPr id="153" name="Rounded Rectangular Callout 218">
            <a:extLst>
              <a:ext uri="{FF2B5EF4-FFF2-40B4-BE49-F238E27FC236}">
                <a16:creationId xmlns:a16="http://schemas.microsoft.com/office/drawing/2014/main" id="{11B36DDD-16C3-4C8B-BED6-5FF4A773F163}"/>
              </a:ext>
            </a:extLst>
          </p:cNvPr>
          <p:cNvSpPr>
            <a:spLocks/>
          </p:cNvSpPr>
          <p:nvPr/>
        </p:nvSpPr>
        <p:spPr bwMode="auto">
          <a:xfrm>
            <a:off x="2394106" y="1525110"/>
            <a:ext cx="1052513" cy="284163"/>
          </a:xfrm>
          <a:prstGeom prst="wedgeRoundRectCallout">
            <a:avLst>
              <a:gd name="adj1" fmla="val -63046"/>
              <a:gd name="adj2" fmla="val 44435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A9C2C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latin typeface="+mj-lt"/>
              </a:rPr>
              <a:t>Increase lower than the market</a:t>
            </a:r>
          </a:p>
        </p:txBody>
      </p:sp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40761CE1-07B2-211A-33EE-358164117A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013" y="6397157"/>
            <a:ext cx="7560000" cy="110800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</p:spTree>
    <p:extLst>
      <p:ext uri="{BB962C8B-B14F-4D97-AF65-F5344CB8AC3E}">
        <p14:creationId xmlns:p14="http://schemas.microsoft.com/office/powerpoint/2010/main" val="9645513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248764A-8947-426D-9B8F-679FB0D21B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9289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0" imgW="592" imgH="591" progId="TCLayout.ActiveDocument.1">
                  <p:embed/>
                </p:oleObj>
              </mc:Choice>
              <mc:Fallback>
                <p:oleObj name="think-cell Slide" r:id="rId70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248764A-8947-426D-9B8F-679FB0D21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800" dirty="0" err="1">
              <a:cs typeface="Arial" panose="020B0604020202020204" pitchFamily="34" charset="0"/>
              <a:sym typeface="+mn-lt"/>
            </a:endParaRP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9F5DB39-69AE-5208-EBB1-D02B7A1E242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50778508"/>
              </p:ext>
            </p:extLst>
          </p:nvPr>
        </p:nvGraphicFramePr>
        <p:xfrm>
          <a:off x="546100" y="2217738"/>
          <a:ext cx="11260138" cy="3219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2"/>
          </a:graphicData>
        </a:graphic>
      </p:graphicFrame>
      <p:cxnSp>
        <p:nvCxnSpPr>
          <p:cNvPr id="474" name="Straight Connector 473"/>
          <p:cNvCxnSpPr/>
          <p:nvPr>
            <p:custDataLst>
              <p:tags r:id="rId4"/>
            </p:custDataLst>
          </p:nvPr>
        </p:nvCxnSpPr>
        <p:spPr bwMode="auto">
          <a:xfrm>
            <a:off x="1082675" y="2320925"/>
            <a:ext cx="193675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73" name="Straight Connector 472"/>
          <p:cNvCxnSpPr/>
          <p:nvPr>
            <p:custDataLst>
              <p:tags r:id="rId5"/>
            </p:custDataLst>
          </p:nvPr>
        </p:nvCxnSpPr>
        <p:spPr bwMode="auto">
          <a:xfrm>
            <a:off x="1276350" y="2320925"/>
            <a:ext cx="0" cy="220663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75" name="Straight Connector 474"/>
          <p:cNvCxnSpPr/>
          <p:nvPr>
            <p:custDataLst>
              <p:tags r:id="rId6"/>
            </p:custDataLst>
          </p:nvPr>
        </p:nvCxnSpPr>
        <p:spPr bwMode="auto">
          <a:xfrm flipV="1">
            <a:off x="1082675" y="2320925"/>
            <a:ext cx="0" cy="390525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70" name="Straight Connector 469"/>
          <p:cNvCxnSpPr/>
          <p:nvPr>
            <p:custDataLst>
              <p:tags r:id="rId7"/>
            </p:custDataLst>
          </p:nvPr>
        </p:nvCxnSpPr>
        <p:spPr bwMode="auto">
          <a:xfrm>
            <a:off x="1816100" y="2557463"/>
            <a:ext cx="0" cy="220663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71" name="Straight Connector 470"/>
          <p:cNvCxnSpPr/>
          <p:nvPr>
            <p:custDataLst>
              <p:tags r:id="rId8"/>
            </p:custDataLst>
          </p:nvPr>
        </p:nvCxnSpPr>
        <p:spPr bwMode="auto">
          <a:xfrm>
            <a:off x="1624013" y="2557463"/>
            <a:ext cx="192088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72" name="Straight Connector 471"/>
          <p:cNvCxnSpPr/>
          <p:nvPr>
            <p:custDataLst>
              <p:tags r:id="rId9"/>
            </p:custDataLst>
          </p:nvPr>
        </p:nvCxnSpPr>
        <p:spPr bwMode="auto">
          <a:xfrm flipV="1">
            <a:off x="1624013" y="2557463"/>
            <a:ext cx="0" cy="258763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67" name="Straight Connector 466"/>
          <p:cNvCxnSpPr/>
          <p:nvPr>
            <p:custDataLst>
              <p:tags r:id="rId10"/>
            </p:custDataLst>
          </p:nvPr>
        </p:nvCxnSpPr>
        <p:spPr bwMode="auto">
          <a:xfrm>
            <a:off x="2357438" y="2974975"/>
            <a:ext cx="0" cy="220663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68" name="Straight Connector 467"/>
          <p:cNvCxnSpPr/>
          <p:nvPr>
            <p:custDataLst>
              <p:tags r:id="rId11"/>
            </p:custDataLst>
          </p:nvPr>
        </p:nvCxnSpPr>
        <p:spPr bwMode="auto">
          <a:xfrm>
            <a:off x="2163763" y="2974975"/>
            <a:ext cx="193675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69" name="Straight Connector 468"/>
          <p:cNvCxnSpPr/>
          <p:nvPr>
            <p:custDataLst>
              <p:tags r:id="rId12"/>
            </p:custDataLst>
          </p:nvPr>
        </p:nvCxnSpPr>
        <p:spPr bwMode="auto">
          <a:xfrm flipV="1">
            <a:off x="2163763" y="2974975"/>
            <a:ext cx="0" cy="769938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65" name="Straight Connector 464"/>
          <p:cNvCxnSpPr/>
          <p:nvPr>
            <p:custDataLst>
              <p:tags r:id="rId13"/>
            </p:custDataLst>
          </p:nvPr>
        </p:nvCxnSpPr>
        <p:spPr bwMode="auto">
          <a:xfrm>
            <a:off x="2705100" y="3076575"/>
            <a:ext cx="192088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9" name="Straight Connector 488"/>
          <p:cNvCxnSpPr/>
          <p:nvPr>
            <p:custDataLst>
              <p:tags r:id="rId14"/>
            </p:custDataLst>
          </p:nvPr>
        </p:nvCxnSpPr>
        <p:spPr bwMode="auto">
          <a:xfrm>
            <a:off x="2897188" y="3076575"/>
            <a:ext cx="0" cy="220663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66" name="Straight Connector 465"/>
          <p:cNvCxnSpPr/>
          <p:nvPr>
            <p:custDataLst>
              <p:tags r:id="rId15"/>
            </p:custDataLst>
          </p:nvPr>
        </p:nvCxnSpPr>
        <p:spPr bwMode="auto">
          <a:xfrm flipV="1">
            <a:off x="2705100" y="3076575"/>
            <a:ext cx="0" cy="269875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6" name="Straight Connector 485"/>
          <p:cNvCxnSpPr/>
          <p:nvPr>
            <p:custDataLst>
              <p:tags r:id="rId16"/>
            </p:custDataLst>
          </p:nvPr>
        </p:nvCxnSpPr>
        <p:spPr bwMode="auto">
          <a:xfrm>
            <a:off x="3438525" y="3311525"/>
            <a:ext cx="0" cy="220663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87" name="Straight Connector 486"/>
          <p:cNvCxnSpPr/>
          <p:nvPr>
            <p:custDataLst>
              <p:tags r:id="rId17"/>
            </p:custDataLst>
          </p:nvPr>
        </p:nvCxnSpPr>
        <p:spPr bwMode="auto">
          <a:xfrm>
            <a:off x="3244850" y="3311525"/>
            <a:ext cx="193675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8" name="Straight Connector 487"/>
          <p:cNvCxnSpPr/>
          <p:nvPr>
            <p:custDataLst>
              <p:tags r:id="rId18"/>
            </p:custDataLst>
          </p:nvPr>
        </p:nvCxnSpPr>
        <p:spPr bwMode="auto">
          <a:xfrm flipV="1">
            <a:off x="3244850" y="3311525"/>
            <a:ext cx="0" cy="47625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4" name="Straight Connector 483"/>
          <p:cNvCxnSpPr/>
          <p:nvPr>
            <p:custDataLst>
              <p:tags r:id="rId19"/>
            </p:custDataLst>
          </p:nvPr>
        </p:nvCxnSpPr>
        <p:spPr bwMode="auto">
          <a:xfrm>
            <a:off x="3786188" y="3549650"/>
            <a:ext cx="193675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3" name="Straight Connector 482"/>
          <p:cNvCxnSpPr/>
          <p:nvPr>
            <p:custDataLst>
              <p:tags r:id="rId20"/>
            </p:custDataLst>
          </p:nvPr>
        </p:nvCxnSpPr>
        <p:spPr bwMode="auto">
          <a:xfrm>
            <a:off x="3979863" y="3549650"/>
            <a:ext cx="0" cy="220663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85" name="Straight Connector 484"/>
          <p:cNvCxnSpPr/>
          <p:nvPr>
            <p:custDataLst>
              <p:tags r:id="rId21"/>
            </p:custDataLst>
          </p:nvPr>
        </p:nvCxnSpPr>
        <p:spPr bwMode="auto">
          <a:xfrm flipV="1">
            <a:off x="3786188" y="3549650"/>
            <a:ext cx="0" cy="487363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1" name="Straight Connector 480"/>
          <p:cNvCxnSpPr/>
          <p:nvPr>
            <p:custDataLst>
              <p:tags r:id="rId22"/>
            </p:custDataLst>
          </p:nvPr>
        </p:nvCxnSpPr>
        <p:spPr bwMode="auto">
          <a:xfrm>
            <a:off x="4327525" y="3697288"/>
            <a:ext cx="192088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0" name="Straight Connector 479"/>
          <p:cNvCxnSpPr/>
          <p:nvPr>
            <p:custDataLst>
              <p:tags r:id="rId23"/>
            </p:custDataLst>
          </p:nvPr>
        </p:nvCxnSpPr>
        <p:spPr bwMode="auto">
          <a:xfrm>
            <a:off x="4519613" y="3697288"/>
            <a:ext cx="0" cy="220663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82" name="Straight Connector 481"/>
          <p:cNvCxnSpPr/>
          <p:nvPr>
            <p:custDataLst>
              <p:tags r:id="rId24"/>
            </p:custDataLst>
          </p:nvPr>
        </p:nvCxnSpPr>
        <p:spPr bwMode="auto">
          <a:xfrm flipV="1">
            <a:off x="4327525" y="3697288"/>
            <a:ext cx="0" cy="26035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60" name="Straight Connector 459"/>
          <p:cNvCxnSpPr/>
          <p:nvPr>
            <p:custDataLst>
              <p:tags r:id="rId25"/>
            </p:custDataLst>
          </p:nvPr>
        </p:nvCxnSpPr>
        <p:spPr bwMode="auto">
          <a:xfrm>
            <a:off x="4867275" y="3719513"/>
            <a:ext cx="193675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79" name="Straight Connector 478"/>
          <p:cNvCxnSpPr/>
          <p:nvPr>
            <p:custDataLst>
              <p:tags r:id="rId26"/>
            </p:custDataLst>
          </p:nvPr>
        </p:nvCxnSpPr>
        <p:spPr bwMode="auto">
          <a:xfrm flipV="1">
            <a:off x="4867275" y="3719513"/>
            <a:ext cx="0" cy="249238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78" name="Straight Connector 477"/>
          <p:cNvCxnSpPr/>
          <p:nvPr>
            <p:custDataLst>
              <p:tags r:id="rId27"/>
            </p:custDataLst>
          </p:nvPr>
        </p:nvCxnSpPr>
        <p:spPr bwMode="auto">
          <a:xfrm>
            <a:off x="5060950" y="3719513"/>
            <a:ext cx="0" cy="220663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77" name="Straight Connector 476"/>
          <p:cNvCxnSpPr/>
          <p:nvPr>
            <p:custDataLst>
              <p:tags r:id="rId28"/>
            </p:custDataLst>
          </p:nvPr>
        </p:nvCxnSpPr>
        <p:spPr bwMode="auto">
          <a:xfrm flipV="1">
            <a:off x="5408613" y="3983038"/>
            <a:ext cx="0" cy="452438"/>
          </a:xfrm>
          <a:prstGeom prst="line">
            <a:avLst/>
          </a:prstGeom>
          <a:noFill/>
          <a:ln w="12700" algn="ctr">
            <a:solidFill>
              <a:schemeClr val="tx1"/>
            </a:solidFill>
            <a:prstDash val="solid"/>
            <a:round/>
            <a:headEnd type="none"/>
            <a:tailEnd type="none"/>
          </a:ln>
          <a:effectLst/>
        </p:spPr>
      </p:cxnSp>
      <p:cxnSp>
        <p:nvCxnSpPr>
          <p:cNvPr id="464" name="Straight Connector 463"/>
          <p:cNvCxnSpPr/>
          <p:nvPr>
            <p:custDataLst>
              <p:tags r:id="rId29"/>
            </p:custDataLst>
          </p:nvPr>
        </p:nvCxnSpPr>
        <p:spPr bwMode="auto">
          <a:xfrm>
            <a:off x="5600700" y="3983038"/>
            <a:ext cx="0" cy="220663"/>
          </a:xfrm>
          <a:prstGeom prst="line">
            <a:avLst/>
          </a:prstGeom>
          <a:noFill/>
          <a:ln w="12700" algn="ctr">
            <a:solidFill>
              <a:schemeClr val="tx1"/>
            </a:solidFill>
            <a:prstDash val="solid"/>
            <a:round/>
            <a:headEnd type="none"/>
            <a:tailEnd type="triangle" w="med" len="med"/>
          </a:ln>
          <a:effectLst/>
        </p:spPr>
      </p:cxnSp>
      <p:cxnSp>
        <p:nvCxnSpPr>
          <p:cNvPr id="476" name="Straight Connector 475"/>
          <p:cNvCxnSpPr/>
          <p:nvPr>
            <p:custDataLst>
              <p:tags r:id="rId30"/>
            </p:custDataLst>
          </p:nvPr>
        </p:nvCxnSpPr>
        <p:spPr bwMode="auto">
          <a:xfrm>
            <a:off x="5408613" y="3983038"/>
            <a:ext cx="192088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prstDash val="solid"/>
            <a:round/>
            <a:headEnd type="none"/>
            <a:tailEnd type="none"/>
          </a:ln>
          <a:effectLst/>
        </p:spPr>
      </p:cxnSp>
      <p:cxnSp>
        <p:nvCxnSpPr>
          <p:cNvPr id="462" name="Straight Connector 461"/>
          <p:cNvCxnSpPr/>
          <p:nvPr>
            <p:custDataLst>
              <p:tags r:id="rId31"/>
            </p:custDataLst>
          </p:nvPr>
        </p:nvCxnSpPr>
        <p:spPr bwMode="auto">
          <a:xfrm>
            <a:off x="5948363" y="4035425"/>
            <a:ext cx="193675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prstDash val="solid"/>
            <a:round/>
            <a:headEnd type="none"/>
            <a:tailEnd type="none"/>
          </a:ln>
          <a:effectLst/>
        </p:spPr>
      </p:cxnSp>
      <p:cxnSp>
        <p:nvCxnSpPr>
          <p:cNvPr id="461" name="Straight Connector 460"/>
          <p:cNvCxnSpPr/>
          <p:nvPr>
            <p:custDataLst>
              <p:tags r:id="rId32"/>
            </p:custDataLst>
          </p:nvPr>
        </p:nvCxnSpPr>
        <p:spPr bwMode="auto">
          <a:xfrm>
            <a:off x="6142038" y="4035425"/>
            <a:ext cx="0" cy="220663"/>
          </a:xfrm>
          <a:prstGeom prst="line">
            <a:avLst/>
          </a:prstGeom>
          <a:noFill/>
          <a:ln w="12700" algn="ctr">
            <a:solidFill>
              <a:schemeClr val="tx1"/>
            </a:solidFill>
            <a:prstDash val="solid"/>
            <a:round/>
            <a:headEnd type="none"/>
            <a:tailEnd type="triangle" w="med" len="med"/>
          </a:ln>
          <a:effectLst/>
        </p:spPr>
      </p:cxnSp>
      <p:cxnSp>
        <p:nvCxnSpPr>
          <p:cNvPr id="463" name="Straight Connector 462"/>
          <p:cNvCxnSpPr/>
          <p:nvPr>
            <p:custDataLst>
              <p:tags r:id="rId33"/>
            </p:custDataLst>
          </p:nvPr>
        </p:nvCxnSpPr>
        <p:spPr bwMode="auto">
          <a:xfrm flipV="1">
            <a:off x="5948363" y="4035425"/>
            <a:ext cx="0" cy="223838"/>
          </a:xfrm>
          <a:prstGeom prst="line">
            <a:avLst/>
          </a:prstGeom>
          <a:noFill/>
          <a:ln w="12700" algn="ctr">
            <a:solidFill>
              <a:schemeClr val="tx1"/>
            </a:solidFill>
            <a:prstDash val="solid"/>
            <a:round/>
            <a:headEnd type="none"/>
            <a:tailEnd type="none"/>
          </a:ln>
          <a:effectLst/>
        </p:spPr>
      </p:cxnSp>
      <p:sp>
        <p:nvSpPr>
          <p:cNvPr id="540" name="Rectangle 539"/>
          <p:cNvSpPr/>
          <p:nvPr>
            <p:custDataLst>
              <p:tags r:id="rId34"/>
            </p:custDataLst>
          </p:nvPr>
        </p:nvSpPr>
        <p:spPr bwMode="auto">
          <a:xfrm>
            <a:off x="4254500" y="5386388"/>
            <a:ext cx="33655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F82B8AE2-FAB1-4643-9832-D95108B090F7}" type="datetime'''''''A''''''''''''0''''''''2''''''''B''''''''''''''''C'''''''">
              <a:rPr lang="en-US" altLang="en-US" sz="800" smtClean="0">
                <a:effectLst/>
              </a:rPr>
              <a:pPr/>
              <a:t>A02BC</a:t>
            </a:fld>
            <a:endParaRPr kumimoji="0" lang="el-GR" sz="800" strike="noStrik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558" name="Rectangle 557"/>
          <p:cNvSpPr/>
          <p:nvPr>
            <p:custDataLst>
              <p:tags r:id="rId35"/>
            </p:custDataLst>
          </p:nvPr>
        </p:nvSpPr>
        <p:spPr bwMode="auto">
          <a:xfrm>
            <a:off x="1017588" y="5386388"/>
            <a:ext cx="325438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B4653E83-8EEF-4D38-ABE0-0FA37E9EB935}" type="datetime'B''''0''1A''F'''''">
              <a:rPr lang="en-US" altLang="en-US" sz="800" smtClean="0">
                <a:effectLst/>
              </a:rPr>
              <a:pPr/>
              <a:t>B01AF</a:t>
            </a:fld>
            <a:endParaRPr kumimoji="0" lang="el-GR" sz="800" strike="noStrike" normalizeH="0">
              <a:ln>
                <a:noFill/>
              </a:ln>
              <a:effectLst/>
              <a:cs typeface="Arial" panose="020B0604020202020204" pitchFamily="34" charset="0"/>
              <a:sym typeface="Arial"/>
            </a:endParaRPr>
          </a:p>
        </p:txBody>
      </p:sp>
      <p:sp>
        <p:nvSpPr>
          <p:cNvPr id="490" name="Rectangle 489"/>
          <p:cNvSpPr/>
          <p:nvPr>
            <p:custDataLst>
              <p:tags r:id="rId36"/>
            </p:custDataLst>
          </p:nvPr>
        </p:nvSpPr>
        <p:spPr bwMode="auto">
          <a:xfrm>
            <a:off x="839787" y="2092325"/>
            <a:ext cx="141288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latin typeface="Arial"/>
                <a:cs typeface="Arial"/>
                <a:sym typeface="Arial"/>
              </a:rPr>
              <a:t>M€</a:t>
            </a:r>
          </a:p>
        </p:txBody>
      </p:sp>
      <p:sp>
        <p:nvSpPr>
          <p:cNvPr id="552" name="Rectangle 551"/>
          <p:cNvSpPr/>
          <p:nvPr>
            <p:custDataLst>
              <p:tags r:id="rId37"/>
            </p:custDataLst>
          </p:nvPr>
        </p:nvSpPr>
        <p:spPr bwMode="auto">
          <a:xfrm>
            <a:off x="2103438" y="5386388"/>
            <a:ext cx="314325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DB162D0E-482F-4E6C-8732-AB66933FD99A}" type="datetime'A''''''''''1''''''''''0''B''''''J'">
              <a:rPr lang="en-US" altLang="en-US" sz="800" smtClean="0">
                <a:effectLst/>
              </a:rPr>
              <a:pPr/>
              <a:t>A10BJ</a:t>
            </a:fld>
            <a:endParaRPr kumimoji="0" lang="el-GR" sz="800" strike="noStrik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548" name="Rectangle 547"/>
          <p:cNvSpPr/>
          <p:nvPr>
            <p:custDataLst>
              <p:tags r:id="rId38"/>
            </p:custDataLst>
          </p:nvPr>
        </p:nvSpPr>
        <p:spPr bwMode="auto">
          <a:xfrm>
            <a:off x="2632075" y="5386388"/>
            <a:ext cx="33655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99E67380-83F2-4188-A99E-2012D80F22A3}" type="datetime'''''''''''A''''''''''''''''''1''''0''''''''''''B''''D'''''''''">
              <a:rPr lang="en-US" altLang="en-US" sz="800" smtClean="0">
                <a:effectLst/>
              </a:rPr>
              <a:pPr/>
              <a:t>A10BD</a:t>
            </a:fld>
            <a:endParaRPr kumimoji="0" lang="el-GR" sz="800" strike="noStrik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513" name="Text Placeholder 531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117013" y="5386388"/>
            <a:ext cx="347663" cy="122238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3334C37-FC7B-4251-B689-CE83AAA3BC43}" type="datetime'''''''''''''''M''''''''''''''''05''''BX'''''''">
              <a:rPr lang="en-US" altLang="en-US" sz="800" b="0" smtClean="0">
                <a:solidFill>
                  <a:schemeClr val="tx1"/>
                </a:solidFill>
                <a:effectLst/>
              </a:rPr>
              <a:pPr/>
              <a:t>M05BX</a:t>
            </a:fld>
            <a:endParaRPr lang="el-GR" sz="8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516" name="Text Placeholder 530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8580438" y="5386388"/>
            <a:ext cx="336550" cy="122238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CA3263A-E99A-4865-975B-79FCD0DF2F9D}" type="datetime'N''''''''''''''''''''''''''''''''0''''''3''''''''''''AX'''''">
              <a:rPr lang="en-US" altLang="en-US" sz="800" b="0" smtClean="0">
                <a:solidFill>
                  <a:schemeClr val="tx1"/>
                </a:solidFill>
                <a:effectLst/>
              </a:rPr>
              <a:pPr/>
              <a:t>N03AX</a:t>
            </a:fld>
            <a:endParaRPr lang="el-GR" sz="8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501" name="Text Placeholder 536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1296650" y="5386388"/>
            <a:ext cx="312738" cy="122238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438A9EE-B097-4AFE-B092-505E62078E7B}" type="datetime'Z''''''''''9''''''''''''''''''9''''Z''''''''''''''''Z'''">
              <a:rPr lang="en-US" altLang="en-US" sz="800" b="0" smtClean="0">
                <a:solidFill>
                  <a:schemeClr val="tx1"/>
                </a:solidFill>
                <a:effectLst/>
              </a:rPr>
              <a:pPr/>
              <a:t>Z99ZZ</a:t>
            </a:fld>
            <a:endParaRPr lang="el-GR" sz="8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504" name="Text Placeholder 535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0741025" y="5386388"/>
            <a:ext cx="341313" cy="122238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88E4C62-9FEB-4BA2-BC39-E987CD0BFDA0}" type="datetime'''''C''''''0''''9''''''D''''''''A'''''''''''''''''''">
              <a:rPr lang="en-US" altLang="en-US" sz="800" b="0" smtClean="0">
                <a:solidFill>
                  <a:schemeClr val="tx1"/>
                </a:solidFill>
                <a:effectLst/>
              </a:rPr>
              <a:pPr/>
              <a:t>C09DA</a:t>
            </a:fld>
            <a:endParaRPr lang="el-GR" sz="8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519" name="Text Placeholder 529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039100" y="5386388"/>
            <a:ext cx="336550" cy="122238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D656AA4-07D9-4D8E-A673-7A93FFD4BD73}" type="datetime'''''''''B''''''''01''''''''''''A''''''''C'''''''''''">
              <a:rPr lang="en-US" altLang="en-US" sz="800" b="0" smtClean="0">
                <a:solidFill>
                  <a:schemeClr val="tx1"/>
                </a:solidFill>
                <a:effectLst/>
              </a:rPr>
              <a:pPr/>
              <a:t>B01AC</a:t>
            </a:fld>
            <a:endParaRPr lang="el-GR" sz="8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545" name="Rectangle 544"/>
          <p:cNvSpPr/>
          <p:nvPr>
            <p:custDataLst>
              <p:tags r:id="rId44"/>
            </p:custDataLst>
          </p:nvPr>
        </p:nvSpPr>
        <p:spPr bwMode="auto">
          <a:xfrm>
            <a:off x="3173413" y="5386388"/>
            <a:ext cx="33655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C68CC366-2601-4EEC-AEC2-20CA3CABAA0C}" type="datetime'''''''''C''''''''''''''''''''1''''0''''''''B''''''''A'''''">
              <a:rPr lang="en-US" altLang="en-US" sz="800" smtClean="0">
                <a:effectLst/>
              </a:rPr>
              <a:pPr/>
              <a:t>C10BA</a:t>
            </a:fld>
            <a:endParaRPr kumimoji="0" lang="el-GR" sz="800" strike="noStrik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549" name="Text Placeholder 53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9659938" y="5386388"/>
            <a:ext cx="341313" cy="122238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0B35E06-9B02-4264-A539-51A6BA4E3061}" type="datetime'''A''''''''''''''''1''1''C''''''''''''''''''''''''''''''''C'''">
              <a:rPr lang="en-US" altLang="en-US" sz="800" b="0" smtClean="0">
                <a:solidFill>
                  <a:schemeClr val="tx1"/>
                </a:solidFill>
                <a:effectLst/>
              </a:rPr>
              <a:pPr/>
              <a:t>A11CC</a:t>
            </a:fld>
            <a:endParaRPr lang="el-GR" sz="8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522" name="Text Placeholder 528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7497763" y="5386388"/>
            <a:ext cx="341313" cy="122238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0EFDFE2-207F-4B4C-B1B7-A004A2A24419}" type="datetime'C''''''0''''''9''''D''''X'''''''''''''''''''''''''''">
              <a:rPr lang="en-US" altLang="en-US" sz="800" b="0" smtClean="0">
                <a:solidFill>
                  <a:schemeClr val="tx1"/>
                </a:solidFill>
              </a:rPr>
              <a:pPr/>
              <a:t>C09DX</a:t>
            </a:fld>
            <a:endParaRPr lang="el-GR" sz="8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525" name="Rectangle 524"/>
          <p:cNvSpPr/>
          <p:nvPr>
            <p:custDataLst>
              <p:tags r:id="rId47"/>
            </p:custDataLst>
          </p:nvPr>
        </p:nvSpPr>
        <p:spPr bwMode="auto">
          <a:xfrm>
            <a:off x="6961188" y="5386388"/>
            <a:ext cx="331788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208928C5-887A-4D2E-87AF-573BCBD26AAB}" type="datetime'''''''''B''0''''''''''''''''''1''''''''''''AB'''''''''''''">
              <a:rPr lang="en-US" altLang="en-US" sz="800" smtClean="0">
                <a:effectLst/>
              </a:rPr>
              <a:pPr/>
              <a:t>B01AB</a:t>
            </a:fld>
            <a:endParaRPr kumimoji="0" lang="el-GR" sz="800" strike="noStrik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507" name="Text Placeholder 534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10202863" y="5386388"/>
            <a:ext cx="336550" cy="122238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428D4F0-411E-4DDE-ADC7-48E4AC8CA307}" type="datetime'''''''''''A''''''''''''''''''''''''''''1''0''BH'">
              <a:rPr lang="en-US" altLang="en-US" sz="800" b="0" smtClean="0">
                <a:solidFill>
                  <a:schemeClr val="tx1"/>
                </a:solidFill>
                <a:effectLst/>
              </a:rPr>
              <a:pPr/>
              <a:t>A10BH</a:t>
            </a:fld>
            <a:endParaRPr lang="el-GR" sz="800" b="0">
              <a:solidFill>
                <a:schemeClr val="tx1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528" name="Rectangle 527"/>
          <p:cNvSpPr/>
          <p:nvPr>
            <p:custDataLst>
              <p:tags r:id="rId49"/>
            </p:custDataLst>
          </p:nvPr>
        </p:nvSpPr>
        <p:spPr bwMode="auto">
          <a:xfrm>
            <a:off x="6418263" y="5386388"/>
            <a:ext cx="33655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CCDA610C-EACA-4FD5-8510-AA5D74F1BE49}" type="datetime'''''''N''''06''''A''''''B'''">
              <a:rPr lang="en-US" altLang="en-US" sz="800" smtClean="0">
                <a:effectLst/>
              </a:rPr>
              <a:pPr/>
              <a:t>N06AB</a:t>
            </a:fld>
            <a:endParaRPr kumimoji="0" lang="el-GR" sz="800" strike="noStrik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531" name="Rectangle 530"/>
          <p:cNvSpPr/>
          <p:nvPr>
            <p:custDataLst>
              <p:tags r:id="rId50"/>
            </p:custDataLst>
          </p:nvPr>
        </p:nvSpPr>
        <p:spPr bwMode="auto">
          <a:xfrm>
            <a:off x="5875338" y="5386388"/>
            <a:ext cx="341313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33B143C6-87F2-4CF0-84EA-2A84611076BF}" type="datetime'''N''''''''05''A''''''''''''H'''''''''''''''''''''''''''''">
              <a:rPr lang="en-US" altLang="en-US" sz="800" smtClean="0">
                <a:effectLst/>
              </a:rPr>
              <a:pPr/>
              <a:t>N05AH</a:t>
            </a:fld>
            <a:endParaRPr kumimoji="0" lang="el-GR" sz="800" strike="noStrik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534" name="Rectangle 533"/>
          <p:cNvSpPr/>
          <p:nvPr>
            <p:custDataLst>
              <p:tags r:id="rId51"/>
            </p:custDataLst>
          </p:nvPr>
        </p:nvSpPr>
        <p:spPr bwMode="auto">
          <a:xfrm>
            <a:off x="5338763" y="5386388"/>
            <a:ext cx="331788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248F5F28-B3FA-470A-B76D-469B6BDEF829}" type="datetime'A1''''''''''''''''''0B''''''''''''''K'''''''''''">
              <a:rPr lang="en-US" altLang="en-US" sz="800" smtClean="0">
                <a:effectLst/>
              </a:rPr>
              <a:pPr/>
              <a:t>A10BK</a:t>
            </a:fld>
            <a:endParaRPr kumimoji="0" lang="el-GR" sz="800" strike="noStrik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537" name="Rectangle 536"/>
          <p:cNvSpPr/>
          <p:nvPr>
            <p:custDataLst>
              <p:tags r:id="rId52"/>
            </p:custDataLst>
          </p:nvPr>
        </p:nvSpPr>
        <p:spPr bwMode="auto">
          <a:xfrm>
            <a:off x="4799013" y="5386388"/>
            <a:ext cx="331788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3C22B131-22E3-47CC-BFA7-FA1931A6BC43}" type="datetime'''''''''''''''''''''A''''1''''''''''''0''''A''''''''E'''''">
              <a:rPr lang="en-US" altLang="en-US" sz="800" smtClean="0">
                <a:effectLst/>
              </a:rPr>
              <a:pPr/>
              <a:t>A10AE</a:t>
            </a:fld>
            <a:endParaRPr kumimoji="0" lang="el-GR" sz="800" strike="noStrik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555" name="Rectangle 554"/>
          <p:cNvSpPr/>
          <p:nvPr>
            <p:custDataLst>
              <p:tags r:id="rId53"/>
            </p:custDataLst>
          </p:nvPr>
        </p:nvSpPr>
        <p:spPr bwMode="auto">
          <a:xfrm>
            <a:off x="1550988" y="5386388"/>
            <a:ext cx="33655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7B52DF2B-9C8E-469F-9B9E-89E90EABB862}" type="datetime'''''''C''''''1''''''''''''''''''''''''''''0A''''A'''''''''''">
              <a:rPr lang="en-US" altLang="en-US" sz="800" smtClean="0">
                <a:effectLst/>
              </a:rPr>
              <a:pPr/>
              <a:t>C10AA</a:t>
            </a:fld>
            <a:endParaRPr kumimoji="0" lang="el-GR" sz="800" strike="noStrik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542" name="Rectangle 541"/>
          <p:cNvSpPr/>
          <p:nvPr>
            <p:custDataLst>
              <p:tags r:id="rId54"/>
            </p:custDataLst>
          </p:nvPr>
        </p:nvSpPr>
        <p:spPr bwMode="auto">
          <a:xfrm>
            <a:off x="3714750" y="5386388"/>
            <a:ext cx="33655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1F778F11-CF98-4880-A2B5-2EAB13EC03D7}" type="datetime'''''''''R''03''''''''''''A''''''''''''K'''''''''''''''">
              <a:rPr lang="en-US" altLang="en-US" sz="800" smtClean="0">
                <a:effectLst/>
              </a:rPr>
              <a:pPr/>
              <a:t>R03AK</a:t>
            </a:fld>
            <a:endParaRPr kumimoji="0" lang="el-GR" sz="800" strike="noStrike" normalizeH="0">
              <a:ln>
                <a:noFill/>
              </a:ln>
              <a:effectLst/>
              <a:cs typeface="Arial" panose="020B0604020202020204" pitchFamily="34" charset="0"/>
              <a:sym typeface="+mn-lt"/>
            </a:endParaRPr>
          </a:p>
        </p:txBody>
      </p:sp>
      <p:sp>
        <p:nvSpPr>
          <p:cNvPr id="500" name="Oval 499"/>
          <p:cNvSpPr/>
          <p:nvPr>
            <p:custDataLst>
              <p:tags r:id="rId55"/>
            </p:custDataLst>
          </p:nvPr>
        </p:nvSpPr>
        <p:spPr bwMode="auto">
          <a:xfrm>
            <a:off x="1050925" y="2254250"/>
            <a:ext cx="257175" cy="134938"/>
          </a:xfrm>
          <a:prstGeom prst="ellipse">
            <a:avLst/>
          </a:prstGeom>
          <a:solidFill>
            <a:srgbClr val="00777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DE1898A5-B189-4460-A08B-C9D131512D63}" type="datetime'''''''''''''''''''''+''''''''7%'''''''''''''''''''''''">
              <a:rPr lang="en-US" altLang="en-US" sz="700" b="1" smtClean="0">
                <a:solidFill>
                  <a:schemeClr val="bg1"/>
                </a:solidFill>
                <a:effectLst/>
              </a:rPr>
              <a:pPr/>
              <a:t>+7%</a:t>
            </a:fld>
            <a:endParaRPr lang="el-GR" sz="700" b="1" strike="noStrike" normalizeH="0" dirty="0">
              <a:ln>
                <a:noFill/>
              </a:ln>
              <a:solidFill>
                <a:schemeClr val="bg1"/>
              </a:solidFill>
              <a:effectLst/>
              <a:sym typeface="+mn-lt"/>
            </a:endParaRPr>
          </a:p>
        </p:txBody>
      </p:sp>
      <p:sp>
        <p:nvSpPr>
          <p:cNvPr id="499" name="Oval 498"/>
          <p:cNvSpPr/>
          <p:nvPr>
            <p:custDataLst>
              <p:tags r:id="rId56"/>
            </p:custDataLst>
          </p:nvPr>
        </p:nvSpPr>
        <p:spPr bwMode="auto">
          <a:xfrm>
            <a:off x="1574800" y="2490788"/>
            <a:ext cx="288925" cy="134938"/>
          </a:xfrm>
          <a:prstGeom prst="ellipse">
            <a:avLst/>
          </a:prstGeom>
          <a:solidFill>
            <a:srgbClr val="D6D7D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9C95F467-FA20-40D1-A7D3-8B87E902168B}" type="datetime'''''1''.''''''''''''''''''''''''''''''''''''''8''%'''''">
              <a:rPr lang="en-US" altLang="en-US" sz="700" b="1" smtClean="0">
                <a:effectLst/>
              </a:rPr>
              <a:pPr/>
              <a:t>1.8%</a:t>
            </a:fld>
            <a:endParaRPr lang="el-GR" sz="700" b="1" strike="noStrike" normalizeH="0" dirty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498" name="Oval 497"/>
          <p:cNvSpPr/>
          <p:nvPr>
            <p:custDataLst>
              <p:tags r:id="rId57"/>
            </p:custDataLst>
          </p:nvPr>
        </p:nvSpPr>
        <p:spPr bwMode="auto">
          <a:xfrm>
            <a:off x="2097088" y="2908300"/>
            <a:ext cx="327025" cy="134938"/>
          </a:xfrm>
          <a:prstGeom prst="ellipse">
            <a:avLst/>
          </a:prstGeom>
          <a:solidFill>
            <a:srgbClr val="00777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404393A1-7900-47CD-BDF7-1A4D87B34F57}" type="datetime'''''''''''''+''''''''''42''''''%'''''''''''''">
              <a:rPr lang="en-US" altLang="en-US" sz="700" b="1" smtClean="0">
                <a:solidFill>
                  <a:schemeClr val="bg1"/>
                </a:solidFill>
                <a:effectLst/>
              </a:rPr>
              <a:pPr/>
              <a:t>+42%</a:t>
            </a:fld>
            <a:endParaRPr lang="el-GR" sz="700" b="1" strike="noStrike" normalizeH="0" dirty="0">
              <a:ln>
                <a:noFill/>
              </a:ln>
              <a:solidFill>
                <a:schemeClr val="bg1"/>
              </a:solidFill>
              <a:effectLst/>
              <a:sym typeface="+mn-lt"/>
            </a:endParaRPr>
          </a:p>
        </p:txBody>
      </p:sp>
      <p:sp>
        <p:nvSpPr>
          <p:cNvPr id="497" name="Oval 496"/>
          <p:cNvSpPr/>
          <p:nvPr>
            <p:custDataLst>
              <p:tags r:id="rId58"/>
            </p:custDataLst>
          </p:nvPr>
        </p:nvSpPr>
        <p:spPr bwMode="auto">
          <a:xfrm>
            <a:off x="2671763" y="3009900"/>
            <a:ext cx="257175" cy="134938"/>
          </a:xfrm>
          <a:prstGeom prst="ellipse">
            <a:avLst/>
          </a:prstGeom>
          <a:solidFill>
            <a:srgbClr val="D6D7D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40E46D9C-EC5F-47E5-BA95-8CEA22A07D9E}" type="datetime'''''''''''+''''''''''3''''''''''''''''''''''%'''''''''''">
              <a:rPr lang="en-US" altLang="en-US" sz="700" b="1" smtClean="0">
                <a:effectLst/>
              </a:rPr>
              <a:pPr/>
              <a:t>+3%</a:t>
            </a:fld>
            <a:endParaRPr lang="el-GR" sz="700" b="1" strike="noStrike" normalizeH="0" dirty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496" name="Oval 495"/>
          <p:cNvSpPr/>
          <p:nvPr>
            <p:custDataLst>
              <p:tags r:id="rId59"/>
            </p:custDataLst>
          </p:nvPr>
        </p:nvSpPr>
        <p:spPr bwMode="auto">
          <a:xfrm>
            <a:off x="3178175" y="3244850"/>
            <a:ext cx="327025" cy="134938"/>
          </a:xfrm>
          <a:prstGeom prst="ellipse">
            <a:avLst/>
          </a:prstGeom>
          <a:solidFill>
            <a:srgbClr val="00777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0AE22E9C-BCA7-49CA-B66F-F2A4169784B5}" type="datetime'''''''''+''2''''''''''''''''''''0''''''''%'''''''''">
              <a:rPr lang="en-US" altLang="en-US" sz="700" b="1" smtClean="0">
                <a:solidFill>
                  <a:schemeClr val="bg1"/>
                </a:solidFill>
                <a:effectLst/>
              </a:rPr>
              <a:pPr/>
              <a:t>+20%</a:t>
            </a:fld>
            <a:endParaRPr lang="el-GR" sz="700" b="1" strike="noStrike" normalizeH="0" dirty="0">
              <a:ln>
                <a:noFill/>
              </a:ln>
              <a:solidFill>
                <a:schemeClr val="bg1"/>
              </a:solidFill>
              <a:effectLst/>
              <a:sym typeface="+mn-lt"/>
            </a:endParaRPr>
          </a:p>
        </p:txBody>
      </p:sp>
      <p:sp>
        <p:nvSpPr>
          <p:cNvPr id="495" name="Oval 494"/>
          <p:cNvSpPr/>
          <p:nvPr>
            <p:custDataLst>
              <p:tags r:id="rId60"/>
            </p:custDataLst>
          </p:nvPr>
        </p:nvSpPr>
        <p:spPr bwMode="auto">
          <a:xfrm>
            <a:off x="3719513" y="3482975"/>
            <a:ext cx="327025" cy="134938"/>
          </a:xfrm>
          <a:prstGeom prst="ellipse">
            <a:avLst/>
          </a:prstGeom>
          <a:solidFill>
            <a:srgbClr val="00777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7D194C66-B208-4819-9CFD-5F89E7BD3A31}" type="datetime'+''''''''''''''''1''''9''''''''''%'''''''''''''''''''">
              <a:rPr lang="en-US" altLang="en-US" sz="700" b="1" smtClean="0">
                <a:solidFill>
                  <a:schemeClr val="bg1"/>
                </a:solidFill>
                <a:effectLst/>
              </a:rPr>
              <a:pPr/>
              <a:t>+19%</a:t>
            </a:fld>
            <a:endParaRPr lang="el-GR" sz="700" b="1" strike="noStrike" normalizeH="0" dirty="0">
              <a:ln>
                <a:noFill/>
              </a:ln>
              <a:solidFill>
                <a:schemeClr val="bg1"/>
              </a:solidFill>
              <a:effectLst/>
              <a:sym typeface="+mn-lt"/>
            </a:endParaRPr>
          </a:p>
        </p:txBody>
      </p:sp>
      <p:sp>
        <p:nvSpPr>
          <p:cNvPr id="494" name="Oval 493"/>
          <p:cNvSpPr/>
          <p:nvPr>
            <p:custDataLst>
              <p:tags r:id="rId61"/>
            </p:custDataLst>
          </p:nvPr>
        </p:nvSpPr>
        <p:spPr bwMode="auto">
          <a:xfrm>
            <a:off x="4294188" y="3630613"/>
            <a:ext cx="257175" cy="134938"/>
          </a:xfrm>
          <a:prstGeom prst="ellipse">
            <a:avLst/>
          </a:prstGeom>
          <a:solidFill>
            <a:srgbClr val="D6D7D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7A5FDE0D-5353-4B8E-A7C4-4AAC4284FB38}" type="datetime'''+''''''''''''''''''''3''''''''''''''''%'''">
              <a:rPr lang="en-US" altLang="en-US" sz="700" b="1" smtClean="0">
                <a:effectLst/>
              </a:rPr>
              <a:pPr/>
              <a:t>+3%</a:t>
            </a:fld>
            <a:endParaRPr lang="el-GR" sz="700" b="1" strike="noStrike" normalizeH="0" dirty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493" name="Oval 492"/>
          <p:cNvSpPr/>
          <p:nvPr>
            <p:custDataLst>
              <p:tags r:id="rId62"/>
            </p:custDataLst>
          </p:nvPr>
        </p:nvSpPr>
        <p:spPr bwMode="auto">
          <a:xfrm>
            <a:off x="4835525" y="3652838"/>
            <a:ext cx="257175" cy="134938"/>
          </a:xfrm>
          <a:prstGeom prst="ellipse">
            <a:avLst/>
          </a:prstGeom>
          <a:solidFill>
            <a:srgbClr val="D6D7D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32A28ABB-6F3F-4515-A02B-0736284B197B}" type="datetime'''''''''''''''''''''''''+''2''''''''''''''%'''''''''''">
              <a:rPr lang="en-US" altLang="en-US" sz="700" b="1" smtClean="0">
                <a:effectLst/>
              </a:rPr>
              <a:pPr/>
              <a:t>+2%</a:t>
            </a:fld>
            <a:endParaRPr lang="el-GR" sz="700" b="1" strike="noStrike" normalizeH="0" dirty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492" name="Text Placeholder 533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5340350" y="3916363"/>
            <a:ext cx="327025" cy="134938"/>
          </a:xfrm>
          <a:prstGeom prst="ellipse">
            <a:avLst/>
          </a:prstGeom>
          <a:solidFill>
            <a:srgbClr val="007770"/>
          </a:solidFill>
          <a:ln w="9525">
            <a:solidFill>
              <a:schemeClr val="tx1"/>
            </a:solidFill>
          </a:ln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6A40B4D9-CE90-44B7-B226-17EEC098C509}" type="datetime'''''''''''''+''''''3''''3''''''''''''''''''%'''''''''''''">
              <a:rPr lang="en-US" altLang="en-US" sz="700" smtClean="0">
                <a:solidFill>
                  <a:schemeClr val="bg1"/>
                </a:solidFill>
                <a:effectLst/>
              </a:rPr>
              <a:pPr/>
              <a:t>+33%</a:t>
            </a:fld>
            <a:endParaRPr lang="el-GR" sz="7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91" name="Text Placeholder 537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5954713" y="3968750"/>
            <a:ext cx="182563" cy="134938"/>
          </a:xfrm>
          <a:prstGeom prst="ellipse">
            <a:avLst/>
          </a:prstGeom>
          <a:solidFill>
            <a:srgbClr val="D6D7D9"/>
          </a:solidFill>
          <a:ln w="9525">
            <a:solidFill>
              <a:schemeClr val="tx1"/>
            </a:solidFill>
          </a:ln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7880EC76-134C-48C0-BD45-634BD88D5F21}" type="datetime'''''''0''''''''''''''''''''''''''%'''''''''">
              <a:rPr lang="en-US" altLang="en-US" sz="700" smtClean="0">
                <a:solidFill>
                  <a:schemeClr val="tx1"/>
                </a:solidFill>
                <a:effectLst/>
              </a:rPr>
              <a:pPr/>
              <a:t>0%</a:t>
            </a:fld>
            <a:endParaRPr lang="el-GR" sz="7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4007C1-D739-4EE8-AA67-4EADBBFE009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Reimbursed MARKE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C2F8F7-85C5-496F-8D0F-A4F6F6E7E5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7012" y="5785882"/>
            <a:ext cx="11246241" cy="443198"/>
          </a:xfrm>
        </p:spPr>
        <p:txBody>
          <a:bodyPr/>
          <a:lstStyle/>
          <a:p>
            <a:r>
              <a:rPr lang="en-US" dirty="0"/>
              <a:t>A02BC= Proton pump inhibitors; A10AE=Insulin &amp; Analog </a:t>
            </a:r>
            <a:r>
              <a:rPr lang="en-US" dirty="0" err="1"/>
              <a:t>Inj</a:t>
            </a:r>
            <a:r>
              <a:rPr lang="en-US" dirty="0"/>
              <a:t> Long Act; A10BD= Combinations of oral blood glucose lowering drugs; A10BH= DPP-4 Inhibitors; A10BK= Sodium-glucose co-transporter 2 (SGLT2) inhibitors ; A11CC= Vit A &amp; D including combinations of the two; B01AB= Heparin Group; A10BJ=Glucagon-like peptide-1 (GLP-1) analogues; B01AC= Platelet aggregation inhibitors excluding Heparin; B01AF= Direct Factor XA Inhibitors; C09DA= Angiotensin II antagonists and diuretics; C09DX= Angio II </a:t>
            </a:r>
            <a:r>
              <a:rPr lang="en-US" dirty="0" err="1"/>
              <a:t>Antag</a:t>
            </a:r>
            <a:r>
              <a:rPr lang="en-US" dirty="0"/>
              <a:t> </a:t>
            </a:r>
            <a:r>
              <a:rPr lang="en-US" dirty="0" err="1"/>
              <a:t>Oth</a:t>
            </a:r>
            <a:r>
              <a:rPr lang="en-US" dirty="0"/>
              <a:t> Combi; C10AA= HMG CoA reductase inhibitors; C10BA= HMG CoA reductase inhibitors in combination with other lipid modifying agents; M05BX= Other drugs affecting bone structure &amp; mineralization; N03AX= Other antiepileptics; N05AH= Diazepines, </a:t>
            </a:r>
            <a:r>
              <a:rPr lang="en-US" dirty="0" err="1"/>
              <a:t>oxazepines</a:t>
            </a:r>
            <a:r>
              <a:rPr lang="en-US" dirty="0"/>
              <a:t>, thiazepines and oxepines; NO6AB= Selective serotonin reuptake inhibitors; R03AK= </a:t>
            </a:r>
            <a:r>
              <a:rPr lang="en-US" dirty="0" err="1"/>
              <a:t>Adrenergics</a:t>
            </a:r>
            <a:r>
              <a:rPr lang="en-US" dirty="0"/>
              <a:t> in combination with corticosteroids or other drugs; Z99ZZ= No definition; Based on WHO classification (exc. L. 3816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arket values YoY change by ATC-4 – Top 20 WHO ATC4s – MAT/03/23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arket values in the Reimbursed market are increasing vs. STLY for the majority of top 10 (WHO) ATC-4s</a:t>
            </a:r>
          </a:p>
        </p:txBody>
      </p:sp>
      <p:sp>
        <p:nvSpPr>
          <p:cNvPr id="565" name="Rectangular Callout 564"/>
          <p:cNvSpPr/>
          <p:nvPr/>
        </p:nvSpPr>
        <p:spPr bwMode="auto">
          <a:xfrm>
            <a:off x="6009109" y="2587625"/>
            <a:ext cx="2300534" cy="500063"/>
          </a:xfrm>
          <a:prstGeom prst="wedgeRectCallout">
            <a:avLst>
              <a:gd name="adj1" fmla="val -48733"/>
              <a:gd name="adj2" fmla="val 111731"/>
            </a:avLst>
          </a:prstGeom>
          <a:noFill/>
          <a:ln w="12700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cap="none" normalizeH="0" baseline="0" dirty="0">
                <a:ln>
                  <a:noFill/>
                </a:ln>
                <a:effectLst/>
                <a:latin typeface="+mj-lt"/>
              </a:rPr>
              <a:t>Top-10 </a:t>
            </a:r>
            <a:r>
              <a:rPr kumimoji="0" lang="en-US" sz="1000" b="1" i="0" u="none" strike="noStrike" cap="none" normalizeH="0" dirty="0">
                <a:ln>
                  <a:noFill/>
                </a:ln>
                <a:effectLst/>
                <a:latin typeface="+mj-lt"/>
              </a:rPr>
              <a:t>ATC-4s account for ~36.7% of the Reimbursed market, while Top-20 account for ~</a:t>
            </a:r>
            <a:r>
              <a:rPr lang="en-US" sz="1000" b="1" dirty="0">
                <a:latin typeface="+mj-lt"/>
              </a:rPr>
              <a:t>52.8</a:t>
            </a:r>
            <a:r>
              <a:rPr kumimoji="0" lang="en-US" sz="1000" b="1" i="0" u="none" strike="noStrike" cap="none" normalizeH="0" dirty="0">
                <a:ln>
                  <a:noFill/>
                </a:ln>
                <a:effectLst/>
                <a:latin typeface="+mj-lt"/>
              </a:rPr>
              <a:t>%</a:t>
            </a:r>
            <a:endParaRPr kumimoji="0" lang="el-GR" sz="1000" i="0" u="none" strike="noStrike" cap="none" normalizeH="0" baseline="0" dirty="0">
              <a:ln>
                <a:noFill/>
              </a:ln>
              <a:effectLst/>
              <a:latin typeface="+mj-lt"/>
            </a:endParaRPr>
          </a:p>
        </p:txBody>
      </p:sp>
      <p:sp>
        <p:nvSpPr>
          <p:cNvPr id="568" name="Rounded Rectangular Callout 567"/>
          <p:cNvSpPr>
            <a:spLocks/>
          </p:cNvSpPr>
          <p:nvPr/>
        </p:nvSpPr>
        <p:spPr bwMode="auto">
          <a:xfrm>
            <a:off x="1284963" y="1780287"/>
            <a:ext cx="828000" cy="252000"/>
          </a:xfrm>
          <a:prstGeom prst="wedgeRoundRectCallout">
            <a:avLst>
              <a:gd name="adj1" fmla="val -51315"/>
              <a:gd name="adj2" fmla="val 137337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00777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latin typeface="+mj-lt"/>
              </a:rPr>
              <a:t>Increase</a:t>
            </a:r>
          </a:p>
        </p:txBody>
      </p:sp>
      <p:sp>
        <p:nvSpPr>
          <p:cNvPr id="12" name="Rectangle 11"/>
          <p:cNvSpPr/>
          <p:nvPr>
            <p:custDataLst>
              <p:tags r:id="rId65"/>
            </p:custDataLst>
          </p:nvPr>
        </p:nvSpPr>
        <p:spPr bwMode="auto">
          <a:xfrm>
            <a:off x="10006013" y="1933575"/>
            <a:ext cx="160338" cy="1206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13" name="Rectangle 12"/>
          <p:cNvSpPr/>
          <p:nvPr>
            <p:custDataLst>
              <p:tags r:id="rId66"/>
            </p:custDataLst>
          </p:nvPr>
        </p:nvSpPr>
        <p:spPr bwMode="auto">
          <a:xfrm>
            <a:off x="10006013" y="2120900"/>
            <a:ext cx="160338" cy="120650"/>
          </a:xfrm>
          <a:prstGeom prst="rect">
            <a:avLst/>
          </a:prstGeom>
          <a:solidFill>
            <a:srgbClr val="25B4FF"/>
          </a:solidFill>
          <a:ln w="9525" algn="ctr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9" name="Rectangle 8"/>
          <p:cNvSpPr/>
          <p:nvPr>
            <p:custDataLst>
              <p:tags r:id="rId67"/>
            </p:custDataLst>
          </p:nvPr>
        </p:nvSpPr>
        <p:spPr bwMode="auto">
          <a:xfrm>
            <a:off x="10217150" y="1930400"/>
            <a:ext cx="6858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73229C0-5C3D-439A-AA6F-75E4BCC18707}" type="datetime'''''''''M''''''''''''AT/''''''''03/''2''''0''''''22'''''''''">
              <a:rPr lang="en-US" altLang="en-US" sz="900" smtClean="0">
                <a:solidFill>
                  <a:schemeClr val="tx1"/>
                </a:solidFill>
              </a:rPr>
              <a:pPr/>
              <a:t>MAT/03/2022</a:t>
            </a:fld>
            <a:endParaRPr lang="el-GR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/>
          <p:nvPr>
            <p:custDataLst>
              <p:tags r:id="rId68"/>
            </p:custDataLst>
          </p:nvPr>
        </p:nvSpPr>
        <p:spPr bwMode="auto">
          <a:xfrm>
            <a:off x="10217150" y="2117725"/>
            <a:ext cx="6858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F5169B9-4DF8-42E9-A6EC-37BED768C987}" type="datetime'''''MA''''T''/''''03''''''''''''''/''''''2''02''''''''3'">
              <a:rPr lang="en-US" altLang="en-US" sz="900" smtClean="0">
                <a:solidFill>
                  <a:schemeClr val="tx1"/>
                </a:solidFill>
              </a:rPr>
              <a:pPr/>
              <a:t>MAT/03/2023</a:t>
            </a:fld>
            <a:endParaRPr lang="el-GR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9" name="Rounded Rectangular Callout 218">
            <a:extLst>
              <a:ext uri="{FF2B5EF4-FFF2-40B4-BE49-F238E27FC236}">
                <a16:creationId xmlns:a16="http://schemas.microsoft.com/office/drawing/2014/main" id="{6EEAB784-6048-431C-9DBD-2DA51BFEB5AF}"/>
              </a:ext>
            </a:extLst>
          </p:cNvPr>
          <p:cNvSpPr>
            <a:spLocks/>
          </p:cNvSpPr>
          <p:nvPr/>
        </p:nvSpPr>
        <p:spPr bwMode="auto">
          <a:xfrm>
            <a:off x="2046288" y="2179638"/>
            <a:ext cx="1052513" cy="283732"/>
          </a:xfrm>
          <a:prstGeom prst="wedgeRoundRectCallout">
            <a:avLst>
              <a:gd name="adj1" fmla="val -66480"/>
              <a:gd name="adj2" fmla="val 62485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rgbClr val="A9C2C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00" dirty="0">
                <a:latin typeface="+mj-lt"/>
              </a:rPr>
              <a:t>Increase lower than the market</a:t>
            </a: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214CCFA6-BAC6-427A-9A08-6B349E9164F1}"/>
              </a:ext>
            </a:extLst>
          </p:cNvPr>
          <p:cNvSpPr/>
          <p:nvPr/>
        </p:nvSpPr>
        <p:spPr>
          <a:xfrm>
            <a:off x="7280459" y="1679575"/>
            <a:ext cx="653545" cy="4000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l"/>
            <a:r>
              <a:rPr lang="en-US" sz="1200" dirty="0"/>
              <a:t>+5.0%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50F1DC1A-922E-4DBC-9354-C4EEA1DA807D}"/>
              </a:ext>
            </a:extLst>
          </p:cNvPr>
          <p:cNvSpPr txBox="1"/>
          <p:nvPr/>
        </p:nvSpPr>
        <p:spPr>
          <a:xfrm>
            <a:off x="6225614" y="1796256"/>
            <a:ext cx="1029128" cy="1666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en-US" sz="1200" dirty="0"/>
              <a:t>Market growth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C9A8B74-45C8-1D96-6D66-A95B9B17D6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013" y="6397157"/>
            <a:ext cx="7560000" cy="110800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</p:spTree>
    <p:extLst>
      <p:ext uri="{BB962C8B-B14F-4D97-AF65-F5344CB8AC3E}">
        <p14:creationId xmlns:p14="http://schemas.microsoft.com/office/powerpoint/2010/main" val="247147279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D09AF58E-1C25-4905-9A27-221B6B44A0A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28160" y="835016"/>
            <a:ext cx="6999461" cy="4999475"/>
          </a:xfrm>
        </p:spPr>
        <p:txBody>
          <a:bodyPr/>
          <a:lstStyle/>
          <a:p>
            <a:pPr marL="0" indent="0">
              <a:spcBef>
                <a:spcPts val="1200"/>
              </a:spcBef>
              <a:buNone/>
              <a:tabLst>
                <a:tab pos="8296275" algn="r"/>
              </a:tabLst>
            </a:pPr>
            <a:endParaRPr lang="en-US" dirty="0"/>
          </a:p>
          <a:p>
            <a:pPr>
              <a:spcBef>
                <a:spcPts val="1200"/>
              </a:spcBef>
              <a:buClr>
                <a:srgbClr val="AABECA"/>
              </a:buClr>
              <a:tabLst>
                <a:tab pos="8296275" algn="r"/>
              </a:tabLst>
            </a:pPr>
            <a:r>
              <a:rPr lang="en-US" dirty="0">
                <a:solidFill>
                  <a:srgbClr val="AABECA"/>
                </a:solidFill>
              </a:rPr>
              <a:t>Market Overview</a:t>
            </a:r>
          </a:p>
          <a:p>
            <a:pPr>
              <a:spcBef>
                <a:spcPts val="1200"/>
              </a:spcBef>
              <a:buClr>
                <a:srgbClr val="AABECA"/>
              </a:buClr>
              <a:tabLst>
                <a:tab pos="8296275" algn="r"/>
              </a:tabLst>
            </a:pPr>
            <a:r>
              <a:rPr lang="en-US" dirty="0">
                <a:solidFill>
                  <a:srgbClr val="AABECA"/>
                </a:solidFill>
              </a:rPr>
              <a:t>Analysis by ATC</a:t>
            </a:r>
          </a:p>
          <a:p>
            <a:pPr>
              <a:spcBef>
                <a:spcPts val="1200"/>
              </a:spcBef>
              <a:buClr>
                <a:srgbClr val="00A3E0"/>
              </a:buClr>
              <a:tabLst>
                <a:tab pos="8296275" algn="r"/>
              </a:tabLst>
            </a:pPr>
            <a:r>
              <a:rPr lang="en-US" dirty="0"/>
              <a:t>Price evolution</a:t>
            </a:r>
          </a:p>
          <a:p>
            <a:pPr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tabLst>
                <a:tab pos="8296275" algn="r"/>
              </a:tabLst>
            </a:pPr>
            <a:r>
              <a:rPr lang="en-US" dirty="0">
                <a:solidFill>
                  <a:schemeClr val="tx2">
                    <a:lumMod val="40000"/>
                    <a:lumOff val="60000"/>
                  </a:schemeClr>
                </a:solidFill>
              </a:rPr>
              <a:t>Substitution analysis (Market Dynamics)</a:t>
            </a:r>
          </a:p>
          <a:p>
            <a:pPr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tabLst>
                <a:tab pos="8296275" algn="r"/>
              </a:tabLst>
            </a:pPr>
            <a:r>
              <a:rPr lang="en-US" dirty="0">
                <a:solidFill>
                  <a:schemeClr val="tx2">
                    <a:lumMod val="40000"/>
                    <a:lumOff val="60000"/>
                  </a:schemeClr>
                </a:solidFill>
              </a:rPr>
              <a:t>EU Benchmarking</a:t>
            </a:r>
          </a:p>
          <a:p>
            <a:pPr>
              <a:spcBef>
                <a:spcPts val="1200"/>
              </a:spcBef>
              <a:tabLst>
                <a:tab pos="8296275" algn="r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5567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248764A-8947-426D-9B8F-679FB0D21B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36349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0" imgW="592" imgH="591" progId="TCLayout.ActiveDocument.1">
                  <p:embed/>
                </p:oleObj>
              </mc:Choice>
              <mc:Fallback>
                <p:oleObj name="think-cell Slide" r:id="rId120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248764A-8947-426D-9B8F-679FB0D21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9" name="Straight Connector 208"/>
          <p:cNvCxnSpPr>
            <a:cxnSpLocks noChangeShapeType="1"/>
          </p:cNvCxnSpPr>
          <p:nvPr/>
        </p:nvCxnSpPr>
        <p:spPr bwMode="auto">
          <a:xfrm>
            <a:off x="11287927" y="2397760"/>
            <a:ext cx="0" cy="2819400"/>
          </a:xfrm>
          <a:prstGeom prst="line">
            <a:avLst/>
          </a:prstGeom>
          <a:noFill/>
          <a:ln w="15875" algn="ctr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</p:cxnSp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000" dirty="0" err="1"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179" name="Straight Connector 208"/>
          <p:cNvCxnSpPr>
            <a:cxnSpLocks noChangeShapeType="1"/>
          </p:cNvCxnSpPr>
          <p:nvPr/>
        </p:nvCxnSpPr>
        <p:spPr bwMode="auto">
          <a:xfrm>
            <a:off x="5175635" y="2397760"/>
            <a:ext cx="0" cy="2819400"/>
          </a:xfrm>
          <a:prstGeom prst="line">
            <a:avLst/>
          </a:prstGeom>
          <a:noFill/>
          <a:ln w="15875" algn="ctr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184" name="Straight Connector 208"/>
          <p:cNvCxnSpPr>
            <a:cxnSpLocks noChangeShapeType="1"/>
          </p:cNvCxnSpPr>
          <p:nvPr/>
        </p:nvCxnSpPr>
        <p:spPr bwMode="auto">
          <a:xfrm>
            <a:off x="6398093" y="2397760"/>
            <a:ext cx="0" cy="2819400"/>
          </a:xfrm>
          <a:prstGeom prst="line">
            <a:avLst/>
          </a:prstGeom>
          <a:noFill/>
          <a:ln w="15875" algn="ctr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185" name="Straight Connector 208"/>
          <p:cNvCxnSpPr>
            <a:cxnSpLocks noChangeShapeType="1"/>
          </p:cNvCxnSpPr>
          <p:nvPr/>
        </p:nvCxnSpPr>
        <p:spPr bwMode="auto">
          <a:xfrm>
            <a:off x="7620551" y="2397760"/>
            <a:ext cx="0" cy="2819400"/>
          </a:xfrm>
          <a:prstGeom prst="line">
            <a:avLst/>
          </a:prstGeom>
          <a:noFill/>
          <a:ln w="15875" algn="ctr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145" name="Straight Connector 208"/>
          <p:cNvCxnSpPr>
            <a:cxnSpLocks noChangeShapeType="1"/>
          </p:cNvCxnSpPr>
          <p:nvPr/>
        </p:nvCxnSpPr>
        <p:spPr bwMode="auto">
          <a:xfrm>
            <a:off x="2730719" y="2397760"/>
            <a:ext cx="0" cy="2819400"/>
          </a:xfrm>
          <a:prstGeom prst="line">
            <a:avLst/>
          </a:prstGeom>
          <a:noFill/>
          <a:ln w="15875" algn="ctr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4007C1-D739-4EE8-AA67-4EADBBFE009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REIMBURSABLE MARKE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C2F8F7-85C5-496F-8D0F-A4F6F6E7E5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7009" y="6069664"/>
            <a:ext cx="11246241" cy="221599"/>
          </a:xfrm>
        </p:spPr>
        <p:txBody>
          <a:bodyPr/>
          <a:lstStyle/>
          <a:p>
            <a:r>
              <a:rPr lang="en-US" dirty="0"/>
              <a:t>1. Excluding all L.3816 products; Including only Reimbursable products; 2. Index based on €/SU</a:t>
            </a:r>
          </a:p>
          <a:p>
            <a:r>
              <a:rPr lang="en-US" dirty="0"/>
              <a:t>Note: Classification by On patent, Off patent, Generics and Others is based on </a:t>
            </a:r>
            <a:r>
              <a:rPr lang="en-US" dirty="0" err="1"/>
              <a:t>Sfee</a:t>
            </a:r>
            <a:r>
              <a:rPr lang="en-US" dirty="0"/>
              <a:t>/IQVIA flag; Other includes mainly vaccines</a:t>
            </a:r>
            <a:r>
              <a:rPr lang="el-GR" dirty="0"/>
              <a:t>, </a:t>
            </a:r>
            <a:r>
              <a:rPr lang="en-US" dirty="0"/>
              <a:t>supplements</a:t>
            </a:r>
            <a:r>
              <a:rPr lang="el-GR" dirty="0"/>
              <a:t> </a:t>
            </a:r>
            <a:r>
              <a:rPr lang="en-US" dirty="0"/>
              <a:t>and diabetes tes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77012" y="1124076"/>
            <a:ext cx="11246241" cy="276999"/>
          </a:xfrm>
        </p:spPr>
        <p:txBody>
          <a:bodyPr/>
          <a:lstStyle/>
          <a:p>
            <a:r>
              <a:rPr lang="en-US" dirty="0"/>
              <a:t>Price Evolution Index</a:t>
            </a:r>
            <a:r>
              <a:rPr lang="en-US" baseline="30000" dirty="0"/>
              <a:t>1,2</a:t>
            </a:r>
            <a:r>
              <a:rPr lang="en-US" dirty="0"/>
              <a:t> – Overall market – (Q1/2014 = 100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verage price slightly decreases compared to Q1/2014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1E55F1E-18B7-41A2-A900-8825F996CE5F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2589213" y="5859463"/>
            <a:ext cx="246063" cy="0"/>
          </a:xfrm>
          <a:prstGeom prst="line">
            <a:avLst/>
          </a:prstGeom>
          <a:ln w="19050" cap="rnd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3524BE5-FFBA-493E-B5F5-84DF084F60B5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1665288" y="5859463"/>
            <a:ext cx="246063" cy="0"/>
          </a:xfrm>
          <a:prstGeom prst="line">
            <a:avLst/>
          </a:prstGeom>
          <a:ln w="19050" cap="rnd" cmpd="sng" algn="ctr">
            <a:solidFill>
              <a:srgbClr val="25B4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4C6548F-2BFA-43B2-BE65-24ADB0602E5A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931863" y="5859463"/>
            <a:ext cx="246063" cy="0"/>
          </a:xfrm>
          <a:prstGeom prst="line">
            <a:avLst/>
          </a:prstGeom>
          <a:ln w="19050" cap="rnd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8306F4-F08F-4CF3-BC04-440BF5D85489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3559175" y="5859463"/>
            <a:ext cx="246063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54F98F6-ACD5-4EE0-B4AB-0452545F1557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4533900" y="5859463"/>
            <a:ext cx="236538" cy="0"/>
          </a:xfrm>
          <a:prstGeom prst="line">
            <a:avLst/>
          </a:prstGeom>
          <a:ln w="28575" cap="rnd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3" name="Oval 82"/>
          <p:cNvSpPr/>
          <p:nvPr>
            <p:custDataLst>
              <p:tags r:id="rId8"/>
            </p:custDataLst>
          </p:nvPr>
        </p:nvSpPr>
        <p:spPr bwMode="auto">
          <a:xfrm>
            <a:off x="2673350" y="5821363"/>
            <a:ext cx="76200" cy="76200"/>
          </a:xfrm>
          <a:prstGeom prst="ellipse">
            <a:avLst/>
          </a:prstGeom>
          <a:solidFill>
            <a:srgbClr val="0070C0"/>
          </a:solidFill>
          <a:ln w="9525"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400" dirty="0">
              <a:latin typeface="Arial"/>
            </a:endParaRPr>
          </a:p>
        </p:txBody>
      </p:sp>
      <p:sp>
        <p:nvSpPr>
          <p:cNvPr id="81" name="Rectangle 12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016000" y="5821363"/>
            <a:ext cx="76200" cy="76200"/>
          </a:xfrm>
          <a:prstGeom prst="ellipse">
            <a:avLst/>
          </a:prstGeom>
          <a:solidFill>
            <a:srgbClr val="9DB1CF"/>
          </a:solidFill>
          <a:ln w="9525" algn="ctr">
            <a:solidFill>
              <a:srgbClr val="9DB1CF"/>
            </a:solidFill>
            <a:round/>
            <a:headEnd/>
            <a:tailEnd/>
          </a:ln>
        </p:spPr>
        <p:txBody>
          <a:bodyPr/>
          <a:lstStyle/>
          <a:p>
            <a:pPr algn="ctr"/>
            <a:endParaRPr lang="el-GR" sz="1000"/>
          </a:p>
        </p:txBody>
      </p:sp>
      <p:sp>
        <p:nvSpPr>
          <p:cNvPr id="85" name="Oval 12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749425" y="5821363"/>
            <a:ext cx="76200" cy="76200"/>
          </a:xfrm>
          <a:prstGeom prst="ellipse">
            <a:avLst/>
          </a:prstGeom>
          <a:solidFill>
            <a:srgbClr val="25B4FF"/>
          </a:solidFill>
          <a:ln w="9525" algn="ctr">
            <a:solidFill>
              <a:srgbClr val="25B4FF"/>
            </a:solidFill>
            <a:round/>
            <a:headEnd/>
            <a:tailEnd/>
          </a:ln>
        </p:spPr>
        <p:txBody>
          <a:bodyPr/>
          <a:lstStyle/>
          <a:p>
            <a:pPr algn="ctr"/>
            <a:endParaRPr lang="el-GR" sz="1000"/>
          </a:p>
        </p:txBody>
      </p:sp>
      <p:sp>
        <p:nvSpPr>
          <p:cNvPr id="84" name="Oval 83"/>
          <p:cNvSpPr/>
          <p:nvPr>
            <p:custDataLst>
              <p:tags r:id="rId11"/>
            </p:custDataLst>
          </p:nvPr>
        </p:nvSpPr>
        <p:spPr bwMode="auto">
          <a:xfrm>
            <a:off x="3643313" y="5821363"/>
            <a:ext cx="76200" cy="762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400" dirty="0">
              <a:latin typeface="Arial"/>
            </a:endParaRPr>
          </a:p>
        </p:txBody>
      </p:sp>
      <p:sp>
        <p:nvSpPr>
          <p:cNvPr id="82" name="Oval 81"/>
          <p:cNvSpPr/>
          <p:nvPr>
            <p:custDataLst>
              <p:tags r:id="rId12"/>
            </p:custDataLst>
          </p:nvPr>
        </p:nvSpPr>
        <p:spPr bwMode="auto">
          <a:xfrm>
            <a:off x="4613275" y="5821363"/>
            <a:ext cx="76200" cy="76200"/>
          </a:xfrm>
          <a:prstGeom prst="ellipse">
            <a:avLst/>
          </a:prstGeom>
          <a:solidFill>
            <a:srgbClr val="C30C3E"/>
          </a:solidFill>
          <a:ln w="9525">
            <a:solidFill>
              <a:srgbClr val="C30C3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400" dirty="0">
              <a:latin typeface="Arial"/>
            </a:endParaRPr>
          </a:p>
        </p:txBody>
      </p:sp>
      <p:sp>
        <p:nvSpPr>
          <p:cNvPr id="89" name="Rectangle 120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238250" y="5788025"/>
            <a:ext cx="315913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>
            <a:noAutofit/>
          </a:bodyPr>
          <a:lstStyle/>
          <a:p>
            <a:fld id="{4658F8D0-81C6-4CD2-98E4-549CDB927AC6}" type="datetime'''''''O''''''''''''''t''''''''''''''''''''''''''''''her'''">
              <a:rPr lang="en-US" altLang="en-US" sz="1000" smtClean="0"/>
              <a:pPr/>
              <a:t>Other</a:t>
            </a:fld>
            <a:endParaRPr lang="el-GR" sz="1000">
              <a:cs typeface="Arial" panose="020B0604020202020204" pitchFamily="34" charset="0"/>
              <a:sym typeface="+mn-lt"/>
            </a:endParaRPr>
          </a:p>
        </p:txBody>
      </p:sp>
      <p:sp>
        <p:nvSpPr>
          <p:cNvPr id="87" name="Rectangle 119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895600" y="5788025"/>
            <a:ext cx="552450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>
            <a:noAutofit/>
          </a:bodyPr>
          <a:lstStyle/>
          <a:p>
            <a:fld id="{5DBFC6CE-2AE4-49C7-ABAE-A5F897C602AD}" type="datetime'''''Off'''''''' ''''''''''''''''''''''''p''''ate''''''n''t'''">
              <a:rPr lang="en-US" altLang="en-US" sz="1000" smtClean="0"/>
              <a:pPr/>
              <a:t>Off patent</a:t>
            </a:fld>
            <a:endParaRPr lang="el-GR" sz="10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88" name="Rectangle 119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971675" y="5788025"/>
            <a:ext cx="506413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>
            <a:noAutofit/>
          </a:bodyPr>
          <a:lstStyle/>
          <a:p>
            <a:fld id="{5055CCEE-C2D6-4E18-8ED7-E6C9166C6826}" type="datetime'''''''''''''''''''''''''''''G''''e''n''er''''''ic''''''s'''''">
              <a:rPr lang="en-US" altLang="en-US" sz="1000" smtClean="0"/>
              <a:pPr/>
              <a:t>Generics</a:t>
            </a:fld>
            <a:endParaRPr lang="el-GR" sz="10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90" name="Rectangle 117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865563" y="5788025"/>
            <a:ext cx="552450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fld id="{75AF9937-C753-4917-806E-39101E5C6DC1}" type="datetime'''''''O''n ''p''''''''''a''t''e''''''''''''''''''n''t'''''">
              <a:rPr lang="en-US" altLang="en-US" sz="1000" smtClean="0"/>
              <a:pPr/>
              <a:t>On patent</a:t>
            </a:fld>
            <a:endParaRPr lang="el-GR" sz="10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86" name="Rectangle 117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835525" y="5788025"/>
            <a:ext cx="280988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fld id="{2CA02A43-6976-4BE2-8E2D-8FD6B0B0D3B6}" type="datetime'''''T''''''o''''''t''''''''''''''''''''''a''''''''''''l'''''">
              <a:rPr lang="en-US" altLang="en-US" sz="1000" smtClean="0"/>
              <a:pPr/>
              <a:t>Total</a:t>
            </a:fld>
            <a:endParaRPr lang="el-GR" sz="1000"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186" name="Straight Connector 208"/>
          <p:cNvCxnSpPr>
            <a:cxnSpLocks noChangeShapeType="1"/>
          </p:cNvCxnSpPr>
          <p:nvPr/>
        </p:nvCxnSpPr>
        <p:spPr bwMode="auto">
          <a:xfrm>
            <a:off x="8843009" y="2397760"/>
            <a:ext cx="0" cy="2819400"/>
          </a:xfrm>
          <a:prstGeom prst="line">
            <a:avLst/>
          </a:prstGeom>
          <a:noFill/>
          <a:ln w="15875" algn="ctr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126" name="Straight Connector 208">
            <a:extLst>
              <a:ext uri="{FF2B5EF4-FFF2-40B4-BE49-F238E27FC236}">
                <a16:creationId xmlns:a16="http://schemas.microsoft.com/office/drawing/2014/main" id="{3B265CA6-2FD9-40A6-8992-FA29E124D5A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953177" y="2397760"/>
            <a:ext cx="0" cy="2819400"/>
          </a:xfrm>
          <a:prstGeom prst="line">
            <a:avLst/>
          </a:prstGeom>
          <a:noFill/>
          <a:ln w="15875" algn="ctr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</p:cxnSp>
      <p:sp>
        <p:nvSpPr>
          <p:cNvPr id="229" name="Rectangle 228" hidden="1">
            <a:extLst>
              <a:ext uri="{FF2B5EF4-FFF2-40B4-BE49-F238E27FC236}">
                <a16:creationId xmlns:a16="http://schemas.microsoft.com/office/drawing/2014/main" id="{0E55670A-C181-44BC-88A9-B40D09970A62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10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38" name="Straight Connector 208">
            <a:extLst>
              <a:ext uri="{FF2B5EF4-FFF2-40B4-BE49-F238E27FC236}">
                <a16:creationId xmlns:a16="http://schemas.microsoft.com/office/drawing/2014/main" id="{F3281FF5-CBED-46E1-9ADB-73C0596B754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0065467" y="2397760"/>
            <a:ext cx="0" cy="2819400"/>
          </a:xfrm>
          <a:prstGeom prst="line">
            <a:avLst/>
          </a:prstGeom>
          <a:noFill/>
          <a:ln w="15875" algn="ctr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123E5E8-D248-431F-84AE-B0A2B7D381D0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H="1">
            <a:off x="866775" y="239712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Straight Connector 96"/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 flipH="1">
            <a:off x="866775" y="4641850"/>
            <a:ext cx="42863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9" name="Straight Connector 98"/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 flipH="1">
            <a:off x="866775" y="5221288"/>
            <a:ext cx="42863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DF9831F-31A1-4C8B-A479-E3EC94015766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 flipH="1">
            <a:off x="866775" y="3519488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 flipH="1">
            <a:off x="866775" y="4267200"/>
            <a:ext cx="42863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B41D870-AD4A-4B94-B5EE-2E4DFCED5E16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 flipH="1">
            <a:off x="866775" y="3144838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E7C3BD4-B2DC-49F7-9D20-38B6D57244DF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auto">
          <a:xfrm flipH="1">
            <a:off x="866775" y="277177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 flipH="1">
            <a:off x="866775" y="3894138"/>
            <a:ext cx="42863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F6859629-27D9-254A-8881-368368ADB118}"/>
              </a:ext>
            </a:extLst>
          </p:cNvPr>
          <p:cNvGraphicFramePr/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398367273"/>
              </p:ext>
            </p:extLst>
          </p:nvPr>
        </p:nvGraphicFramePr>
        <p:xfrm>
          <a:off x="827088" y="2314575"/>
          <a:ext cx="10547350" cy="2989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2"/>
          </a:graphicData>
        </a:graphic>
      </p:graphicFrame>
      <p:sp>
        <p:nvSpPr>
          <p:cNvPr id="111" name="Text Placeholder 5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41350" y="4565650"/>
            <a:ext cx="1397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B8033B98-4545-46EA-899E-CC82C50C2476}" type="datetime'''''''''''''''''''''''8''''''''''''''''''''''''''0'''''''''''">
              <a:rPr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80</a:t>
            </a:fld>
            <a:endParaRPr lang="el-GR" sz="10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4F56BF4-FCB2-4638-9FFE-E481D2756164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571500" y="3081338"/>
            <a:ext cx="2095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E9936C9-8921-4E03-BBB6-D57E8D24A8F4}" type="datetime'''''''''16''''''''''''''0'''''''">
              <a:rPr lang="en-US" altLang="en-US" sz="1000" smtClean="0">
                <a:solidFill>
                  <a:schemeClr val="tx1"/>
                </a:solidFill>
                <a:cs typeface="Arial" panose="020B0604020202020204" pitchFamily="34" charset="0"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60</a:t>
            </a:fld>
            <a:endParaRPr lang="en-US" sz="10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06" name="Text Placeholder 49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11200" y="5145088"/>
            <a:ext cx="6985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D3838EB8-2CEE-4E4A-8BCE-5AB2D053DBE4}" type="datetime'''''''''''''''''''''''''''''''''''''''''''''0'''''''''">
              <a:rPr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0</a:t>
            </a:fld>
            <a:endParaRPr lang="el-GR" sz="10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8B3CFC5-E78A-4068-93A1-4B706E3023FF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571500" y="3455988"/>
            <a:ext cx="2095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4D0A8F3-4E6A-4A20-B3E9-FFBB4B513CAF}" type="datetime'14''''''''''''''''''''''''''''''''''''''''''0'''''''''''''">
              <a:rPr lang="en-US" altLang="en-US" sz="1000" smtClean="0">
                <a:solidFill>
                  <a:schemeClr val="tx1"/>
                </a:solidFill>
                <a:cs typeface="Arial" panose="020B0604020202020204" pitchFamily="34" charset="0"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0</a:t>
            </a:fld>
            <a:endParaRPr lang="en-US" sz="10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C1F6B6A-6265-474D-A89F-DDEC8F7C1AAE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571500" y="2708275"/>
            <a:ext cx="2095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D535DD9-FBE0-4985-A226-A4D7B821AE9C}" type="datetime'18''''''''''''''''''''''''''0'''''">
              <a:rPr lang="en-US" altLang="en-US" sz="1000" smtClean="0">
                <a:solidFill>
                  <a:schemeClr val="tx1"/>
                </a:solidFill>
                <a:cs typeface="Arial" panose="020B0604020202020204" pitchFamily="34" charset="0"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80</a:t>
            </a:fld>
            <a:endParaRPr lang="en-US" sz="10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7296787-C999-4019-BD56-0D27D33CD0BA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571500" y="2333625"/>
            <a:ext cx="2095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C27B310-2344-40C7-844C-AFD910AFE4C2}" type="datetime'2''''''0''''''''0'''''''''''''''''''''''''''''">
              <a:rPr lang="en-US" altLang="en-US" sz="1000" smtClean="0">
                <a:solidFill>
                  <a:schemeClr val="tx1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0</a:t>
            </a:fld>
            <a:endParaRPr lang="en-US" sz="10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3" name="Text Placeholder 56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71500" y="4191000"/>
            <a:ext cx="20955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4E521FE3-C957-4F0A-877F-97D6B409A2AA}" type="datetime'''''''''1''0''''''''''''''''''''''''''''''''''''''''''''0'">
              <a:rPr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100</a:t>
            </a:fld>
            <a:endParaRPr lang="el-GR" sz="10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05" name="Text Placeholder 86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71500" y="3817938"/>
            <a:ext cx="20955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0" fontAlgn="base" hangingPunct="0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fontAlgn="base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3620BCAF-45E8-4C2A-AB4D-129A8F647D89}" type="datetime'''''''''''''1''''''''''''2''''0'''''''''''">
              <a:rPr lang="en-US" altLang="en-US" sz="1000" b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</a:rPr>
              <a:pPr/>
              <a:t>120</a:t>
            </a:fld>
            <a:endParaRPr lang="el-GR" sz="1000" b="0">
              <a:solidFill>
                <a:schemeClr val="tx1"/>
              </a:solidFill>
              <a:latin typeface="Arial"/>
              <a:ea typeface="Verdana" panose="020B0604030504040204" pitchFamily="34" charset="0"/>
              <a:cs typeface="Arial" panose="020B0604020202020204" pitchFamily="34" charset="0"/>
              <a:sym typeface="Arial"/>
            </a:endParaRPr>
          </a:p>
        </p:txBody>
      </p:sp>
      <p:sp useBgFill="1">
        <p:nvSpPr>
          <p:cNvPr id="27" name="Freeform: Shape 26">
            <a:extLst>
              <a:ext uri="{FF2B5EF4-FFF2-40B4-BE49-F238E27FC236}">
                <a16:creationId xmlns:a16="http://schemas.microsoft.com/office/drawing/2014/main" id="{FA6E1324-7E37-731E-6AD0-C598225F0DAB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836613" y="491490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051C295A-8339-0AFF-7803-5C4347B81F76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836613" y="49149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6CFBC84E-0305-A125-0F51-DAEAEE9DC454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836613" y="49720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1C53413-4C3F-40C0-9FC3-496A99B187F7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 flipH="1">
            <a:off x="10717213" y="3433763"/>
            <a:ext cx="4763" cy="2095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6" name="Text Placeholder 13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4568825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57D5B73-AEF1-4849-A35D-007425E70081}" type="datetime'''''Q''''''2&#10;''1''''''''''''''''''''''''''''''''''''''7'">
              <a:rPr lang="el-GR" altLang="en-US" sz="1000">
                <a:solidFill>
                  <a:schemeClr val="tx1"/>
                </a:solidFill>
              </a:rPr>
              <a:pPr/>
              <a:t>Q2
17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 useBgFill="1">
        <p:nvSpPr>
          <p:cNvPr id="490" name="Rectangle 489">
            <a:extLst>
              <a:ext uri="{FF2B5EF4-FFF2-40B4-BE49-F238E27FC236}">
                <a16:creationId xmlns:a16="http://schemas.microsoft.com/office/drawing/2014/main" id="{AEDFB54F-00D6-47FF-8A79-B449DDA34C25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7167563" y="4368801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86CB7CE-D774-45A6-BE7B-CA063BA4BC12}" type="datetime'''''''''''''''''''''''''''''''''''8''''''''''''''2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2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8" name="Rectangle 203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755650" y="1927225"/>
            <a:ext cx="307975" cy="3048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b"/>
          <a:lstStyle/>
          <a:p>
            <a:pPr algn="ctr"/>
            <a:r>
              <a:rPr lang="en-US" sz="1000" dirty="0">
                <a:latin typeface="Arial"/>
                <a:cs typeface="Arial"/>
                <a:sym typeface="Arial"/>
              </a:rPr>
              <a:t>Price</a:t>
            </a:r>
          </a:p>
          <a:p>
            <a:pPr algn="ctr"/>
            <a:r>
              <a:rPr lang="en-US" sz="1000" dirty="0">
                <a:latin typeface="Arial"/>
                <a:cs typeface="Arial"/>
                <a:sym typeface="Arial"/>
              </a:rPr>
              <a:t>Index</a:t>
            </a:r>
            <a:endParaRPr lang="el-GR" sz="1000" dirty="0">
              <a:latin typeface="Arial"/>
              <a:cs typeface="Arial"/>
              <a:sym typeface="Arial"/>
            </a:endParaRPr>
          </a:p>
        </p:txBody>
      </p:sp>
      <p:sp useBgFill="1">
        <p:nvSpPr>
          <p:cNvPr id="170" name="Rectangle 169">
            <a:extLst>
              <a:ext uri="{FF2B5EF4-FFF2-40B4-BE49-F238E27FC236}">
                <a16:creationId xmlns:a16="http://schemas.microsoft.com/office/drawing/2014/main" id="{D120A726-AD6F-4C9C-8FD4-A73E9A17E49B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4859338" y="4314826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A9614F1-E867-4477-9960-661CC565ACA2}" type="datetime'''''''''8''''''''5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5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0" name="Text Placeholder 13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4279900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DF2FA2F-8FA2-4639-A98F-5CA40A0FFEAF}" type="datetime'''''''''''''Q''''1''''''&#10;1''''7'''''''''''">
              <a:rPr lang="el-GR" altLang="en-US" sz="1000">
                <a:solidFill>
                  <a:schemeClr val="tx1"/>
                </a:solidFill>
              </a:rPr>
              <a:pPr/>
              <a:t>Q1
17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489" name="Rectangle 488">
            <a:extLst>
              <a:ext uri="{FF2B5EF4-FFF2-40B4-BE49-F238E27FC236}">
                <a16:creationId xmlns:a16="http://schemas.microsoft.com/office/drawing/2014/main" id="{E18B793F-82BB-4305-9C0E-BD64F6A89489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7167563" y="4413251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C95C416-ABA9-4166-A640-1DCA992B9799}" type="datetime'''8''''''''''''''0''''''''''''''''''''''''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0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209" name="Rectangle 208">
            <a:extLst>
              <a:ext uri="{FF2B5EF4-FFF2-40B4-BE49-F238E27FC236}">
                <a16:creationId xmlns:a16="http://schemas.microsoft.com/office/drawing/2014/main" id="{9C630270-ECA3-4481-B5E3-BB42CAE09BB6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5978525" y="3733801"/>
            <a:ext cx="24447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8AB967E-9A5C-4ECC-8C01-5F07AC18EB03}" type="datetime'''''''1''''''''''''''''1''''''''''''''6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16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5" name="Text Placeholder 13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5721350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BF7B7B84-A9DB-4D7F-B830-78A0B32B3524}" type="datetime'''''''''''''''''''''''Q''''2''''''''&#10;1''''''''8'''''''''''">
              <a:rPr lang="el-GR" altLang="en-US" sz="1000">
                <a:solidFill>
                  <a:schemeClr val="tx1"/>
                </a:solidFill>
              </a:rPr>
              <a:pPr/>
              <a:t>Q2
18</a:t>
            </a:fld>
            <a:endParaRPr lang="el-GR" sz="10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71" name="Text Placeholder 18">
            <a:extLst>
              <a:ext uri="{FF2B5EF4-FFF2-40B4-BE49-F238E27FC236}">
                <a16:creationId xmlns:a16="http://schemas.microsoft.com/office/drawing/2014/main" id="{E5BC81A6-B46A-4EE1-97B2-D5229DC08F13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819150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347DA5B-7250-4674-AD83-246DD7EF1CD3}" type="datetime'''''''Q''''''''''''1''''''''''''&#10;''''''''''''''14'''''''">
              <a:rPr lang="en-US" altLang="en-US" sz="1000" b="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Q1
14</a:t>
            </a:fld>
            <a:endParaRPr lang="el-GR" sz="10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19" name="Text Placeholder 132">
            <a:extLst>
              <a:ext uri="{FF2B5EF4-FFF2-40B4-BE49-F238E27FC236}">
                <a16:creationId xmlns:a16="http://schemas.microsoft.com/office/drawing/2014/main" id="{62A0021F-2222-4F20-93DD-B3AF1D62AF22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8029575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CC7BA73-FE0B-44BB-853A-AC551D285E27}" type="datetime'Q''''2''''''''''&#10;2''''''''''''''''''0'''''''''''''">
              <a:rPr lang="en-US" altLang="en-US" sz="1000" smtClean="0">
                <a:solidFill>
                  <a:schemeClr val="tx1"/>
                </a:solidFill>
              </a:rPr>
              <a:pPr/>
              <a:t>Q2
20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72" name="Text Placeholder 18">
            <a:extLst>
              <a:ext uri="{FF2B5EF4-FFF2-40B4-BE49-F238E27FC236}">
                <a16:creationId xmlns:a16="http://schemas.microsoft.com/office/drawing/2014/main" id="{727E7AEB-7A2F-44E9-9E66-49C64A93B9DE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1108075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4689090-413C-4F1A-B6E6-7AD5F7B45A56}" type="datetime'''''''''Q''''''''2''''''''''''''''''''&#10;''14'">
              <a:rPr lang="en-US" altLang="en-US" sz="1000" b="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Q2
14</a:t>
            </a:fld>
            <a:endParaRPr lang="el-GR" sz="10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471AFC6F-9C21-4F69-9541-9E33C8CE9665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4859338" y="4137026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681B9B2-288E-4E12-8820-4DB04C4B92A2}" type="datetime'''''''''''''''''''''9''''''''''''''''''''5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5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3" name="Text Placeholder 18">
            <a:extLst>
              <a:ext uri="{FF2B5EF4-FFF2-40B4-BE49-F238E27FC236}">
                <a16:creationId xmlns:a16="http://schemas.microsoft.com/office/drawing/2014/main" id="{BEE83279-F0A9-41CE-BCC5-B4D9037F027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1395413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516ABD1-B7E3-408A-8A66-1C2BE0DF3C6E}" type="datetime'''''''''''''''Q''''''''''''3''''''''''''&#10;''''''''''''1''''4'">
              <a:rPr lang="en-US" altLang="en-US" sz="1000" b="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Q3
14</a:t>
            </a:fld>
            <a:endParaRPr lang="el-GR" sz="10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42" name="Text Placeholder 132">
            <a:extLst>
              <a:ext uri="{FF2B5EF4-FFF2-40B4-BE49-F238E27FC236}">
                <a16:creationId xmlns:a16="http://schemas.microsoft.com/office/drawing/2014/main" id="{3AEE56D1-B115-432F-947D-F8B8CAE35F7C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6299200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A429B2C5-C415-4BD9-BC98-8D35D4E5C723}" type="datetime'Q4''''''''''''''''''&#10;''''''''''''''''''''''''''''''1''''''''8'">
              <a:rPr lang="el-GR" altLang="en-US" sz="1000" smtClean="0">
                <a:solidFill>
                  <a:schemeClr val="tx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Q4
18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52" name="Text Placeholder 13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3414713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49E75EE-E80C-4B17-B896-6535214A342E}" type="datetime'''''''''''''Q''2&#10;''''''''''1''''''''''''''''''''''''''6'">
              <a:rPr lang="el-GR" altLang="en-US" sz="1000">
                <a:solidFill>
                  <a:schemeClr val="tx1"/>
                </a:solidFill>
              </a:rPr>
              <a:pPr/>
              <a:t>Q2
16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239" name="Text Placeholder 18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1684338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03F14EA-9328-47CE-B972-5D41F1EA52DB}" type="datetime'Q''''''''''''''''''''''''4&#10;''''''1''''''''''''''''''4'">
              <a:rPr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Q4
14</a:t>
            </a:fld>
            <a:endParaRPr lang="el-GR" sz="10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15" name="Text Placeholder 132">
            <a:extLst>
              <a:ext uri="{FF2B5EF4-FFF2-40B4-BE49-F238E27FC236}">
                <a16:creationId xmlns:a16="http://schemas.microsoft.com/office/drawing/2014/main" id="{10DA71BD-E0C3-4527-A58E-9600AB10761A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9182100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EBB636A-6B90-44ED-BBD8-87611E1FA6A5}" type="datetime'''''''Q''''''''''2''''''''''''''''''''&#10;''2''''''''''''1'''''">
              <a:rPr lang="en-US" altLang="en-US" sz="1000" smtClean="0">
                <a:solidFill>
                  <a:schemeClr val="tx1"/>
                </a:solidFill>
                <a:latin typeface="+mn-lt"/>
                <a:cs typeface="+mn-cs"/>
              </a:rPr>
              <a:pPr/>
              <a:t>Q2
21</a:t>
            </a:fld>
            <a:endParaRPr lang="el-GR" sz="10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31" name="Text Placeholder 132">
            <a:extLst>
              <a:ext uri="{FF2B5EF4-FFF2-40B4-BE49-F238E27FC236}">
                <a16:creationId xmlns:a16="http://schemas.microsoft.com/office/drawing/2014/main" id="{D695B5A1-406E-4E28-B24C-652B4EA7C871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7451725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758595E7-63B8-4CA2-9E5A-15FBAEE94805}" type="datetime'''''Q''4&#10;1''''''''''''''''''9'''''''''''''''''''''''">
              <a:rPr lang="en-US" altLang="en-US" sz="1000" smtClean="0">
                <a:solidFill>
                  <a:schemeClr val="tx1"/>
                </a:solidFill>
              </a:rPr>
              <a:pPr/>
              <a:t>Q4
19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25" name="Text Placeholder 132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5434013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AE03998E-960A-4276-8BD5-C1A901A46E34}" type="datetime'''''''''''Q''''''''''1''''''''''''''''''''&#10;''''18'">
              <a:rPr lang="el-GR" altLang="en-US" sz="1000">
                <a:solidFill>
                  <a:schemeClr val="tx1"/>
                </a:solidFill>
              </a:rPr>
              <a:pPr/>
              <a:t>Q1
18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247" name="Text Placeholder 228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1973263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C95227E-4A2E-4DDA-BD44-AD09DB4A3EE6}" type="datetime'''''''''''''''Q''''1''''''''''''''&#10;''1''''''''''5'''''''''">
              <a:rPr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Q1
15</a:t>
            </a:fld>
            <a:endParaRPr lang="el-GR" sz="10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AAADCC10-40E2-440F-85D2-C0ABC83CAA43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10880725" y="4038600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C421BCB-70C9-4B54-8C82-7B1485FEF501}" type="datetime'1''''''''''''''''''''''''''''''''0''''''''''0'''''">
              <a:rPr lang="en-US" altLang="en-US" sz="1000" smtClean="0">
                <a:solidFill>
                  <a:schemeClr val="tx1"/>
                </a:solidFill>
                <a:sym typeface="Arial" panose="020B0604020202020204" pitchFamily="34" charset="0"/>
              </a:rPr>
              <a:pPr/>
              <a:t>100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41" name="Text Placeholder 10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2260600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C1D1F4B-B389-4886-A6F3-2C56F99316C6}" type="datetime'''''''''''''''''''''Q''''''''2''''''''''&#10;''''''''''''''15'''''">
              <a:rPr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Q2
15</a:t>
            </a:fld>
            <a:endParaRPr lang="el-GR" sz="10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09" name="Rectangle 508">
            <a:extLst>
              <a:ext uri="{FF2B5EF4-FFF2-40B4-BE49-F238E27FC236}">
                <a16:creationId xmlns:a16="http://schemas.microsoft.com/office/drawing/2014/main" id="{E9CDA2D5-A36F-4E86-AA0D-ECA1FBE1FEC6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8320088" y="4359276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FB1CC66-A647-4FD5-89D4-1B37857FA5B2}" type="datetime'8''3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3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5" name="Text Placeholder 37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2549525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C69E48C-F22D-4DC9-984A-52C4D68EA38E}" type="datetime'''''''''''''''Q''''''3''''''''''''&#10;1''''''''''5'''''''">
              <a:rPr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Q3
15</a:t>
            </a:fld>
            <a:endParaRPr lang="el-GR" sz="10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55" name="Text Placeholder 87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2838450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951ECCD-468E-4A33-82E0-900B9CB1D350}" type="datetime'''''''''''''''''''''''''''''Q''''''''4''&#10;1''''''''5'">
              <a:rPr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Q4
15</a:t>
            </a:fld>
            <a:endParaRPr lang="el-GR" sz="10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33" name="Text Placeholder 132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3703638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650088C-A08F-4535-9611-7E9FA6F027AE}" type="datetime'''''''''''''''Q3''''''''''''&#10;''1''''''''''6'''''">
              <a:rPr lang="el-GR" altLang="en-US" sz="1000">
                <a:solidFill>
                  <a:schemeClr val="tx1"/>
                </a:solidFill>
              </a:rPr>
              <a:pPr/>
              <a:t>Q3
16</a:t>
            </a:fld>
            <a:endParaRPr lang="el-GR" sz="10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24" name="Text Placeholder 132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3990975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9182BA8-28C9-4A4B-900E-BD750A9E5402}" type="datetime'''''''''''''''Q''''''''''''''''''''4&#10;''''''''1''6'''''''">
              <a:rPr lang="el-GR" altLang="en-US" sz="1000">
                <a:solidFill>
                  <a:schemeClr val="tx1"/>
                </a:solidFill>
              </a:rPr>
              <a:pPr/>
              <a:t>Q4
16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 useBgFill="1">
        <p:nvSpPr>
          <p:cNvPr id="117" name="Rectangle 116">
            <a:extLst>
              <a:ext uri="{FF2B5EF4-FFF2-40B4-BE49-F238E27FC236}">
                <a16:creationId xmlns:a16="http://schemas.microsoft.com/office/drawing/2014/main" id="{78ABBBD1-B941-43EB-B9A2-99010378C6CB}"/>
              </a:ext>
            </a:extLst>
          </p:cNvPr>
          <p:cNvSpPr/>
          <p:nvPr>
            <p:custDataLst>
              <p:tags r:id="rId66"/>
            </p:custDataLst>
          </p:nvPr>
        </p:nvSpPr>
        <p:spPr bwMode="gray">
          <a:xfrm>
            <a:off x="4859338" y="4362451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81C8D88-1F53-4F91-AA4D-004C1870EA92}" type="datetime'''''''''''''''''8''''''''''3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3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174" name="Rectangle 173">
            <a:extLst>
              <a:ext uri="{FF2B5EF4-FFF2-40B4-BE49-F238E27FC236}">
                <a16:creationId xmlns:a16="http://schemas.microsoft.com/office/drawing/2014/main" id="{A5425971-1478-4972-B667-90C5064F22A0}"/>
              </a:ext>
            </a:extLst>
          </p:cNvPr>
          <p:cNvSpPr/>
          <p:nvPr>
            <p:custDataLst>
              <p:tags r:id="rId67"/>
            </p:custDataLst>
          </p:nvPr>
        </p:nvSpPr>
        <p:spPr bwMode="gray">
          <a:xfrm>
            <a:off x="4824413" y="3832226"/>
            <a:ext cx="24447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86DEC1E-B460-4B36-AFC2-DC57412F9879}" type="datetime'''''1''''''''''''''''''''''''''''1''''''''''''1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11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491" name="Rectangle 490">
            <a:extLst>
              <a:ext uri="{FF2B5EF4-FFF2-40B4-BE49-F238E27FC236}">
                <a16:creationId xmlns:a16="http://schemas.microsoft.com/office/drawing/2014/main" id="{1DE1C41B-AF4C-4684-8B9B-DB82A6EC4E60}"/>
              </a:ext>
            </a:extLst>
          </p:cNvPr>
          <p:cNvSpPr/>
          <p:nvPr>
            <p:custDataLst>
              <p:tags r:id="rId68"/>
            </p:custDataLst>
          </p:nvPr>
        </p:nvSpPr>
        <p:spPr bwMode="gray">
          <a:xfrm>
            <a:off x="7132638" y="3697289"/>
            <a:ext cx="24447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82996FC-ECD4-4519-8AC9-1D65CEFA40FD}" type="datetime'''''''''''''1''''''''''''''''''''''''1''''''''''''''8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18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528" name="Rectangle 527">
            <a:extLst>
              <a:ext uri="{FF2B5EF4-FFF2-40B4-BE49-F238E27FC236}">
                <a16:creationId xmlns:a16="http://schemas.microsoft.com/office/drawing/2014/main" id="{441A2541-4136-4354-BE90-00DBFD563A42}"/>
              </a:ext>
            </a:extLst>
          </p:cNvPr>
          <p:cNvSpPr/>
          <p:nvPr>
            <p:custDataLst>
              <p:tags r:id="rId69"/>
            </p:custDataLst>
          </p:nvPr>
        </p:nvSpPr>
        <p:spPr bwMode="gray">
          <a:xfrm>
            <a:off x="9439275" y="3481389"/>
            <a:ext cx="24447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832325B-3951-4C9C-9404-F4B7F95447C0}" type="datetime'''''''''''''''''''1''''''''''''''''''''3''''''''0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30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9" name="Text Placeholder 132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4856163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6481E9F-1A63-4A75-9146-0823F39EEEDF}" type="datetime'Q''''3&#10;''''''''''''''''''''''''1''''''7'''''''''''''''''''''">
              <a:rPr lang="el-GR" altLang="en-US" sz="1000">
                <a:solidFill>
                  <a:schemeClr val="tx1"/>
                </a:solidFill>
              </a:rPr>
              <a:pPr/>
              <a:t>Q3
17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 useBgFill="1">
        <p:nvSpPr>
          <p:cNvPr id="206" name="Rectangle 205">
            <a:extLst>
              <a:ext uri="{FF2B5EF4-FFF2-40B4-BE49-F238E27FC236}">
                <a16:creationId xmlns:a16="http://schemas.microsoft.com/office/drawing/2014/main" id="{992B5030-CEAE-453C-B63B-EFAE71309834}"/>
              </a:ext>
            </a:extLst>
          </p:cNvPr>
          <p:cNvSpPr/>
          <p:nvPr>
            <p:custDataLst>
              <p:tags r:id="rId71"/>
            </p:custDataLst>
          </p:nvPr>
        </p:nvSpPr>
        <p:spPr bwMode="gray">
          <a:xfrm>
            <a:off x="5978525" y="3644901"/>
            <a:ext cx="24447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795850D-CE94-4021-9E39-E5932E160702}" type="datetime'''''1''''''''''''''''''''''21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1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1" name="Text Placeholder 132">
            <a:extLst>
              <a:ext uri="{FF2B5EF4-FFF2-40B4-BE49-F238E27FC236}">
                <a16:creationId xmlns:a16="http://schemas.microsoft.com/office/drawing/2014/main" id="{B5544F64-8EAB-4B4E-B1F6-E12902B03D13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9759950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24ADE75-F714-4C33-AB1C-C446C642D51B}" type="datetime'''''''Q''''''''''''''''''''''4''''''''''''&#10;''''''''2''''1'''''">
              <a:rPr lang="en-US" altLang="en-US" sz="10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4
21</a:t>
            </a:fld>
            <a:endParaRPr lang="el-GR" sz="10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 useBgFill="1">
        <p:nvSpPr>
          <p:cNvPr id="207" name="Rectangle 206">
            <a:extLst>
              <a:ext uri="{FF2B5EF4-FFF2-40B4-BE49-F238E27FC236}">
                <a16:creationId xmlns:a16="http://schemas.microsoft.com/office/drawing/2014/main" id="{87EF4B3C-27FE-4849-9634-A76169FC9881}"/>
              </a:ext>
            </a:extLst>
          </p:cNvPr>
          <p:cNvSpPr/>
          <p:nvPr>
            <p:custDataLst>
              <p:tags r:id="rId73"/>
            </p:custDataLst>
          </p:nvPr>
        </p:nvSpPr>
        <p:spPr bwMode="gray">
          <a:xfrm>
            <a:off x="6013450" y="4467226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C6A912F-6C8B-4877-A4B7-7DFAA99457BE}" type="datetime'7''7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7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1" name="Text Placeholder 132">
            <a:extLst>
              <a:ext uri="{FF2B5EF4-FFF2-40B4-BE49-F238E27FC236}">
                <a16:creationId xmlns:a16="http://schemas.microsoft.com/office/drawing/2014/main" id="{75C14D29-66A9-42A9-A907-5F2FEBF82C69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7740650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7854F049-97C2-4B47-9340-B9E09D8EC8CB}" type="datetime'''Q''''''''''1''''''''&#10;''''''''''''''''''''''''20'''''''">
              <a:rPr lang="en-US" altLang="en-US" sz="1000" smtClean="0">
                <a:solidFill>
                  <a:schemeClr val="tx1"/>
                </a:solidFill>
              </a:rPr>
              <a:pPr/>
              <a:t>Q1
20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 useBgFill="1">
        <p:nvSpPr>
          <p:cNvPr id="157" name="Rectangle 156">
            <a:extLst>
              <a:ext uri="{FF2B5EF4-FFF2-40B4-BE49-F238E27FC236}">
                <a16:creationId xmlns:a16="http://schemas.microsoft.com/office/drawing/2014/main" id="{F7EE3563-04B3-4D4D-96CD-CCAE3220F7B3}"/>
              </a:ext>
            </a:extLst>
          </p:cNvPr>
          <p:cNvSpPr/>
          <p:nvPr>
            <p:custDataLst>
              <p:tags r:id="rId75"/>
            </p:custDataLst>
          </p:nvPr>
        </p:nvSpPr>
        <p:spPr bwMode="gray">
          <a:xfrm>
            <a:off x="10915650" y="4235450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B69E1F7-FB12-42D0-863C-E4E837C46FB7}" type="datetime'''8''''''''9''''''''''''''''''''''''''''''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/>
              <a:t>89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 useBgFill="1">
        <p:nvSpPr>
          <p:cNvPr id="529" name="Rectangle 528">
            <a:extLst>
              <a:ext uri="{FF2B5EF4-FFF2-40B4-BE49-F238E27FC236}">
                <a16:creationId xmlns:a16="http://schemas.microsoft.com/office/drawing/2014/main" id="{26A01ADE-1A18-4E19-B688-98945A01DCAC}"/>
              </a:ext>
            </a:extLst>
          </p:cNvPr>
          <p:cNvSpPr/>
          <p:nvPr>
            <p:custDataLst>
              <p:tags r:id="rId76"/>
            </p:custDataLst>
          </p:nvPr>
        </p:nvSpPr>
        <p:spPr bwMode="gray">
          <a:xfrm>
            <a:off x="9474200" y="4291014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A30A2FE-8B55-455B-A237-EE7B32245E15}" type="datetime'''''''''''''''''''''8''''''6''''''''''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6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208" name="Rectangle 207">
            <a:extLst>
              <a:ext uri="{FF2B5EF4-FFF2-40B4-BE49-F238E27FC236}">
                <a16:creationId xmlns:a16="http://schemas.microsoft.com/office/drawing/2014/main" id="{72FE2E60-04D1-45E3-B415-941F771165B6}"/>
              </a:ext>
            </a:extLst>
          </p:cNvPr>
          <p:cNvSpPr/>
          <p:nvPr>
            <p:custDataLst>
              <p:tags r:id="rId77"/>
            </p:custDataLst>
          </p:nvPr>
        </p:nvSpPr>
        <p:spPr bwMode="gray">
          <a:xfrm>
            <a:off x="6013450" y="4357689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1343D20-F84B-422B-B51E-4AD59472B04B}" type="datetime'''8''''''''''''''''''''''''''''''''''''''''''3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3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9DC5B7E1-8FDE-4609-922D-0F5029C6324F}"/>
              </a:ext>
            </a:extLst>
          </p:cNvPr>
          <p:cNvSpPr/>
          <p:nvPr>
            <p:custDataLst>
              <p:tags r:id="rId78"/>
            </p:custDataLst>
          </p:nvPr>
        </p:nvSpPr>
        <p:spPr bwMode="gray">
          <a:xfrm>
            <a:off x="6013450" y="4175126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838A49C-602F-4A30-99B8-34558CFB0986}" type="datetime'''''''''''''''9''''''''''''''''''''''''''''''''3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3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7" name="Text Placeholder 132"/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6010275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E2A8977-B202-4473-9FDA-2CD54197F492}" type="datetime'Q''''''''''''''3''''''&#10;''''''1''''''''''8'''''''''''''">
              <a:rPr lang="el-GR" altLang="en-US" sz="1000">
                <a:solidFill>
                  <a:schemeClr val="tx1"/>
                </a:solidFill>
              </a:rPr>
              <a:pPr/>
              <a:t>Q3
18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46" name="Text Placeholder 132">
            <a:extLst>
              <a:ext uri="{FF2B5EF4-FFF2-40B4-BE49-F238E27FC236}">
                <a16:creationId xmlns:a16="http://schemas.microsoft.com/office/drawing/2014/main" id="{32FCB963-B9FB-4272-B968-A87449BD38CE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6586538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1DD5B7F-B958-4275-A989-08692F355DF1}" type="datetime'''''Q''''1''''''&#10;''''''1''9'''''''''''''">
              <a:rPr lang="el-GR" altLang="en-US" sz="1000" smtClean="0">
                <a:solidFill>
                  <a:schemeClr val="tx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Q1
19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77" name="Text Placeholder 132">
            <a:extLst>
              <a:ext uri="{FF2B5EF4-FFF2-40B4-BE49-F238E27FC236}">
                <a16:creationId xmlns:a16="http://schemas.microsoft.com/office/drawing/2014/main" id="{537901B2-741B-4A57-9D1E-5CB08E215736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6875463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7A72769-48A0-42A4-A613-E3FDB553866D}" type="datetime'''''''''''''''''''''''''''Q2''''''''&#10;''''1''''''''''''''''''9'">
              <a:rPr lang="en-US" altLang="en-US" sz="1000" smtClean="0">
                <a:solidFill>
                  <a:schemeClr val="tx1"/>
                </a:solidFill>
              </a:rPr>
              <a:pPr/>
              <a:t>Q2
19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 useBgFill="1">
        <p:nvSpPr>
          <p:cNvPr id="488" name="Rectangle 487">
            <a:extLst>
              <a:ext uri="{FF2B5EF4-FFF2-40B4-BE49-F238E27FC236}">
                <a16:creationId xmlns:a16="http://schemas.microsoft.com/office/drawing/2014/main" id="{5FEE33EF-544D-488C-86A7-27162BF4139B}"/>
              </a:ext>
            </a:extLst>
          </p:cNvPr>
          <p:cNvSpPr/>
          <p:nvPr>
            <p:custDataLst>
              <p:tags r:id="rId82"/>
            </p:custDataLst>
          </p:nvPr>
        </p:nvSpPr>
        <p:spPr bwMode="gray">
          <a:xfrm>
            <a:off x="7132638" y="3616326"/>
            <a:ext cx="24447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842A8A2-2EF8-4D0B-9ABA-17CD5C06C74F}" type="datetime'''''''''''''''1''''''2''''''''''''''''''''''''2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2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92" name="Rectangle 491">
            <a:extLst>
              <a:ext uri="{FF2B5EF4-FFF2-40B4-BE49-F238E27FC236}">
                <a16:creationId xmlns:a16="http://schemas.microsoft.com/office/drawing/2014/main" id="{CDC7F007-E0E1-40CD-BBD3-B3BFA6721B08}"/>
              </a:ext>
            </a:extLst>
          </p:cNvPr>
          <p:cNvSpPr/>
          <p:nvPr>
            <p:custDataLst>
              <p:tags r:id="rId83"/>
            </p:custDataLst>
          </p:nvPr>
        </p:nvSpPr>
        <p:spPr bwMode="gray">
          <a:xfrm>
            <a:off x="7167563" y="4137026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F890386-BB08-4957-A92E-F144288CEC79}" type="datetime'''''''''''''''''''''''''''''''''''''''''''''''''''''95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5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0" name="Text Placeholder 132">
            <a:extLst>
              <a:ext uri="{FF2B5EF4-FFF2-40B4-BE49-F238E27FC236}">
                <a16:creationId xmlns:a16="http://schemas.microsoft.com/office/drawing/2014/main" id="{8A13CC89-133D-4A56-86E9-02AE745EC076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7164388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B3E067C1-E050-432D-9C9F-A54C72FF4A68}" type="datetime'''''''''''''Q3''''''''''&#10;''''''''1''''''''''''''''9'''">
              <a:rPr lang="en-US" altLang="en-US" sz="1000" smtClean="0">
                <a:solidFill>
                  <a:schemeClr val="tx1"/>
                </a:solidFill>
              </a:rPr>
              <a:pPr/>
              <a:t>Q3
19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510" name="Rectangle 509">
            <a:extLst>
              <a:ext uri="{FF2B5EF4-FFF2-40B4-BE49-F238E27FC236}">
                <a16:creationId xmlns:a16="http://schemas.microsoft.com/office/drawing/2014/main" id="{FE62DF0C-18A6-4590-9D43-8141C643BDDC}"/>
              </a:ext>
            </a:extLst>
          </p:cNvPr>
          <p:cNvSpPr/>
          <p:nvPr>
            <p:custDataLst>
              <p:tags r:id="rId85"/>
            </p:custDataLst>
          </p:nvPr>
        </p:nvSpPr>
        <p:spPr bwMode="gray">
          <a:xfrm>
            <a:off x="8320088" y="4079876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7C96E28-D0FC-4F27-A59B-75B23167881E}" type="datetime'9''''''''''''''''''''''''''8''''''''''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8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11" name="Rectangle 510">
            <a:extLst>
              <a:ext uri="{FF2B5EF4-FFF2-40B4-BE49-F238E27FC236}">
                <a16:creationId xmlns:a16="http://schemas.microsoft.com/office/drawing/2014/main" id="{A2D33557-BE49-46B8-A807-E45107AA2350}"/>
              </a:ext>
            </a:extLst>
          </p:cNvPr>
          <p:cNvSpPr/>
          <p:nvPr>
            <p:custDataLst>
              <p:tags r:id="rId86"/>
            </p:custDataLst>
          </p:nvPr>
        </p:nvSpPr>
        <p:spPr bwMode="gray">
          <a:xfrm>
            <a:off x="8285163" y="3703639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BC6E1D7-DCE8-41A2-A48F-8858C198131E}" type="datetime'''''''''''''''''''''1''''''1''''''''''''8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18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12" name="Rectangle 511">
            <a:extLst>
              <a:ext uri="{FF2B5EF4-FFF2-40B4-BE49-F238E27FC236}">
                <a16:creationId xmlns:a16="http://schemas.microsoft.com/office/drawing/2014/main" id="{1A3E9836-8349-4130-83F8-7C363226E34A}"/>
              </a:ext>
            </a:extLst>
          </p:cNvPr>
          <p:cNvSpPr/>
          <p:nvPr>
            <p:custDataLst>
              <p:tags r:id="rId87"/>
            </p:custDataLst>
          </p:nvPr>
        </p:nvSpPr>
        <p:spPr bwMode="gray">
          <a:xfrm>
            <a:off x="8320088" y="4060826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6FFBBE9-7FD9-4E4B-B05E-20D439E1B547}" type="datetime'''''''9''''''''''''''''''''''''9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9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Text Placeholder 132">
            <a:extLst>
              <a:ext uri="{FF2B5EF4-FFF2-40B4-BE49-F238E27FC236}">
                <a16:creationId xmlns:a16="http://schemas.microsoft.com/office/drawing/2014/main" id="{C2F77CFB-2548-4234-AA52-2E51EBD4B6A1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8316913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6265F54F-2F4F-4E31-84B7-B097BC608152}" type="datetime'''''''''Q3''''''''''''''&#10;''''''''''2''''''''0'''''''''''''''''">
              <a:rPr lang="en-US" altLang="en-US" sz="1000" smtClean="0">
                <a:solidFill>
                  <a:schemeClr val="tx1"/>
                </a:solidFill>
              </a:rPr>
              <a:pPr/>
              <a:t>Q3
20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04" name="Text Placeholder 132">
            <a:extLst>
              <a:ext uri="{FF2B5EF4-FFF2-40B4-BE49-F238E27FC236}">
                <a16:creationId xmlns:a16="http://schemas.microsoft.com/office/drawing/2014/main" id="{45747217-6C31-4292-8593-A37151419BAF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8605838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D18FCC3-73BA-4E70-8852-34B4B36B9E8E}" type="datetime'''''''''''''''''''''''''''''''''Q''''4''''&#10;20'">
              <a:rPr lang="en-US" altLang="en-US" sz="1000" smtClean="0">
                <a:solidFill>
                  <a:schemeClr val="tx1"/>
                </a:solidFill>
              </a:rPr>
              <a:pPr/>
              <a:t>Q4
20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14" name="Text Placeholder 132">
            <a:extLst>
              <a:ext uri="{FF2B5EF4-FFF2-40B4-BE49-F238E27FC236}">
                <a16:creationId xmlns:a16="http://schemas.microsoft.com/office/drawing/2014/main" id="{94BBB1A6-F5A8-4FE8-9DE0-8018B4EBA3A3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8894763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059643A-4847-4248-96DC-83F80658C03B}" type="datetime'''''''Q''''''''''''''1''''''''''''''''&#10;''''''2''''1'''''''''">
              <a:rPr lang="en-US" altLang="en-US" sz="1000" smtClean="0">
                <a:solidFill>
                  <a:schemeClr val="tx1"/>
                </a:solidFill>
              </a:rPr>
              <a:pPr/>
              <a:t>Q1
21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530" name="Rectangle 529">
            <a:extLst>
              <a:ext uri="{FF2B5EF4-FFF2-40B4-BE49-F238E27FC236}">
                <a16:creationId xmlns:a16="http://schemas.microsoft.com/office/drawing/2014/main" id="{7A692D69-E04A-495C-B199-17CE473CB869}"/>
              </a:ext>
            </a:extLst>
          </p:cNvPr>
          <p:cNvSpPr/>
          <p:nvPr>
            <p:custDataLst>
              <p:tags r:id="rId91"/>
            </p:custDataLst>
          </p:nvPr>
        </p:nvSpPr>
        <p:spPr bwMode="gray">
          <a:xfrm>
            <a:off x="9474200" y="4089401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054293F-0CBB-4FFE-A2A3-FC577559F43A}" type="datetime'''''''''''97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7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531" name="Rectangle 530">
            <a:extLst>
              <a:ext uri="{FF2B5EF4-FFF2-40B4-BE49-F238E27FC236}">
                <a16:creationId xmlns:a16="http://schemas.microsoft.com/office/drawing/2014/main" id="{C3F23F89-4B1B-416B-ABE3-D58A0F96745C}"/>
              </a:ext>
            </a:extLst>
          </p:cNvPr>
          <p:cNvSpPr/>
          <p:nvPr>
            <p:custDataLst>
              <p:tags r:id="rId92"/>
            </p:custDataLst>
          </p:nvPr>
        </p:nvSpPr>
        <p:spPr bwMode="gray">
          <a:xfrm>
            <a:off x="9439275" y="3629026"/>
            <a:ext cx="24447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5FF67A5-AACF-4054-9099-9610BCA2D39E}" type="datetime'1''''2''''''''''''''''''''''''''''2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2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3" name="Rectangle 209"/>
          <p:cNvSpPr>
            <a:spLocks noChangeArrowheads="1"/>
          </p:cNvSpPr>
          <p:nvPr>
            <p:custDataLst>
              <p:tags r:id="rId93"/>
            </p:custDataLst>
          </p:nvPr>
        </p:nvSpPr>
        <p:spPr bwMode="auto">
          <a:xfrm>
            <a:off x="10890250" y="5670550"/>
            <a:ext cx="492125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r"/>
            <a:r>
              <a:rPr lang="en-US" sz="1000" dirty="0">
                <a:latin typeface="Arial"/>
                <a:cs typeface="Arial"/>
                <a:sym typeface="Arial"/>
              </a:rPr>
              <a:t>Quarters</a:t>
            </a:r>
            <a:endParaRPr lang="el-GR" sz="1000" dirty="0">
              <a:latin typeface="Arial"/>
              <a:cs typeface="Arial"/>
              <a:sym typeface="Arial"/>
            </a:endParaRPr>
          </a:p>
        </p:txBody>
      </p:sp>
      <p:sp>
        <p:nvSpPr>
          <p:cNvPr id="116" name="Text Placeholder 132">
            <a:extLst>
              <a:ext uri="{FF2B5EF4-FFF2-40B4-BE49-F238E27FC236}">
                <a16:creationId xmlns:a16="http://schemas.microsoft.com/office/drawing/2014/main" id="{716E691A-C836-4E35-9241-83BD30969D3C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9471025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8C3F452-D2CE-477E-8FC8-358392AC907F}" type="datetime'''''''Q''''''''''''''''''''''3''''&#10;''''2''''''''1'''''''''''">
              <a:rPr lang="en-US" altLang="en-US" sz="10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3
21</a:t>
            </a:fld>
            <a:endParaRPr lang="el-GR" sz="10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22" name="Text Placeholder 132">
            <a:extLst>
              <a:ext uri="{FF2B5EF4-FFF2-40B4-BE49-F238E27FC236}">
                <a16:creationId xmlns:a16="http://schemas.microsoft.com/office/drawing/2014/main" id="{2069F4F9-D7BC-4DFA-AF62-DDD39B853FBD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10047288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A18CB99D-D401-4E1C-8373-16F76B6D5859}" type="datetime'''''''''''''''''''Q1''''''''''&#10;''''2''''''''''''''''''2'''">
              <a:rPr lang="en-US" altLang="en-US" sz="10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1
22</a:t>
            </a:fld>
            <a:endParaRPr lang="el-GR" sz="10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20" name="Text Placeholder 132">
            <a:extLst>
              <a:ext uri="{FF2B5EF4-FFF2-40B4-BE49-F238E27FC236}">
                <a16:creationId xmlns:a16="http://schemas.microsoft.com/office/drawing/2014/main" id="{336ECE1C-06E7-4264-85DF-61356FCD5858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10336213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6BC7FE2-9FE2-4114-B98D-DF354D68C9F7}" type="datetime'''''''''''''''''Q''''2''''''&#10;''''''2''''''''''2'''''">
              <a:rPr lang="en-US" altLang="en-US" sz="10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2
22</a:t>
            </a:fld>
            <a:endParaRPr lang="el-GR" sz="1000" dirty="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548" name="Rectangle 547">
            <a:extLst>
              <a:ext uri="{FF2B5EF4-FFF2-40B4-BE49-F238E27FC236}">
                <a16:creationId xmlns:a16="http://schemas.microsoft.com/office/drawing/2014/main" id="{C9F863AB-CA4D-419C-8A52-0CD3DDEA8008}"/>
              </a:ext>
            </a:extLst>
          </p:cNvPr>
          <p:cNvSpPr/>
          <p:nvPr>
            <p:custDataLst>
              <p:tags r:id="rId97"/>
            </p:custDataLst>
          </p:nvPr>
        </p:nvSpPr>
        <p:spPr bwMode="gray">
          <a:xfrm>
            <a:off x="10601325" y="3297238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00EB45C-7BA0-43A0-B5DE-27B02CDA714F}" type="datetime'''''''''1''''''''''''''''''''''''''''''''''''''2''''''''''9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9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1" name="Text Placeholder 132"/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5145088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3AF1F6B-91EA-4EFD-918C-E4CD5CEDA17C}" type="datetime'''Q''''''''''''''''''4''''''''''''''''&#10;''''''''1''7'''''''''">
              <a:rPr lang="el-GR" altLang="en-US" sz="1000">
                <a:solidFill>
                  <a:schemeClr val="tx1"/>
                </a:solidFill>
              </a:rPr>
              <a:pPr/>
              <a:t>Q4
17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 useBgFill="1">
        <p:nvSpPr>
          <p:cNvPr id="549" name="Rectangle 548">
            <a:extLst>
              <a:ext uri="{FF2B5EF4-FFF2-40B4-BE49-F238E27FC236}">
                <a16:creationId xmlns:a16="http://schemas.microsoft.com/office/drawing/2014/main" id="{24DE3219-46D0-4890-9769-A9D0396F913A}"/>
              </a:ext>
            </a:extLst>
          </p:cNvPr>
          <p:cNvSpPr/>
          <p:nvPr>
            <p:custDataLst>
              <p:tags r:id="rId99"/>
            </p:custDataLst>
          </p:nvPr>
        </p:nvSpPr>
        <p:spPr bwMode="gray">
          <a:xfrm>
            <a:off x="10628313" y="4286251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43E6240-65B9-4A15-8768-CC476FF39E42}" type="datetime'''''''''''''''''''8''''''''''''''''''''''''7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7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550" name="Rectangle 549">
            <a:extLst>
              <a:ext uri="{FF2B5EF4-FFF2-40B4-BE49-F238E27FC236}">
                <a16:creationId xmlns:a16="http://schemas.microsoft.com/office/drawing/2014/main" id="{A6E167E9-1B89-4425-A096-6BE2B7408BC4}"/>
              </a:ext>
            </a:extLst>
          </p:cNvPr>
          <p:cNvSpPr/>
          <p:nvPr>
            <p:custDataLst>
              <p:tags r:id="rId100"/>
            </p:custDataLst>
          </p:nvPr>
        </p:nvSpPr>
        <p:spPr bwMode="gray">
          <a:xfrm>
            <a:off x="10628313" y="4146551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18D466D-86E2-4A5E-ADC1-47DAA55E3176}" type="datetime'''''''''''''''''''''''''''''9''''''''''''''''''''''4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4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551" name="Rectangle 550">
            <a:extLst>
              <a:ext uri="{FF2B5EF4-FFF2-40B4-BE49-F238E27FC236}">
                <a16:creationId xmlns:a16="http://schemas.microsoft.com/office/drawing/2014/main" id="{B2E641B3-CC28-4B5A-8A4E-4FD14DF4A77F}"/>
              </a:ext>
            </a:extLst>
          </p:cNvPr>
          <p:cNvSpPr/>
          <p:nvPr>
            <p:custDataLst>
              <p:tags r:id="rId101"/>
            </p:custDataLst>
          </p:nvPr>
        </p:nvSpPr>
        <p:spPr bwMode="gray">
          <a:xfrm>
            <a:off x="10593388" y="3525839"/>
            <a:ext cx="24447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74FAFA9-EA49-4766-9EC4-9DF1660F629F}" type="datetime'''''''1''2''''''7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7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2" name="Rectangle 551">
            <a:extLst>
              <a:ext uri="{FF2B5EF4-FFF2-40B4-BE49-F238E27FC236}">
                <a16:creationId xmlns:a16="http://schemas.microsoft.com/office/drawing/2014/main" id="{850BA29F-3DFF-40E9-AEF0-2DCC7A38B8E9}"/>
              </a:ext>
            </a:extLst>
          </p:cNvPr>
          <p:cNvSpPr/>
          <p:nvPr>
            <p:custDataLst>
              <p:tags r:id="rId102"/>
            </p:custDataLst>
          </p:nvPr>
        </p:nvSpPr>
        <p:spPr bwMode="gray">
          <a:xfrm>
            <a:off x="10593388" y="4041776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5C3D8ED-2511-46CC-A861-108E4A4F5185}" type="datetime'''''''''''1''''''''''''''''''''''''''''''''''''''0''''''0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7" name="Text Placeholder 132">
            <a:extLst>
              <a:ext uri="{FF2B5EF4-FFF2-40B4-BE49-F238E27FC236}">
                <a16:creationId xmlns:a16="http://schemas.microsoft.com/office/drawing/2014/main" id="{DEA5706D-133C-407C-9F3B-E9766A40EEF7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10625138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B77A787-D229-4818-8F07-EEDA27095299}" type="datetime'''''''''''''Q''3&#10;''22'''''''''''''''''''">
              <a:rPr lang="en-US" altLang="en-US" sz="10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3
22</a:t>
            </a:fld>
            <a:endParaRPr lang="el-GR" sz="1000" dirty="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84E81FC6-D5D2-42E1-A3F5-A90D92F25FEA}"/>
              </a:ext>
            </a:extLst>
          </p:cNvPr>
          <p:cNvSpPr/>
          <p:nvPr>
            <p:custDataLst>
              <p:tags r:id="rId104"/>
            </p:custDataLst>
          </p:nvPr>
        </p:nvSpPr>
        <p:spPr bwMode="gray">
          <a:xfrm>
            <a:off x="10880725" y="3044825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FE75194-32D8-4BD8-9633-BEF2BE5FD9CD}" type="datetime'''''''''''''''''''''''''''1''''''5''3'''''''''''">
              <a:rPr lang="en-US" altLang="en-US" sz="1000" smtClean="0">
                <a:solidFill>
                  <a:schemeClr val="tx1"/>
                </a:solidFill>
                <a:sym typeface="Arial" panose="020B0604020202020204" pitchFamily="34" charset="0"/>
              </a:rPr>
              <a:pPr/>
              <a:t>153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532" name="Rectangle 531">
            <a:extLst>
              <a:ext uri="{FF2B5EF4-FFF2-40B4-BE49-F238E27FC236}">
                <a16:creationId xmlns:a16="http://schemas.microsoft.com/office/drawing/2014/main" id="{B05CA188-9EB6-4559-863A-E051B0563B56}"/>
              </a:ext>
            </a:extLst>
          </p:cNvPr>
          <p:cNvSpPr/>
          <p:nvPr>
            <p:custDataLst>
              <p:tags r:id="rId105"/>
            </p:custDataLst>
          </p:nvPr>
        </p:nvSpPr>
        <p:spPr bwMode="gray">
          <a:xfrm>
            <a:off x="9474200" y="4046539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EF56EDD-AA06-40EF-9B2F-87F9693D9400}" type="datetime'''''9''''''''''''''''''''''''''''''''''9''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9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07777642-96B9-4A8A-B740-2D26696B381D}"/>
              </a:ext>
            </a:extLst>
          </p:cNvPr>
          <p:cNvSpPr/>
          <p:nvPr>
            <p:custDataLst>
              <p:tags r:id="rId106"/>
            </p:custDataLst>
          </p:nvPr>
        </p:nvSpPr>
        <p:spPr bwMode="gray">
          <a:xfrm>
            <a:off x="10880725" y="3465513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A442A12-E40A-474C-804F-B982AC35FF23}" type="datetime'''''''''''''''''''''''1''''3''''1''''''''''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/>
              <a:t>131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29" name="Text Placeholder 132">
            <a:extLst>
              <a:ext uri="{FF2B5EF4-FFF2-40B4-BE49-F238E27FC236}">
                <a16:creationId xmlns:a16="http://schemas.microsoft.com/office/drawing/2014/main" id="{9C03C2DE-4B04-4E50-9742-67D2D4E3893D}"/>
              </a:ext>
            </a:extLst>
          </p:cNvPr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10912475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6297B84-F9A1-4E3D-8D74-DDBE13C65877}" type="datetime'''''''''''''''''''''''''''''Q''''''''4''&#10;''2''2'''''''''">
              <a:rPr lang="en-US" altLang="en-US" sz="10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4
22</a:t>
            </a:fld>
            <a:endParaRPr lang="el-GR" sz="1000" dirty="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 useBgFill="1">
        <p:nvSpPr>
          <p:cNvPr id="227" name="Rectangle 226">
            <a:extLst>
              <a:ext uri="{FF2B5EF4-FFF2-40B4-BE49-F238E27FC236}">
                <a16:creationId xmlns:a16="http://schemas.microsoft.com/office/drawing/2014/main" id="{0CC689BB-6D12-740E-3C21-5A2F3920A1CC}"/>
              </a:ext>
            </a:extLst>
          </p:cNvPr>
          <p:cNvSpPr/>
          <p:nvPr>
            <p:custDataLst>
              <p:tags r:id="rId108"/>
            </p:custDataLst>
          </p:nvPr>
        </p:nvSpPr>
        <p:spPr bwMode="gray">
          <a:xfrm>
            <a:off x="11169650" y="3530600"/>
            <a:ext cx="24447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939876B-D72A-4412-A508-A63761195981}" type="datetime'1''''''''''''''''''''''''''''''''''''2''''''''''''''''7'''''">
              <a:rPr lang="en-US" altLang="en-US" sz="1000" smtClean="0">
                <a:solidFill>
                  <a:schemeClr val="tx1"/>
                </a:solidFill>
                <a:sym typeface="Arial" panose="020B0604020202020204" pitchFamily="34" charset="0"/>
              </a:rPr>
              <a:pPr/>
              <a:t>127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 useBgFill="1">
        <p:nvSpPr>
          <p:cNvPr id="231" name="Rectangle 230">
            <a:extLst>
              <a:ext uri="{FF2B5EF4-FFF2-40B4-BE49-F238E27FC236}">
                <a16:creationId xmlns:a16="http://schemas.microsoft.com/office/drawing/2014/main" id="{8156BFBF-AC41-6AAC-2605-A581865CAE61}"/>
              </a:ext>
            </a:extLst>
          </p:cNvPr>
          <p:cNvSpPr/>
          <p:nvPr>
            <p:custDataLst>
              <p:tags r:id="rId109"/>
            </p:custDataLst>
          </p:nvPr>
        </p:nvSpPr>
        <p:spPr bwMode="gray">
          <a:xfrm>
            <a:off x="11204575" y="4308475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13C7B68-A9AC-404C-B90B-11EDD8FFB550}" type="datetime'''''8''5''''''''''''''''''''''''''''''''''''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/>
              <a:t>85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8F69E9B6-63BC-0584-1592-20F51706C280}"/>
              </a:ext>
            </a:extLst>
          </p:cNvPr>
          <p:cNvSpPr/>
          <p:nvPr>
            <p:custDataLst>
              <p:tags r:id="rId110"/>
            </p:custDataLst>
          </p:nvPr>
        </p:nvSpPr>
        <p:spPr bwMode="gray">
          <a:xfrm>
            <a:off x="11204575" y="4168775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E402A96-93ED-4C27-BCD4-320CF8A2790F}" type="datetime'''''''''''''''''93''''''''''''''''''''''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/>
              <a:t>93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 useBgFill="1">
        <p:nvSpPr>
          <p:cNvPr id="237" name="Rectangle 236">
            <a:extLst>
              <a:ext uri="{FF2B5EF4-FFF2-40B4-BE49-F238E27FC236}">
                <a16:creationId xmlns:a16="http://schemas.microsoft.com/office/drawing/2014/main" id="{8EDE41E7-F1AD-6CEC-64DD-15D0E4F23281}"/>
              </a:ext>
            </a:extLst>
          </p:cNvPr>
          <p:cNvSpPr/>
          <p:nvPr>
            <p:custDataLst>
              <p:tags r:id="rId111"/>
            </p:custDataLst>
          </p:nvPr>
        </p:nvSpPr>
        <p:spPr bwMode="gray">
          <a:xfrm>
            <a:off x="11169650" y="3497263"/>
            <a:ext cx="24447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65DAE70-B644-4554-9D96-23567C3BF8D0}" type="datetime'1''''''''''''''''''''''''''''''''''''''''''''''''2''9'''">
              <a:rPr lang="en-US" altLang="en-US" sz="1000" smtClean="0">
                <a:solidFill>
                  <a:schemeClr val="tx1"/>
                </a:solidFill>
                <a:sym typeface="Arial" panose="020B0604020202020204" pitchFamily="34" charset="0"/>
              </a:rPr>
              <a:pPr/>
              <a:t>129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68615AD2-98A5-F394-DF87-0B3A213FAA44}"/>
              </a:ext>
            </a:extLst>
          </p:cNvPr>
          <p:cNvSpPr/>
          <p:nvPr>
            <p:custDataLst>
              <p:tags r:id="rId112"/>
            </p:custDataLst>
          </p:nvPr>
        </p:nvSpPr>
        <p:spPr bwMode="gray">
          <a:xfrm>
            <a:off x="11204575" y="4100513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A633AC4-5A38-4817-A162-9CCD5FF76DCA}" type="datetime'''''''''''''9''7'''''''''''">
              <a:rPr lang="en-US" altLang="en-US" sz="1000" smtClean="0">
                <a:solidFill>
                  <a:schemeClr val="tx1"/>
                </a:solidFill>
                <a:sym typeface="Arial" panose="020B0604020202020204" pitchFamily="34" charset="0"/>
              </a:rPr>
              <a:pPr/>
              <a:t>97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26" name="Text Placeholder 132">
            <a:extLst>
              <a:ext uri="{FF2B5EF4-FFF2-40B4-BE49-F238E27FC236}">
                <a16:creationId xmlns:a16="http://schemas.microsoft.com/office/drawing/2014/main" id="{739612E0-632C-1C59-DA36-0F1640D354EC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auto">
          <a:xfrm>
            <a:off x="11201400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3E6FBF5-012E-4539-9642-E0D74D4CE5DE}" type="datetime'Q1''&#10;''''2''''''''''''''3'">
              <a:rPr lang="en-US" altLang="en-US" sz="10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1
23</a:t>
            </a:fld>
            <a:endParaRPr lang="el-GR" sz="1000" dirty="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44" name="Text Placeholder 132"/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3125788" y="5264150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6535D30-9A78-4FDA-9254-654CC3C35979}" type="datetime'''''Q''''''''''''''''1&#10;''''''''''''''''1''6'''">
              <a:rPr lang="en-US" altLang="en-US" sz="1000">
                <a:solidFill>
                  <a:schemeClr val="tx1"/>
                </a:solidFill>
              </a:rPr>
              <a:pPr/>
              <a:t>Q1
16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 useBgFill="1">
        <p:nvSpPr>
          <p:cNvPr id="110" name="Rectangle 109">
            <a:extLst>
              <a:ext uri="{FF2B5EF4-FFF2-40B4-BE49-F238E27FC236}">
                <a16:creationId xmlns:a16="http://schemas.microsoft.com/office/drawing/2014/main" id="{2832FF15-49A8-46D2-BD3B-F04CA1C47D7D}"/>
              </a:ext>
            </a:extLst>
          </p:cNvPr>
          <p:cNvSpPr/>
          <p:nvPr>
            <p:custDataLst>
              <p:tags r:id="rId115"/>
            </p:custDataLst>
          </p:nvPr>
        </p:nvSpPr>
        <p:spPr bwMode="gray">
          <a:xfrm>
            <a:off x="4824413" y="3743326"/>
            <a:ext cx="24447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5BC66AB-F913-4480-BC28-76819B244568}" type="datetime'''1''''''''''''''''''''''''''''''''''''''1''6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16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508" name="Rectangle 507">
            <a:extLst>
              <a:ext uri="{FF2B5EF4-FFF2-40B4-BE49-F238E27FC236}">
                <a16:creationId xmlns:a16="http://schemas.microsoft.com/office/drawing/2014/main" id="{D9A6403C-CE2D-4FA5-86BC-B5CF097BA9D2}"/>
              </a:ext>
            </a:extLst>
          </p:cNvPr>
          <p:cNvSpPr/>
          <p:nvPr>
            <p:custDataLst>
              <p:tags r:id="rId116"/>
            </p:custDataLst>
          </p:nvPr>
        </p:nvSpPr>
        <p:spPr bwMode="gray">
          <a:xfrm>
            <a:off x="8285163" y="3349626"/>
            <a:ext cx="24447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253A76B-C809-4954-BC38-EC1245C0C37C}" type="datetime'''''''''''''''''''''''''''1''''''''3''''''7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37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155" name="Rectangle 154">
            <a:extLst>
              <a:ext uri="{FF2B5EF4-FFF2-40B4-BE49-F238E27FC236}">
                <a16:creationId xmlns:a16="http://schemas.microsoft.com/office/drawing/2014/main" id="{E81C51AB-5ACF-4A4A-B85E-0EF3F2B5F73E}"/>
              </a:ext>
            </a:extLst>
          </p:cNvPr>
          <p:cNvSpPr/>
          <p:nvPr>
            <p:custDataLst>
              <p:tags r:id="rId117"/>
            </p:custDataLst>
          </p:nvPr>
        </p:nvSpPr>
        <p:spPr bwMode="gray">
          <a:xfrm>
            <a:off x="10915650" y="4295775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F1268FB-D535-48C5-A4C0-BAC20AE2D67C}" type="datetime'''''8''''''''''''''6''''''''''''''''''''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/>
              <a:t>86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28" name="Text Placeholder 1">
            <a:extLst>
              <a:ext uri="{FF2B5EF4-FFF2-40B4-BE49-F238E27FC236}">
                <a16:creationId xmlns:a16="http://schemas.microsoft.com/office/drawing/2014/main" id="{FD966AC2-F3B6-4178-8BAD-20F950886B3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013" y="6397157"/>
            <a:ext cx="7560000" cy="110800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</p:spTree>
    <p:extLst>
      <p:ext uri="{BB962C8B-B14F-4D97-AF65-F5344CB8AC3E}">
        <p14:creationId xmlns:p14="http://schemas.microsoft.com/office/powerpoint/2010/main" val="42923752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86A7BAF-46F0-4465-BB12-365149C68DE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5" name="Table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524522"/>
              </p:ext>
            </p:extLst>
          </p:nvPr>
        </p:nvGraphicFramePr>
        <p:xfrm>
          <a:off x="1938159" y="1337827"/>
          <a:ext cx="9813460" cy="1095873"/>
        </p:xfrm>
        <a:graphic>
          <a:graphicData uri="http://schemas.openxmlformats.org/drawingml/2006/table">
            <a:tbl>
              <a:tblPr firstRow="1" bandRow="1"/>
              <a:tblGrid>
                <a:gridCol w="98134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95873">
                <a:tc>
                  <a:txBody>
                    <a:bodyPr/>
                    <a:lstStyle>
                      <a:defPPr>
                        <a:defRPr lang="el-GR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180975" marR="0" indent="-180975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0F0"/>
                        </a:buClr>
                        <a:buSzPct val="100000"/>
                        <a:buFontTx/>
                        <a:buChar char="•"/>
                        <a:tabLst/>
                        <a:defRPr/>
                      </a:pPr>
                      <a:r>
                        <a:rPr lang="en-US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€</a:t>
                      </a:r>
                      <a:r>
                        <a:rPr lang="el-GR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4.</a:t>
                      </a:r>
                      <a:r>
                        <a:rPr lang="en-US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55B the Rx market in values 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PSP) annually, excl. L.3816 drugs</a:t>
                      </a:r>
                    </a:p>
                    <a:p>
                      <a:pPr marL="180975" marR="0" indent="-180975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0F0"/>
                        </a:buClr>
                        <a:buSzPct val="100000"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Rx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market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s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</a:t>
                      </a:r>
                      <a:r>
                        <a:rPr lang="en-US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reasing (</a:t>
                      </a:r>
                      <a:r>
                        <a:rPr lang="el-GR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en-US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5.9%)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s. STLY in</a:t>
                      </a:r>
                      <a:r>
                        <a:rPr lang="en-US" sz="1100" b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values 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PSP) </a:t>
                      </a:r>
                    </a:p>
                    <a:p>
                      <a:pPr marL="180975" marR="0" indent="-180975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0F0"/>
                        </a:buClr>
                        <a:buSzPct val="100000"/>
                        <a:buFontTx/>
                        <a:buChar char="•"/>
                        <a:tabLst/>
                        <a:defRPr/>
                      </a:pPr>
                      <a:r>
                        <a:rPr lang="en-US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Volume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s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easing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(+3.5%) 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s. STLY, incl. of any changes in pack size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59" name="Table 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5538225"/>
              </p:ext>
            </p:extLst>
          </p:nvPr>
        </p:nvGraphicFramePr>
        <p:xfrm>
          <a:off x="1937007" y="2573928"/>
          <a:ext cx="9814612" cy="1094400"/>
        </p:xfrm>
        <a:graphic>
          <a:graphicData uri="http://schemas.openxmlformats.org/drawingml/2006/table">
            <a:tbl>
              <a:tblPr firstRow="1" bandRow="1"/>
              <a:tblGrid>
                <a:gridCol w="98146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94400">
                <a:tc>
                  <a:txBody>
                    <a:bodyPr/>
                    <a:lstStyle>
                      <a:defPPr>
                        <a:defRPr lang="el-GR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180975" marR="0" indent="-180975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6F6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op-4</a:t>
                      </a:r>
                      <a:r>
                        <a:rPr lang="en-US" sz="1100" b="1" i="0" dirty="0">
                          <a:solidFill>
                            <a:schemeClr val="accent2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ATC-1s</a:t>
                      </a:r>
                      <a:r>
                        <a:rPr lang="en-US" sz="1100" b="1" i="0" dirty="0">
                          <a:solidFill>
                            <a:schemeClr val="accent2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i="0" dirty="0">
                          <a:solidFill>
                            <a:schemeClr val="tx1"/>
                          </a:solidFill>
                          <a:latin typeface="+mn-lt"/>
                        </a:rPr>
                        <a:t>(A, C, N</a:t>
                      </a:r>
                      <a:r>
                        <a:rPr lang="en-US" sz="1100" b="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i="0" dirty="0">
                          <a:solidFill>
                            <a:schemeClr val="tx1"/>
                          </a:solidFill>
                          <a:latin typeface="+mn-lt"/>
                        </a:rPr>
                        <a:t>and B)</a:t>
                      </a:r>
                      <a:r>
                        <a:rPr lang="en-US" sz="1100" b="0" i="0" dirty="0">
                          <a:solidFill>
                            <a:schemeClr val="accent2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account</a:t>
                      </a:r>
                      <a:r>
                        <a:rPr lang="en-US" sz="1100" b="1" i="0" dirty="0">
                          <a:solidFill>
                            <a:schemeClr val="accent2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i="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for</a:t>
                      </a:r>
                      <a:r>
                        <a:rPr lang="en-US" sz="1100" b="1" i="0" dirty="0">
                          <a:solidFill>
                            <a:schemeClr val="accent2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~</a:t>
                      </a:r>
                      <a:r>
                        <a:rPr lang="en-US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r>
                        <a:rPr lang="en-US" sz="1100" b="1" i="0" dirty="0">
                          <a:solidFill>
                            <a:schemeClr val="accent2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of</a:t>
                      </a:r>
                      <a:r>
                        <a:rPr lang="en-US" sz="1100" b="1" i="0" dirty="0">
                          <a:solidFill>
                            <a:schemeClr val="accent2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en-US" sz="1100" b="1" i="0" dirty="0">
                          <a:solidFill>
                            <a:schemeClr val="accent2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Reimbursed market</a:t>
                      </a:r>
                      <a:r>
                        <a:rPr lang="en-US" sz="1100" b="0" i="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in values</a:t>
                      </a:r>
                      <a:endParaRPr lang="en-US" sz="1100" b="1" i="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  <a:p>
                      <a:pPr marL="180975" marR="0" indent="-180975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6F6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Reimbursed value sales</a:t>
                      </a:r>
                      <a:r>
                        <a:rPr lang="en-US" sz="1100" b="1" i="0" dirty="0">
                          <a:solidFill>
                            <a:schemeClr val="accent2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ncreased</a:t>
                      </a:r>
                      <a:r>
                        <a:rPr lang="en-US" sz="1100" b="1" i="0" dirty="0">
                          <a:solidFill>
                            <a:schemeClr val="accent2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 the last 12 months </a:t>
                      </a:r>
                      <a:r>
                        <a:rPr lang="en-US" sz="11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across top-4 ATC-1s, except N and B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63" name="Table 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2245902"/>
              </p:ext>
            </p:extLst>
          </p:nvPr>
        </p:nvGraphicFramePr>
        <p:xfrm>
          <a:off x="1937006" y="3808556"/>
          <a:ext cx="9814613" cy="1094400"/>
        </p:xfrm>
        <a:graphic>
          <a:graphicData uri="http://schemas.openxmlformats.org/drawingml/2006/table">
            <a:tbl>
              <a:tblPr firstRow="1" bandRow="1"/>
              <a:tblGrid>
                <a:gridCol w="98146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94400">
                <a:tc>
                  <a:txBody>
                    <a:bodyPr/>
                    <a:lstStyle>
                      <a:defPPr>
                        <a:defRPr lang="el-GR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171450" marR="0" indent="-17145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0F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Average price slightly decreases vs. 2014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0F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€46M negative</a:t>
                      </a:r>
                      <a:r>
                        <a:rPr lang="en-US" sz="1100" b="1" dirty="0">
                          <a:solidFill>
                            <a:schemeClr val="accent2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price</a:t>
                      </a:r>
                      <a:r>
                        <a:rPr lang="en-US" sz="1100" b="1" dirty="0">
                          <a:solidFill>
                            <a:schemeClr val="accent2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mpact</a:t>
                      </a:r>
                      <a:r>
                        <a:rPr lang="en-US" sz="1100" b="1" dirty="0">
                          <a:solidFill>
                            <a:schemeClr val="accent2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 the market for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</a:rPr>
                        <a:t>the last 12 months 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9" name="Rectangle 9"/>
          <p:cNvSpPr>
            <a:spLocks noChangeArrowheads="1"/>
          </p:cNvSpPr>
          <p:nvPr/>
        </p:nvSpPr>
        <p:spPr bwMode="auto">
          <a:xfrm>
            <a:off x="477009" y="1339300"/>
            <a:ext cx="1400925" cy="1094400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Market</a:t>
            </a:r>
          </a:p>
          <a:p>
            <a:pPr algn="ctr"/>
            <a:r>
              <a:rPr lang="en-GB" sz="1200" b="1" dirty="0">
                <a:solidFill>
                  <a:schemeClr val="bg1"/>
                </a:solidFill>
              </a:rPr>
              <a:t>overview</a:t>
            </a:r>
          </a:p>
        </p:txBody>
      </p:sp>
      <p:sp>
        <p:nvSpPr>
          <p:cNvPr id="20" name="Rectangle 9"/>
          <p:cNvSpPr>
            <a:spLocks noChangeArrowheads="1"/>
          </p:cNvSpPr>
          <p:nvPr/>
        </p:nvSpPr>
        <p:spPr bwMode="auto">
          <a:xfrm>
            <a:off x="477009" y="2572455"/>
            <a:ext cx="1400925" cy="1095378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Focus on</a:t>
            </a:r>
          </a:p>
          <a:p>
            <a:pPr algn="ctr"/>
            <a:r>
              <a:rPr lang="en-GB" sz="1200" b="1" dirty="0">
                <a:solidFill>
                  <a:schemeClr val="bg1"/>
                </a:solidFill>
              </a:rPr>
              <a:t>ATC-1s </a:t>
            </a:r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477009" y="3808062"/>
            <a:ext cx="1400925" cy="1094400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Pricing &amp; </a:t>
            </a:r>
          </a:p>
          <a:p>
            <a:pPr algn="ctr"/>
            <a:r>
              <a:rPr lang="en-GB" sz="1200" b="1" dirty="0">
                <a:solidFill>
                  <a:schemeClr val="bg1"/>
                </a:solidFill>
              </a:rPr>
              <a:t>Substitution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findings: Overall</a:t>
            </a:r>
            <a:endParaRPr lang="el-GR" dirty="0"/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94533EA8-9ADE-441D-8693-8FB34BA205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3427783"/>
              </p:ext>
            </p:extLst>
          </p:nvPr>
        </p:nvGraphicFramePr>
        <p:xfrm>
          <a:off x="1937006" y="5043183"/>
          <a:ext cx="9814613" cy="1094400"/>
        </p:xfrm>
        <a:graphic>
          <a:graphicData uri="http://schemas.openxmlformats.org/drawingml/2006/table">
            <a:tbl>
              <a:tblPr firstRow="1" bandRow="1"/>
              <a:tblGrid>
                <a:gridCol w="98146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94400">
                <a:tc>
                  <a:txBody>
                    <a:bodyPr/>
                    <a:lstStyle>
                      <a:defPPr>
                        <a:defRPr lang="el-GR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0F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A3E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reece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558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mains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558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A3E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ather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558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A3E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wer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558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 terms of 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A3E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x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558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A3E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olume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558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enetration while 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A3E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x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558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A3E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ices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558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e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558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A3E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igher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558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A3E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s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558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A3E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U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558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alogue countrie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0F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gether with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A3E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taly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nd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558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A3E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ortugal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558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ith highest share of 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A3E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w-price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558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A3E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rug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5" name="Rectangle 9">
            <a:extLst>
              <a:ext uri="{FF2B5EF4-FFF2-40B4-BE49-F238E27FC236}">
                <a16:creationId xmlns:a16="http://schemas.microsoft.com/office/drawing/2014/main" id="{C4FE956A-C6B3-4400-95EF-4C29AF0754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009" y="5042692"/>
            <a:ext cx="1400925" cy="1094400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EU Benchmarking</a:t>
            </a:r>
          </a:p>
        </p:txBody>
      </p:sp>
    </p:spTree>
    <p:extLst>
      <p:ext uri="{BB962C8B-B14F-4D97-AF65-F5344CB8AC3E}">
        <p14:creationId xmlns:p14="http://schemas.microsoft.com/office/powerpoint/2010/main" val="599375863"/>
      </p:ext>
    </p:extLst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248764A-8947-426D-9B8F-679FB0D21B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6586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5" imgW="592" imgH="591" progId="TCLayout.ActiveDocument.1">
                  <p:embed/>
                </p:oleObj>
              </mc:Choice>
              <mc:Fallback>
                <p:oleObj name="think-cell Slide" r:id="rId155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248764A-8947-426D-9B8F-679FB0D21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1" name="Straight Connector 170"/>
          <p:cNvCxnSpPr>
            <a:cxnSpLocks/>
          </p:cNvCxnSpPr>
          <p:nvPr>
            <p:custDataLst>
              <p:tags r:id="rId2"/>
            </p:custDataLst>
          </p:nvPr>
        </p:nvCxnSpPr>
        <p:spPr bwMode="auto">
          <a:xfrm flipH="1">
            <a:off x="862013" y="4976813"/>
            <a:ext cx="42863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0824F90-A632-4673-BC8A-154E9FBB3B32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862013" y="2392363"/>
            <a:ext cx="42862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Straight Connector 167"/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862013" y="3827463"/>
            <a:ext cx="42863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4" name="Straight Connector 173"/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H="1">
            <a:off x="862013" y="5210175"/>
            <a:ext cx="42863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A78B6AC-8B1A-43EC-B653-E23A7382E5DF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H="1">
            <a:off x="862013" y="325437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/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H="1">
            <a:off x="862013" y="3541713"/>
            <a:ext cx="42863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B76CBBD-0CA0-416C-85AB-75C765C85039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H="1">
            <a:off x="862013" y="2679700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/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H="1">
            <a:off x="862013" y="4689475"/>
            <a:ext cx="42863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7C22BDB-C4D3-41D2-8801-45449A9796F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 flipH="1">
            <a:off x="862013" y="2967038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/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 flipH="1">
            <a:off x="862013" y="4402138"/>
            <a:ext cx="42863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6" name="Straight Connector 165"/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 flipH="1">
            <a:off x="862013" y="4114800"/>
            <a:ext cx="42863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820B7C1F-7998-A006-864E-D346C9DD7CAE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74649089"/>
              </p:ext>
            </p:extLst>
          </p:nvPr>
        </p:nvGraphicFramePr>
        <p:xfrm>
          <a:off x="822325" y="2309813"/>
          <a:ext cx="10547350" cy="2982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7"/>
          </a:graphicData>
        </a:graphic>
      </p:graphicFrame>
      <p:sp>
        <p:nvSpPr>
          <p:cNvPr id="179" name="Rectangle 147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636588" y="4325938"/>
            <a:ext cx="139700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pPr algn="r"/>
            <a:fld id="{93B5427D-62F4-4831-A29F-E8C03E7DCB33}" type="datetime'''''''''''''''''''9''0'''''''''''''''''">
              <a:rPr lang="en-US" altLang="en-US" sz="1000">
                <a:cs typeface="Arial" panose="020B0604020202020204" pitchFamily="34" charset="0"/>
              </a:rPr>
              <a:pPr/>
              <a:t>90</a:t>
            </a:fld>
            <a:endParaRPr lang="en-US" sz="10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F8585B0-C20D-407B-8118-61D500570BC4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566738" y="2903538"/>
            <a:ext cx="2095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EA3B37D-0358-4296-93E1-12458AC5489C}" type="datetime'1''''''''4''''''''''''''''''''''''0'''''''''''''''''''''''">
              <a:rPr lang="en-US" altLang="en-US" sz="1000" smtClean="0">
                <a:solidFill>
                  <a:schemeClr val="tx1"/>
                </a:solidFill>
                <a:cs typeface="Arial" panose="020B0604020202020204" pitchFamily="34" charset="0"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0</a:t>
            </a:fld>
            <a:endParaRPr lang="en-US" sz="10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84" name="Rectangle 171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566738" y="3751263"/>
            <a:ext cx="209550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pPr algn="r"/>
            <a:fld id="{FAC7EFA0-F86E-4ED7-9393-854D8292A87B}" type="datetime'''''''''''''''''1''''''''1''''''''''''''''''0'''''''''''''">
              <a:rPr lang="en-US" altLang="en-US" sz="1000">
                <a:cs typeface="Arial" panose="020B0604020202020204" pitchFamily="34" charset="0"/>
              </a:rPr>
              <a:pPr/>
              <a:t>110</a:t>
            </a:fld>
            <a:endParaRPr lang="en-US" sz="10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80" name="Rectangle 152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566738" y="3465513"/>
            <a:ext cx="209550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pPr algn="r"/>
            <a:fld id="{74C7F5CB-D149-4A1C-8EA4-2B709DC63457}" type="datetime'''1''''''''''''''''''''''''''''2''''''''0'">
              <a:rPr lang="en-US" altLang="en-US" sz="1000">
                <a:cs typeface="Arial" panose="020B0604020202020204" pitchFamily="34" charset="0"/>
              </a:rPr>
              <a:pPr/>
              <a:t>120</a:t>
            </a:fld>
            <a:endParaRPr lang="en-US" sz="10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DACC7DF-9B07-4F43-9823-1BD86A6F8B04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566738" y="3190875"/>
            <a:ext cx="2095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F5E4A20-398E-46A0-AE38-AC6ABDB0F87E}" type="datetime'''''''''''''''1''''''''''''''''''''3''''''''''0'''">
              <a:rPr lang="en-US" altLang="en-US" sz="1000" smtClean="0">
                <a:solidFill>
                  <a:schemeClr val="tx1"/>
                </a:solidFill>
                <a:cs typeface="Arial" panose="020B0604020202020204" pitchFamily="34" charset="0"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30</a:t>
            </a:fld>
            <a:endParaRPr lang="en-US" sz="10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82" name="Rectangle 181"/>
          <p:cNvSpPr/>
          <p:nvPr>
            <p:custDataLst>
              <p:tags r:id="rId19"/>
            </p:custDataLst>
          </p:nvPr>
        </p:nvSpPr>
        <p:spPr bwMode="gray">
          <a:xfrm>
            <a:off x="636588" y="4900613"/>
            <a:ext cx="1397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fld id="{A83220C4-AA59-4823-AFC2-8AAB6FC0A1C8}" type="datetime'''''''''''''''''''''''''''7''''''''''0'''''''">
              <a:rPr lang="en-US" altLang="en-US" sz="1000">
                <a:cs typeface="Arial" panose="020B0604020202020204" pitchFamily="34" charset="0"/>
              </a:rPr>
              <a:pPr/>
              <a:t>70</a:t>
            </a:fld>
            <a:endParaRPr kumimoji="0" lang="el-GR" sz="1000" strike="noStrike" cap="none" normalizeH="0">
              <a:ln>
                <a:noFill/>
              </a:ln>
              <a:effectLst/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83" name="Rectangle 53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706438" y="5133975"/>
            <a:ext cx="69850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pPr algn="r"/>
            <a:fld id="{60D911BB-2290-4879-9854-E5279B36132B}" type="datetime'''0'''''''''''''''''''''''''''''''''''''''''''''''''">
              <a:rPr lang="en-US" altLang="en-US" sz="1000">
                <a:cs typeface="Arial" panose="020B0604020202020204" pitchFamily="34" charset="0"/>
              </a:rPr>
              <a:pPr/>
              <a:t>0</a:t>
            </a:fld>
            <a:endParaRPr lang="en-US" sz="10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76" name="Rectangle 169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636588" y="4613275"/>
            <a:ext cx="139700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pPr algn="r"/>
            <a:fld id="{6147BB2E-734D-47C9-B852-0F816C6C20D3}" type="datetime'''8''0'''''''''''''''">
              <a:rPr lang="en-US" altLang="en-US" sz="1000">
                <a:cs typeface="Arial" panose="020B0604020202020204" pitchFamily="34" charset="0"/>
              </a:rPr>
              <a:pPr/>
              <a:t>80</a:t>
            </a:fld>
            <a:endParaRPr lang="en-US" sz="10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52B66B-CD40-44CC-97AB-6272DA386060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566738" y="2616200"/>
            <a:ext cx="2095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8E02234-2570-4E69-A249-31183A0EDC68}" type="datetime'''''''''''1''''''''''''''''''''''''5''''''''''''''0'''">
              <a:rPr lang="en-US" altLang="en-US" sz="1000" smtClean="0">
                <a:solidFill>
                  <a:schemeClr val="tx1"/>
                </a:solidFill>
                <a:cs typeface="Arial" panose="020B0604020202020204" pitchFamily="34" charset="0"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0</a:t>
            </a:fld>
            <a:endParaRPr lang="en-US" sz="10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0A36ACE-7B4D-414F-B888-6008C8BD897F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566738" y="2328864"/>
            <a:ext cx="209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0EEDA97-02F4-4487-B216-B27846C3504D}" type="datetime'''''''16''''''0'''''''''''''''''''''''''''''''''">
              <a:rPr lang="en-US" altLang="en-US" sz="1000" smtClean="0">
                <a:solidFill>
                  <a:schemeClr val="tx1"/>
                </a:solidFill>
                <a:sym typeface="Arial" panose="020B060402020202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60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78" name="Rectangle 170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566738" y="4038600"/>
            <a:ext cx="209550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pPr algn="r"/>
            <a:fld id="{01849062-F70A-495D-8FBD-5368DC7D871E}" type="datetime'''''''''''''''''''''''''''1''''''''''''''''''''''''0''0'''''''">
              <a:rPr lang="en-US" altLang="en-US" sz="1000">
                <a:cs typeface="Arial" panose="020B0604020202020204" pitchFamily="34" charset="0"/>
              </a:rPr>
              <a:pPr/>
              <a:t>100</a:t>
            </a:fld>
            <a:endParaRPr lang="en-US" sz="1000">
              <a:latin typeface="Arial"/>
              <a:cs typeface="Arial" panose="020B0604020202020204" pitchFamily="34" charset="0"/>
              <a:sym typeface="Arial"/>
            </a:endParaRPr>
          </a:p>
        </p:txBody>
      </p:sp>
      <p:sp useBgFill="1">
        <p:nvSpPr>
          <p:cNvPr id="27" name="Freeform: Shape 26">
            <a:extLst>
              <a:ext uri="{FF2B5EF4-FFF2-40B4-BE49-F238E27FC236}">
                <a16:creationId xmlns:a16="http://schemas.microsoft.com/office/drawing/2014/main" id="{7E6C361B-47BC-B445-6DF1-F7DA44C72A04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831850" y="5032375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9F5CB33-B053-4526-D19A-A9E390295123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831850" y="503237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2E870E9D-34E6-52AD-1558-3181D658B581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831850" y="508952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6" name="Rectangle 305">
            <a:extLst>
              <a:ext uri="{FF2B5EF4-FFF2-40B4-BE49-F238E27FC236}">
                <a16:creationId xmlns:a16="http://schemas.microsoft.com/office/drawing/2014/main" id="{1A4CF68B-F23F-44F2-85DA-27AC646CBC6A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2513013" y="3527426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4205E97-59E0-472D-951D-B8DEE41557D4}" type="datetime'''''''''''1''''''''''''''''''1''''''''''''''2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12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336" name="Rectangle 335">
            <a:extLst>
              <a:ext uri="{FF2B5EF4-FFF2-40B4-BE49-F238E27FC236}">
                <a16:creationId xmlns:a16="http://schemas.microsoft.com/office/drawing/2014/main" id="{0FF9EA4E-27EC-4093-88A2-73495B8C10B6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3702050" y="4227514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F9D243B-BF5B-4B4B-A63E-355EB09CA265}" type="datetime'''''''''''''''''''''''''''''''''''''''88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8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0" name="Text Placeholder 6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103313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79EEB91-965E-42B6-A434-40085E603EEC}" type="datetime'''''''''''''''''Q''''''''''''''''2''&#10;''1''4'''">
              <a:rPr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Q2
14</a:t>
            </a:fld>
            <a:endParaRPr lang="el-GR" sz="1000" b="0" dirty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8C16FCE1-8B21-40EB-B9EA-89CEEDBE2163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8280400" y="2559051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3971BFE-FA3B-47AA-A437-427B17B509BC}" type="datetime'''''''''1''''''''''''4''''''''''''''''''''6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6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9" name="Text Placeholder 144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275138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C10B33C-1E77-4957-BF16-847754E0B5CB}" type="datetime'''Q''''''''''''''''1''''''&#10;''''''''''''1''''''7'''''''''">
              <a:rPr lang="el-GR" altLang="en-US" sz="1000">
                <a:solidFill>
                  <a:schemeClr val="tx1"/>
                </a:solidFill>
              </a:rPr>
              <a:pPr/>
              <a:t>Q1
17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97" name="Text Placeholder 8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679575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4B2325A-6305-45D7-878C-196B3DA0E645}" type="datetime'''''''Q''''''''''4''''''''''''''''''''''''&#10;''14'''''''">
              <a:rPr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Q4
14</a:t>
            </a:fld>
            <a:endParaRPr lang="el-GR" sz="10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75" name="Text Placeholder 144">
            <a:extLst>
              <a:ext uri="{FF2B5EF4-FFF2-40B4-BE49-F238E27FC236}">
                <a16:creationId xmlns:a16="http://schemas.microsoft.com/office/drawing/2014/main" id="{BAEAE43A-08BD-40D8-97A5-E122D7A66CA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581775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E477F3F-5A4D-4AD7-88E7-8111CD4F5B56}" type="datetime'''''''''''''''Q1''&#10;''''''''''''''1''''''''''''''''9'''''">
              <a:rPr lang="el-GR" altLang="en-US" sz="1000" smtClean="0">
                <a:solidFill>
                  <a:schemeClr val="tx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Q1
19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 useBgFill="1">
        <p:nvSpPr>
          <p:cNvPr id="233" name="Rectangle 232">
            <a:extLst>
              <a:ext uri="{FF2B5EF4-FFF2-40B4-BE49-F238E27FC236}">
                <a16:creationId xmlns:a16="http://schemas.microsoft.com/office/drawing/2014/main" id="{7605B95A-5BFF-452F-A82D-BF536FC35E1E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936625" y="3876676"/>
            <a:ext cx="24447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67674F4-8E26-468B-A28A-1D5086671CE7}" type="datetime'''''''''''''''1''''0''''''''''''''''''''''''''0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339" name="Rectangle 338">
            <a:extLst>
              <a:ext uri="{FF2B5EF4-FFF2-40B4-BE49-F238E27FC236}">
                <a16:creationId xmlns:a16="http://schemas.microsoft.com/office/drawing/2014/main" id="{4FB3BD98-AA08-4802-9D0C-893426D21F40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3702050" y="4429126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E290E4A-4A8C-48BD-8FA5-54655DEA6C02}" type="datetime'''''''''''8''''1''''''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1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103" name="Rectangle 102">
            <a:extLst>
              <a:ext uri="{FF2B5EF4-FFF2-40B4-BE49-F238E27FC236}">
                <a16:creationId xmlns:a16="http://schemas.microsoft.com/office/drawing/2014/main" id="{5EDF3775-FD3D-4477-9A0F-2A0F8572248C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4819650" y="3841751"/>
            <a:ext cx="24447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09E54F2-E1A6-4889-A367-B15F877AD241}" type="datetime'1''''''''''''''0''''1''''''''''''''''''''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1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1" name="Rectangle 310">
            <a:extLst>
              <a:ext uri="{FF2B5EF4-FFF2-40B4-BE49-F238E27FC236}">
                <a16:creationId xmlns:a16="http://schemas.microsoft.com/office/drawing/2014/main" id="{B0FE725D-E48A-4844-A7F0-A9AE4F5C01C1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2547938" y="4092576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3DBF55C-CF72-42F8-BCD7-5B14F2C87209}" type="datetime'''''''''''''''''''''''93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3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5" name="Text Placeholder 144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3986213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B70C512E-22CE-4E5C-890A-61D9969592D0}" type="datetime'Q''''''''4''''&#10;''''''''''''1''''''''''6'''''''''''''">
              <a:rPr lang="el-GR" altLang="en-US" sz="1000">
                <a:solidFill>
                  <a:schemeClr val="tx1"/>
                </a:solidFill>
              </a:rPr>
              <a:pPr/>
              <a:t>Q4
16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314" name="Text Placeholder 144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3698875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66890456-2244-4E18-98BC-7D09F0BBC9E1}" type="datetime'''''''''Q''3&#10;''''''''''''''''''''1''''''''''''6'''''">
              <a:rPr lang="el-GR" altLang="en-US" sz="1000">
                <a:solidFill>
                  <a:schemeClr val="tx1"/>
                </a:solidFill>
              </a:rPr>
              <a:pPr/>
              <a:t>Q3
16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 useBgFill="1">
        <p:nvSpPr>
          <p:cNvPr id="310" name="Rectangle 309">
            <a:extLst>
              <a:ext uri="{FF2B5EF4-FFF2-40B4-BE49-F238E27FC236}">
                <a16:creationId xmlns:a16="http://schemas.microsoft.com/office/drawing/2014/main" id="{05731D74-6F41-48B5-BE22-CC9FEEDACC98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2547938" y="4083051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872561C-C6A3-4B3C-85C2-9EB4B9997F2F}" type="datetime'''9''''''''''''''''''''''''''''''''''''''''''''''3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3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244" name="Rectangle 243">
            <a:extLst>
              <a:ext uri="{FF2B5EF4-FFF2-40B4-BE49-F238E27FC236}">
                <a16:creationId xmlns:a16="http://schemas.microsoft.com/office/drawing/2014/main" id="{0DEE4D80-5E74-46E6-A181-F54A112D54DC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936625" y="3876676"/>
            <a:ext cx="24447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9812082-7DC3-426B-939A-F9DBED9F891A}" type="datetime'''''''''''''''''''''''''10''''''0''''''''''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7" name="Text Placeholder 7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390650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D06D95C-8944-477D-9EC9-146D636903D0}" type="datetime'''''''''''Q''''''''''''''''3''''''''''''''''&#10;''''''''''14'''">
              <a:rPr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Q3
14</a:t>
            </a:fld>
            <a:endParaRPr lang="el-GR" sz="10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63" name="Rectangle 203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750888" y="1922463"/>
            <a:ext cx="307975" cy="3048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b"/>
          <a:lstStyle/>
          <a:p>
            <a:pPr algn="ctr"/>
            <a:r>
              <a:rPr lang="en-US" sz="1000">
                <a:latin typeface="Arial"/>
                <a:cs typeface="Arial"/>
                <a:sym typeface="Arial"/>
              </a:rPr>
              <a:t>Price</a:t>
            </a:r>
          </a:p>
          <a:p>
            <a:pPr algn="ctr"/>
            <a:r>
              <a:rPr lang="en-US" sz="1000">
                <a:latin typeface="Arial"/>
                <a:cs typeface="Arial"/>
                <a:sym typeface="Arial"/>
              </a:rPr>
              <a:t>Index</a:t>
            </a:r>
            <a:endParaRPr lang="el-GR" sz="1000">
              <a:latin typeface="Arial"/>
              <a:cs typeface="Arial"/>
              <a:sym typeface="Arial"/>
            </a:endParaRPr>
          </a:p>
        </p:txBody>
      </p:sp>
      <p:sp useBgFill="1">
        <p:nvSpPr>
          <p:cNvPr id="236" name="Rectangle 235">
            <a:extLst>
              <a:ext uri="{FF2B5EF4-FFF2-40B4-BE49-F238E27FC236}">
                <a16:creationId xmlns:a16="http://schemas.microsoft.com/office/drawing/2014/main" id="{A2499022-80E8-471D-BF6C-59DD521F5E52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936625" y="3876676"/>
            <a:ext cx="24447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E1244B0-3561-40A6-9C3E-F762C8AC7F18}" type="datetime'''''''''''1''0''''0''''''''''''''''''''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237" name="Rectangle 236">
            <a:extLst>
              <a:ext uri="{FF2B5EF4-FFF2-40B4-BE49-F238E27FC236}">
                <a16:creationId xmlns:a16="http://schemas.microsoft.com/office/drawing/2014/main" id="{1B096831-54C2-416F-9C7C-3D242CFBAFB0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936625" y="3876676"/>
            <a:ext cx="24447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8262D4C-C108-4F44-94A3-AB67587E57D5}" type="datetime'''''''''''1''''''''''''''''''0''''''''''''0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1" name="Rectangle 410">
            <a:extLst>
              <a:ext uri="{FF2B5EF4-FFF2-40B4-BE49-F238E27FC236}">
                <a16:creationId xmlns:a16="http://schemas.microsoft.com/office/drawing/2014/main" id="{89771F5A-030B-47D6-AFD9-27BCF917D558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9469438" y="4629151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E5EE7C7-2762-4174-AD87-C4EA6DD7E312}" type="datetime'''''''''''''''''''''''''''''7''''''''''''''4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4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238" name="Rectangle 237">
            <a:extLst>
              <a:ext uri="{FF2B5EF4-FFF2-40B4-BE49-F238E27FC236}">
                <a16:creationId xmlns:a16="http://schemas.microsoft.com/office/drawing/2014/main" id="{F1C35996-39FF-4201-BBE0-A2F2F6FA434A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936625" y="3876676"/>
            <a:ext cx="24447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9ACBDCD-2021-4927-8778-AC53AA54D164}" type="datetime'''''''''''1''''''''''''''''0''''0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1" name="Text Placeholder 5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814388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F4CA3B6-3236-438E-B412-0E055F801AE5}" type="datetime'''''''Q''''''''''''''''1''''&#10;''''''1''4'''''''">
              <a:rPr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Q1
14</a:t>
            </a:fld>
            <a:endParaRPr lang="el-GR" sz="10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309" name="Text Placeholder 11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2255838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76A6FA2-7448-41F5-956D-2114ADF9C7B3}" type="datetime'''''''''''''''Q2''''&#10;''''''1''''''''''''''''''5'">
              <a:rPr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Q2
15</a:t>
            </a:fld>
            <a:endParaRPr lang="el-GR" sz="1000" b="0" dirty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 useBgFill="1">
        <p:nvSpPr>
          <p:cNvPr id="255" name="Rectangle 254">
            <a:extLst>
              <a:ext uri="{FF2B5EF4-FFF2-40B4-BE49-F238E27FC236}">
                <a16:creationId xmlns:a16="http://schemas.microsoft.com/office/drawing/2014/main" id="{E9B564C9-1903-F6BF-D774-D0CA3A43ABB4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11199813" y="4659313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0D285C0-FD71-43FD-9515-11DF9A343201}" type="datetime'''''''''''''''''''''7''''''''''''''''''''''3''''''''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/>
              <a:t>73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 useBgFill="1">
        <p:nvSpPr>
          <p:cNvPr id="305" name="Rectangle 304">
            <a:extLst>
              <a:ext uri="{FF2B5EF4-FFF2-40B4-BE49-F238E27FC236}">
                <a16:creationId xmlns:a16="http://schemas.microsoft.com/office/drawing/2014/main" id="{6A26FEAC-0DD5-40A2-AF80-7B40517CCB59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2513013" y="3819526"/>
            <a:ext cx="24447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74F192F-4646-4234-B481-BC8508E69339}" type="datetime'''''''''''''''''''''''''''''''''''1''''0''''''''2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2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8" name="Text Placeholder 144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3409950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B2C035F-3D16-4172-9EBF-C5A623656BBD}" type="datetime'Q''''''''''''''''''''''''''''''''''''2&#10;''''''1''''''''6'">
              <a:rPr lang="el-GR" altLang="en-US" sz="1000">
                <a:solidFill>
                  <a:schemeClr val="tx1"/>
                </a:solidFill>
              </a:rPr>
              <a:pPr/>
              <a:t>Q2
16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312" name="Rectangle 311">
            <a:extLst>
              <a:ext uri="{FF2B5EF4-FFF2-40B4-BE49-F238E27FC236}">
                <a16:creationId xmlns:a16="http://schemas.microsoft.com/office/drawing/2014/main" id="{2FF06F39-7CE7-466F-8E50-E4882CCF7C88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2547938" y="4124326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0C4387B-BC03-421F-9B7B-0FCFF442C9CA}" type="datetime'''''''''''''''''''''''''''''''''''''''''9''1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1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3" name="Rectangle 312">
            <a:extLst>
              <a:ext uri="{FF2B5EF4-FFF2-40B4-BE49-F238E27FC236}">
                <a16:creationId xmlns:a16="http://schemas.microsoft.com/office/drawing/2014/main" id="{39A95BA3-4DE9-4474-8B74-D4FD2E576F81}"/>
              </a:ext>
            </a:extLst>
          </p:cNvPr>
          <p:cNvSpPr/>
          <p:nvPr>
            <p:custDataLst>
              <p:tags r:id="rId55"/>
            </p:custDataLst>
          </p:nvPr>
        </p:nvSpPr>
        <p:spPr bwMode="gray">
          <a:xfrm>
            <a:off x="2513013" y="3530601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A47E59D-9439-46EC-B4C9-8F6DC1ED053C}" type="datetime'1''''1''''2''''''''''''''''''''''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12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E97A9187-24A6-4A88-905C-E4EB05252EA7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4854575" y="4437064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93B2EF1-11C6-4053-B00D-ADA1C84ED849}" type="datetime'''''''''''''''''''''8''''''''''''''''''''''''''''''''''1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1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3" name="Text Placeholder 144">
            <a:extLst>
              <a:ext uri="{FF2B5EF4-FFF2-40B4-BE49-F238E27FC236}">
                <a16:creationId xmlns:a16="http://schemas.microsoft.com/office/drawing/2014/main" id="{D587264C-FB90-4C9F-A383-D9061649D349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10907713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1E8CAC2-D0C2-4E66-B0E5-A50692584BD9}" type="datetime'''''''Q''''''4''&#10;2''''''''''''''''2'''''''''''''''">
              <a:rPr lang="en-US" altLang="en-US" sz="10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4
22</a:t>
            </a:fld>
            <a:endParaRPr lang="el-GR" sz="1000" dirty="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259" name="Text Placeholder 55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2544763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5E01E38-B433-4408-B822-E8EB357415AF}" type="datetime'Q''''3''''''''''''''''''''''''&#10;''''15'''''''''''''''''">
              <a:rPr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Q3
15</a:t>
            </a:fld>
            <a:endParaRPr lang="el-GR" sz="10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62" name="Text Placeholder 144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3121025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31621FC-EF5C-445C-AE01-040E34422DD8}" type="datetime'''''''''''''''Q1''&#10;''16'''''''''''''''''''''''''''''''''''">
              <a:rPr lang="en-US" altLang="en-US" sz="1000">
                <a:solidFill>
                  <a:schemeClr val="tx1"/>
                </a:solidFill>
              </a:rPr>
              <a:pPr/>
              <a:t>Q1
16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307" name="Text Placeholder 106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2833688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B1F1AF7-5E11-4C1A-8EA3-C8656B5C8B0D}" type="datetime'''''''''Q''''''''''''4''''''''&#10;''1''''''5'''''''''''''''''''">
              <a:rPr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Q4
15</a:t>
            </a:fld>
            <a:endParaRPr lang="el-GR" sz="10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 useBgFill="1">
        <p:nvSpPr>
          <p:cNvPr id="334" name="Rectangle 333">
            <a:extLst>
              <a:ext uri="{FF2B5EF4-FFF2-40B4-BE49-F238E27FC236}">
                <a16:creationId xmlns:a16="http://schemas.microsoft.com/office/drawing/2014/main" id="{76AF4424-CC01-4D1F-9113-AC4B7E1AA8B8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3667125" y="3798889"/>
            <a:ext cx="24447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EE59495-CF2F-47A5-9964-2C296CFA4A1E}" type="datetime'''''''''''1''''0''3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3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3E9EFDFC-4155-4422-90FC-006009FCCFD1}"/>
              </a:ext>
            </a:extLst>
          </p:cNvPr>
          <p:cNvSpPr/>
          <p:nvPr>
            <p:custDataLst>
              <p:tags r:id="rId62"/>
            </p:custDataLst>
          </p:nvPr>
        </p:nvSpPr>
        <p:spPr bwMode="gray">
          <a:xfrm>
            <a:off x="3667125" y="3332164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D455598-91E4-4AA1-A7F4-A21DE893F154}" type="datetime'''1''''''''''1''''''9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19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338" name="Rectangle 337">
            <a:extLst>
              <a:ext uri="{FF2B5EF4-FFF2-40B4-BE49-F238E27FC236}">
                <a16:creationId xmlns:a16="http://schemas.microsoft.com/office/drawing/2014/main" id="{3AD91F81-FEAF-4D38-8DBA-817B664ABA58}"/>
              </a:ext>
            </a:extLst>
          </p:cNvPr>
          <p:cNvSpPr/>
          <p:nvPr>
            <p:custDataLst>
              <p:tags r:id="rId63"/>
            </p:custDataLst>
          </p:nvPr>
        </p:nvSpPr>
        <p:spPr bwMode="gray">
          <a:xfrm>
            <a:off x="3702050" y="4067176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1451D57-529A-4599-9184-4F951EE4EEB2}" type="datetime'''''''''''''''''''''''''''''9''3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3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0" name="Rectangle 339">
            <a:extLst>
              <a:ext uri="{FF2B5EF4-FFF2-40B4-BE49-F238E27FC236}">
                <a16:creationId xmlns:a16="http://schemas.microsoft.com/office/drawing/2014/main" id="{B05F5061-F7CF-4EEF-963C-0E0AC22FED74}"/>
              </a:ext>
            </a:extLst>
          </p:cNvPr>
          <p:cNvSpPr/>
          <p:nvPr>
            <p:custDataLst>
              <p:tags r:id="rId64"/>
            </p:custDataLst>
          </p:nvPr>
        </p:nvSpPr>
        <p:spPr bwMode="gray">
          <a:xfrm>
            <a:off x="3667125" y="3671889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5334F2E-5B5C-41CE-866E-5E8ED43838B6}" type="datetime'''''''''''''''10''''''''''''7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7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1" name="Text Placeholder 144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4564063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A2A9EDF-9AFB-4C97-817A-3FB94B398C17}" type="datetime'''Q''2''&#10;''''''''''''''''''''''''''''''1''''''''''''''''''7'">
              <a:rPr lang="el-GR" altLang="en-US" sz="1000">
                <a:solidFill>
                  <a:schemeClr val="tx1"/>
                </a:solidFill>
              </a:rPr>
              <a:pPr/>
              <a:t>Q2
17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B062C82C-2DBE-4BD4-89EF-AC91FEE48B3C}"/>
              </a:ext>
            </a:extLst>
          </p:cNvPr>
          <p:cNvSpPr/>
          <p:nvPr>
            <p:custDataLst>
              <p:tags r:id="rId66"/>
            </p:custDataLst>
          </p:nvPr>
        </p:nvSpPr>
        <p:spPr bwMode="gray">
          <a:xfrm>
            <a:off x="4819650" y="3106739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1221CD4-B2A5-488E-8BF6-F0CA512C112C}" type="datetime'''''''''''''''''''''''''''''1''''''''''''2''7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7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106" name="Rectangle 105">
            <a:extLst>
              <a:ext uri="{FF2B5EF4-FFF2-40B4-BE49-F238E27FC236}">
                <a16:creationId xmlns:a16="http://schemas.microsoft.com/office/drawing/2014/main" id="{B3F82051-CEAA-4BA9-9F22-8DAD25522405}"/>
              </a:ext>
            </a:extLst>
          </p:cNvPr>
          <p:cNvSpPr/>
          <p:nvPr>
            <p:custDataLst>
              <p:tags r:id="rId67"/>
            </p:custDataLst>
          </p:nvPr>
        </p:nvSpPr>
        <p:spPr bwMode="gray">
          <a:xfrm>
            <a:off x="4854575" y="3970339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6B1013A-4ED5-4EF0-B5D7-DCB6777E5309}" type="datetime'''''''9''7''''''''''''''''''''''''''''''''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7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107" name="Rectangle 106">
            <a:extLst>
              <a:ext uri="{FF2B5EF4-FFF2-40B4-BE49-F238E27FC236}">
                <a16:creationId xmlns:a16="http://schemas.microsoft.com/office/drawing/2014/main" id="{E80DD75E-8448-40AE-A651-C1CEE6864C83}"/>
              </a:ext>
            </a:extLst>
          </p:cNvPr>
          <p:cNvSpPr/>
          <p:nvPr>
            <p:custDataLst>
              <p:tags r:id="rId68"/>
            </p:custDataLst>
          </p:nvPr>
        </p:nvSpPr>
        <p:spPr bwMode="gray">
          <a:xfrm>
            <a:off x="4854575" y="4627564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0BDDB1C-06FB-4428-9A41-2C941624C8E6}" type="datetime'''''''''''7''4''''''''''''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4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16207493-825A-429E-8E03-1451922E9B07}"/>
              </a:ext>
            </a:extLst>
          </p:cNvPr>
          <p:cNvSpPr/>
          <p:nvPr>
            <p:custDataLst>
              <p:tags r:id="rId69"/>
            </p:custDataLst>
          </p:nvPr>
        </p:nvSpPr>
        <p:spPr bwMode="gray">
          <a:xfrm>
            <a:off x="4819650" y="3771901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AFDEAEE-B1C1-4514-9389-8005084308A3}" type="datetime'''''''''''''''''1''''''''0''''''''4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4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1" name="Text Placeholder 144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4851400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BA06EBEB-6A3B-401F-B8F8-13D36CEEFE6B}" type="datetime'''''''''''''''''''''Q''''''''3''''''&#10;''''''''1''7'''''''''">
              <a:rPr lang="el-GR" altLang="en-US" sz="1000">
                <a:solidFill>
                  <a:schemeClr val="tx1"/>
                </a:solidFill>
              </a:rPr>
              <a:pPr/>
              <a:t>Q3
17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258" name="Text Placeholder 144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5140325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0FA395F-AEE1-479A-986E-728D45920890}" type="datetime'''''''''''''''Q''''''4''''''''&#10;''1''''7'''''''''''''''''''">
              <a:rPr lang="el-GR" altLang="en-US" sz="1000">
                <a:solidFill>
                  <a:schemeClr val="tx1"/>
                </a:solidFill>
              </a:rPr>
              <a:pPr/>
              <a:t>Q4
17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37" name="Text Placeholder 144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5716588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DFDD2B3-A05D-4AAC-8EE0-55581E8DAB78}" type="datetime'''Q''''''2''''''''&#10;1''''''8'''''''''''''''">
              <a:rPr lang="el-GR" altLang="en-US" sz="1000">
                <a:solidFill>
                  <a:schemeClr val="tx1"/>
                </a:solidFill>
              </a:rPr>
              <a:pPr/>
              <a:t>Q2
18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6BA47911-5721-45A5-B4B5-5A621A34266E}"/>
              </a:ext>
            </a:extLst>
          </p:cNvPr>
          <p:cNvSpPr/>
          <p:nvPr>
            <p:custDataLst>
              <p:tags r:id="rId73"/>
            </p:custDataLst>
          </p:nvPr>
        </p:nvSpPr>
        <p:spPr bwMode="gray">
          <a:xfrm>
            <a:off x="5973763" y="3719514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F585258-EEDC-4744-90F7-08394E7B70FF}" type="datetime'''''''''''''''''''''''''''''''''''''''1''''0''''''''5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5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3E1975A1-DEDF-4CA8-A431-CC46BCB16049}"/>
              </a:ext>
            </a:extLst>
          </p:cNvPr>
          <p:cNvSpPr/>
          <p:nvPr>
            <p:custDataLst>
              <p:tags r:id="rId74"/>
            </p:custDataLst>
          </p:nvPr>
        </p:nvSpPr>
        <p:spPr bwMode="gray">
          <a:xfrm>
            <a:off x="5973763" y="2897189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5AB922A-9CBD-4D3C-8467-ED5107DB7F2B}" type="datetime'''''''''''''''''''''''''1''''''''''''''''''''''''3''4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34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5" name="Text Placeholder 144">
            <a:extLst>
              <a:ext uri="{FF2B5EF4-FFF2-40B4-BE49-F238E27FC236}">
                <a16:creationId xmlns:a16="http://schemas.microsoft.com/office/drawing/2014/main" id="{5622778F-5002-4127-ABFE-2311FAD8C609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8312150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C4825DF-562D-450A-B157-3EE049D6647A}" type="datetime'''''Q3''&#10;''''''''''2''''''''''''''''''''''''0'''''''''">
              <a:rPr lang="en-US" altLang="en-US" sz="1000" smtClean="0">
                <a:solidFill>
                  <a:schemeClr val="tx1"/>
                </a:solidFill>
              </a:rPr>
              <a:pPr/>
              <a:t>Q3
20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2169FAEA-96ED-4917-A5C6-727624543237}"/>
              </a:ext>
            </a:extLst>
          </p:cNvPr>
          <p:cNvSpPr/>
          <p:nvPr>
            <p:custDataLst>
              <p:tags r:id="rId76"/>
            </p:custDataLst>
          </p:nvPr>
        </p:nvSpPr>
        <p:spPr bwMode="gray">
          <a:xfrm>
            <a:off x="6008688" y="4641851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FED5F25-155C-45D5-851D-D48A559D3CC9}" type="datetime'''''''''''''''''''''''7''''''''''''''''''''''''''3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3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188" name="Rectangle 187">
            <a:extLst>
              <a:ext uri="{FF2B5EF4-FFF2-40B4-BE49-F238E27FC236}">
                <a16:creationId xmlns:a16="http://schemas.microsoft.com/office/drawing/2014/main" id="{30159826-1317-4058-94C8-33D2F235D7E3}"/>
              </a:ext>
            </a:extLst>
          </p:cNvPr>
          <p:cNvSpPr/>
          <p:nvPr>
            <p:custDataLst>
              <p:tags r:id="rId77"/>
            </p:custDataLst>
          </p:nvPr>
        </p:nvSpPr>
        <p:spPr bwMode="gray">
          <a:xfrm>
            <a:off x="6008688" y="4105276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161F2F6-1D25-4D27-87B2-DDD071B88293}" type="datetime'92''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2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843CB783-1E45-4C46-A748-615C2EF73BBC}"/>
              </a:ext>
            </a:extLst>
          </p:cNvPr>
          <p:cNvSpPr/>
          <p:nvPr>
            <p:custDataLst>
              <p:tags r:id="rId78"/>
            </p:custDataLst>
          </p:nvPr>
        </p:nvSpPr>
        <p:spPr bwMode="gray">
          <a:xfrm>
            <a:off x="6008688" y="4683126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777977A-F112-46CF-A7E7-7691A4456327}" type="datetime'''''7''''''''''''''''''2''''''''''''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2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192" name="Rectangle 191">
            <a:extLst>
              <a:ext uri="{FF2B5EF4-FFF2-40B4-BE49-F238E27FC236}">
                <a16:creationId xmlns:a16="http://schemas.microsoft.com/office/drawing/2014/main" id="{FDAFC22A-D1F4-4433-9394-64DBDFD4367E}"/>
              </a:ext>
            </a:extLst>
          </p:cNvPr>
          <p:cNvSpPr/>
          <p:nvPr>
            <p:custDataLst>
              <p:tags r:id="rId79"/>
            </p:custDataLst>
          </p:nvPr>
        </p:nvSpPr>
        <p:spPr bwMode="gray">
          <a:xfrm>
            <a:off x="5973763" y="3835401"/>
            <a:ext cx="24447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5F0156A-05FF-4829-B500-DEE2D844ED4E}" type="datetime'''''1''''''''''0''''''''''2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2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4" name="Rectangle 363">
            <a:extLst>
              <a:ext uri="{FF2B5EF4-FFF2-40B4-BE49-F238E27FC236}">
                <a16:creationId xmlns:a16="http://schemas.microsoft.com/office/drawing/2014/main" id="{EEF77E34-C62E-47AE-B5E7-AB157EE0A097}"/>
              </a:ext>
            </a:extLst>
          </p:cNvPr>
          <p:cNvSpPr/>
          <p:nvPr>
            <p:custDataLst>
              <p:tags r:id="rId80"/>
            </p:custDataLst>
          </p:nvPr>
        </p:nvSpPr>
        <p:spPr bwMode="gray">
          <a:xfrm>
            <a:off x="7127875" y="3844926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78211AD-FC31-4FF0-A918-E7A096699456}" type="datetime'''''''''''1''''''0''''''''''''''''1''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1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6" name="Text Placeholder 144"/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6005513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03A7B14-35AD-4BD4-84B7-C5C639D64FA1}" type="datetime'''''Q''''''''''''3''''''''''''''''&#10;''''''1''''''''''''8'''">
              <a:rPr lang="el-GR" altLang="en-US" sz="1000">
                <a:solidFill>
                  <a:schemeClr val="tx1"/>
                </a:solidFill>
              </a:rPr>
              <a:pPr/>
              <a:t>Q3
18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93" name="Text Placeholder 144">
            <a:extLst>
              <a:ext uri="{FF2B5EF4-FFF2-40B4-BE49-F238E27FC236}">
                <a16:creationId xmlns:a16="http://schemas.microsoft.com/office/drawing/2014/main" id="{542D4D06-27A8-4C3F-8123-342CCACE54D8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6294438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9E7AECF1-54F0-4B24-AB56-3C62AFB76D43}" type="datetime'''Q''''''''''''''''4&#10;1''''''''''''''''''''''''''''8'">
              <a:rPr lang="el-GR" altLang="en-US" sz="1000" smtClean="0">
                <a:solidFill>
                  <a:schemeClr val="tx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Q4
18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206" name="Text Placeholder 144">
            <a:extLst>
              <a:ext uri="{FF2B5EF4-FFF2-40B4-BE49-F238E27FC236}">
                <a16:creationId xmlns:a16="http://schemas.microsoft.com/office/drawing/2014/main" id="{1EAF2CE9-D985-4F6B-B751-05563F01091F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6870700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95DFF22-9E2B-481F-88A5-17A648BBDF73}" type="datetime'''''''''Q''''2&#10;''1''''''9'''''''''''''">
              <a:rPr lang="en-US" altLang="en-US" sz="1000" smtClean="0">
                <a:solidFill>
                  <a:schemeClr val="tx1"/>
                </a:solidFill>
              </a:rPr>
              <a:pPr/>
              <a:t>Q2
19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360" name="Rectangle 359">
            <a:extLst>
              <a:ext uri="{FF2B5EF4-FFF2-40B4-BE49-F238E27FC236}">
                <a16:creationId xmlns:a16="http://schemas.microsoft.com/office/drawing/2014/main" id="{9E66B1AE-7AC5-499A-9828-39FEC5FA16C6}"/>
              </a:ext>
            </a:extLst>
          </p:cNvPr>
          <p:cNvSpPr/>
          <p:nvPr>
            <p:custDataLst>
              <p:tags r:id="rId84"/>
            </p:custDataLst>
          </p:nvPr>
        </p:nvSpPr>
        <p:spPr bwMode="gray">
          <a:xfrm>
            <a:off x="7127875" y="2662239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BCFABED-798A-4938-BD43-ED128E14663B}" type="datetime'1''''''''4''''''''''''''2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2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1" name="Rectangle 360">
            <a:extLst>
              <a:ext uri="{FF2B5EF4-FFF2-40B4-BE49-F238E27FC236}">
                <a16:creationId xmlns:a16="http://schemas.microsoft.com/office/drawing/2014/main" id="{16ECF27D-09D5-414C-823C-97542EDEFEAB}"/>
              </a:ext>
            </a:extLst>
          </p:cNvPr>
          <p:cNvSpPr/>
          <p:nvPr>
            <p:custDataLst>
              <p:tags r:id="rId85"/>
            </p:custDataLst>
          </p:nvPr>
        </p:nvSpPr>
        <p:spPr bwMode="gray">
          <a:xfrm>
            <a:off x="7162800" y="4649789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DF4756D-D881-4F12-A459-9EE812A806E1}" type="datetime'''''''''''''''7''''''''3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3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2" name="Rectangle 361">
            <a:extLst>
              <a:ext uri="{FF2B5EF4-FFF2-40B4-BE49-F238E27FC236}">
                <a16:creationId xmlns:a16="http://schemas.microsoft.com/office/drawing/2014/main" id="{5565140C-FDF6-4F4C-A1F3-D13CB0E71123}"/>
              </a:ext>
            </a:extLst>
          </p:cNvPr>
          <p:cNvSpPr/>
          <p:nvPr>
            <p:custDataLst>
              <p:tags r:id="rId86"/>
            </p:custDataLst>
          </p:nvPr>
        </p:nvSpPr>
        <p:spPr bwMode="gray">
          <a:xfrm>
            <a:off x="7162800" y="4360864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8652C54-6098-4794-A837-28AE396A2417}" type="datetime'''''''''''''''''''''''''''''''''''8''''''3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3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363" name="Rectangle 362">
            <a:extLst>
              <a:ext uri="{FF2B5EF4-FFF2-40B4-BE49-F238E27FC236}">
                <a16:creationId xmlns:a16="http://schemas.microsoft.com/office/drawing/2014/main" id="{E26D17A6-DF04-40AD-B157-A8BD40BD3BAE}"/>
              </a:ext>
            </a:extLst>
          </p:cNvPr>
          <p:cNvSpPr/>
          <p:nvPr>
            <p:custDataLst>
              <p:tags r:id="rId87"/>
            </p:custDataLst>
          </p:nvPr>
        </p:nvSpPr>
        <p:spPr bwMode="gray">
          <a:xfrm>
            <a:off x="7162800" y="4605339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3BA96C8-58C6-41F5-B042-4D872ECA3B88}" type="datetime'''''''''7''''''''''''''''''''''''''''''''''''''''''''''5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5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8" name="Text Placeholder 144">
            <a:extLst>
              <a:ext uri="{FF2B5EF4-FFF2-40B4-BE49-F238E27FC236}">
                <a16:creationId xmlns:a16="http://schemas.microsoft.com/office/drawing/2014/main" id="{F9798617-AB95-48FF-8186-48A0C74C77D7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7159625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A4B4B6EE-679A-4DC9-BC23-DCBB5B9B0A3D}" type="datetime'''''''''Q''''''''''''''''3&#10;''''''''''''''19'''''">
              <a:rPr lang="en-US" altLang="en-US" sz="1000" smtClean="0">
                <a:solidFill>
                  <a:schemeClr val="tx1"/>
                </a:solidFill>
              </a:rPr>
              <a:pPr/>
              <a:t>Q3
19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407" name="Rectangle 406">
            <a:extLst>
              <a:ext uri="{FF2B5EF4-FFF2-40B4-BE49-F238E27FC236}">
                <a16:creationId xmlns:a16="http://schemas.microsoft.com/office/drawing/2014/main" id="{0EEF947A-5457-4F78-A896-13799BA8D154}"/>
              </a:ext>
            </a:extLst>
          </p:cNvPr>
          <p:cNvSpPr/>
          <p:nvPr>
            <p:custDataLst>
              <p:tags r:id="rId89"/>
            </p:custDataLst>
          </p:nvPr>
        </p:nvSpPr>
        <p:spPr bwMode="gray">
          <a:xfrm>
            <a:off x="9434513" y="2911476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65513F9-E370-405F-8ED4-1CC02448E928}" type="datetime'''1''''3''''''''''''4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34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5" name="Text Placeholder 144">
            <a:extLst>
              <a:ext uri="{FF2B5EF4-FFF2-40B4-BE49-F238E27FC236}">
                <a16:creationId xmlns:a16="http://schemas.microsoft.com/office/drawing/2014/main" id="{4DE8B6D0-68CB-4EA5-A1C8-69AFF14206DF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7446963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2BC1D1D-39C9-4FD9-A595-0D07F62A3F31}" type="datetime'''''''Q''''''''''''''''''4''''''''&#10;''''''''''''''''''''''''19'">
              <a:rPr lang="en-US" altLang="en-US" sz="1000" smtClean="0">
                <a:solidFill>
                  <a:schemeClr val="tx1"/>
                </a:solidFill>
              </a:rPr>
              <a:pPr/>
              <a:t>Q4
19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13" name="Text Placeholder 144">
            <a:extLst>
              <a:ext uri="{FF2B5EF4-FFF2-40B4-BE49-F238E27FC236}">
                <a16:creationId xmlns:a16="http://schemas.microsoft.com/office/drawing/2014/main" id="{88716ACE-6AA7-493B-A8AF-D7F51ABFD27F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7735888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0C4F6DD-2EB4-4DD7-AE25-20FE7B748AEC}" type="datetime'''''''''''''''''''''''''''''Q''''''1''&#10;2''''''''''0'''''''''''">
              <a:rPr lang="en-US" altLang="en-US" sz="1000" smtClean="0">
                <a:solidFill>
                  <a:schemeClr val="tx1"/>
                </a:solidFill>
              </a:rPr>
              <a:pPr/>
              <a:t>Q1
20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19" name="Text Placeholder 144">
            <a:extLst>
              <a:ext uri="{FF2B5EF4-FFF2-40B4-BE49-F238E27FC236}">
                <a16:creationId xmlns:a16="http://schemas.microsoft.com/office/drawing/2014/main" id="{ABD1311D-BCD4-49D7-A13F-24AB1C0AFC33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8024813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AD7FA09-BD8C-4ED6-9604-9ED4E7EF1CA4}" type="datetime'''''''''''''''''''''''''''''Q''''''''2&#10;''''''''''''2''''0'''''">
              <a:rPr lang="en-US" altLang="en-US" sz="1000" smtClean="0">
                <a:solidFill>
                  <a:schemeClr val="tx1"/>
                </a:solidFill>
              </a:rPr>
              <a:pPr/>
              <a:t>Q2
20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383" name="Rectangle 382">
            <a:extLst>
              <a:ext uri="{FF2B5EF4-FFF2-40B4-BE49-F238E27FC236}">
                <a16:creationId xmlns:a16="http://schemas.microsoft.com/office/drawing/2014/main" id="{09F01B3E-8BE5-40B6-B890-745CAC2FC475}"/>
              </a:ext>
            </a:extLst>
          </p:cNvPr>
          <p:cNvSpPr/>
          <p:nvPr>
            <p:custDataLst>
              <p:tags r:id="rId93"/>
            </p:custDataLst>
          </p:nvPr>
        </p:nvSpPr>
        <p:spPr bwMode="gray">
          <a:xfrm>
            <a:off x="8280400" y="3295651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F8D0331-F1ED-4A36-83F9-12B6183B79DE}" type="datetime'''1''2''''''''''''''''''''''''''''''''''''''''''''''0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0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5" name="Rectangle 384">
            <a:extLst>
              <a:ext uri="{FF2B5EF4-FFF2-40B4-BE49-F238E27FC236}">
                <a16:creationId xmlns:a16="http://schemas.microsoft.com/office/drawing/2014/main" id="{BC6432DB-3557-455F-9747-9491864D1B60}"/>
              </a:ext>
            </a:extLst>
          </p:cNvPr>
          <p:cNvSpPr/>
          <p:nvPr>
            <p:custDataLst>
              <p:tags r:id="rId94"/>
            </p:custDataLst>
          </p:nvPr>
        </p:nvSpPr>
        <p:spPr bwMode="gray">
          <a:xfrm>
            <a:off x="8315325" y="4656139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BA604DC-A45F-4A41-9E00-E415ED1B44B1}" type="datetime'''''''''''''''''''''''''''''''''''73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3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5B3471A-A188-4537-8114-E9D6D9E8346D}"/>
              </a:ext>
            </a:extLst>
          </p:cNvPr>
          <p:cNvSpPr/>
          <p:nvPr>
            <p:custDataLst>
              <p:tags r:id="rId95"/>
            </p:custDataLst>
          </p:nvPr>
        </p:nvSpPr>
        <p:spPr bwMode="gray">
          <a:xfrm>
            <a:off x="8315325" y="4229101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6444E41-2B32-4DA8-852C-31F9F5E973DE}" type="datetime'''''''''''''''''''''''''''''''''8''''''''''''''8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8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7" name="Rectangle 386">
            <a:extLst>
              <a:ext uri="{FF2B5EF4-FFF2-40B4-BE49-F238E27FC236}">
                <a16:creationId xmlns:a16="http://schemas.microsoft.com/office/drawing/2014/main" id="{0E364B41-8472-4EAA-B362-48B1CE03F92F}"/>
              </a:ext>
            </a:extLst>
          </p:cNvPr>
          <p:cNvSpPr/>
          <p:nvPr>
            <p:custDataLst>
              <p:tags r:id="rId96"/>
            </p:custDataLst>
          </p:nvPr>
        </p:nvSpPr>
        <p:spPr bwMode="gray">
          <a:xfrm>
            <a:off x="8315325" y="4646614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F2FF80E-9624-4B79-8C9F-6B5C6099F142}" type="datetime'''''''''''''''''''''7''''''3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3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923612CA-85A1-454D-8217-AD155C874437}"/>
              </a:ext>
            </a:extLst>
          </p:cNvPr>
          <p:cNvSpPr/>
          <p:nvPr>
            <p:custDataLst>
              <p:tags r:id="rId97"/>
            </p:custDataLst>
          </p:nvPr>
        </p:nvSpPr>
        <p:spPr bwMode="gray">
          <a:xfrm>
            <a:off x="8280400" y="3646489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EB44F01-A5BB-4853-AD4F-269F8D601D80}" type="datetime'''''''''1''''''''''''''''''''0''8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8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7" name="Text Placeholder 144">
            <a:extLst>
              <a:ext uri="{FF2B5EF4-FFF2-40B4-BE49-F238E27FC236}">
                <a16:creationId xmlns:a16="http://schemas.microsoft.com/office/drawing/2014/main" id="{795C8502-A732-40A8-AABF-5D8168967969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8601075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2973746-673C-4B82-8397-A20F0530F1E6}" type="datetime'''''''''''''''Q''''''''''''''''''''4&#10;''2''0'''''''''''">
              <a:rPr lang="en-US" altLang="en-US" sz="1000" smtClean="0">
                <a:solidFill>
                  <a:schemeClr val="tx1"/>
                </a:solidFill>
              </a:rPr>
              <a:pPr/>
              <a:t>Q4
20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359" name="Rectangle 358">
            <a:extLst>
              <a:ext uri="{FF2B5EF4-FFF2-40B4-BE49-F238E27FC236}">
                <a16:creationId xmlns:a16="http://schemas.microsoft.com/office/drawing/2014/main" id="{54BD9D72-B05E-46A1-A19D-CD367B922F75}"/>
              </a:ext>
            </a:extLst>
          </p:cNvPr>
          <p:cNvSpPr/>
          <p:nvPr>
            <p:custDataLst>
              <p:tags r:id="rId99"/>
            </p:custDataLst>
          </p:nvPr>
        </p:nvSpPr>
        <p:spPr bwMode="gray">
          <a:xfrm>
            <a:off x="7127875" y="3529014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052E201-5A78-4CEA-AFBE-C8BA41BCC646}" type="datetime'''''''''''''''''''''''''''''''''''''1''1''''''''''''2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12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4" name="Text Placeholder 144">
            <a:extLst>
              <a:ext uri="{FF2B5EF4-FFF2-40B4-BE49-F238E27FC236}">
                <a16:creationId xmlns:a16="http://schemas.microsoft.com/office/drawing/2014/main" id="{F83DD7E5-3E53-419B-828D-B6A6FE36A3C0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9177338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2EE392D-9B1D-4297-BF5F-3E221831E072}" type="datetime'''''''Q''''''''''2''''&#10;''''''''''''21'''''''''''''''''''">
              <a:rPr lang="en-US" altLang="en-US" sz="1000" smtClean="0">
                <a:solidFill>
                  <a:schemeClr val="tx1"/>
                </a:solidFill>
                <a:latin typeface="+mn-lt"/>
                <a:cs typeface="+mn-cs"/>
              </a:rPr>
              <a:pPr/>
              <a:t>Q2
21</a:t>
            </a:fld>
            <a:endParaRPr lang="el-GR" sz="10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408" name="Rectangle 407">
            <a:extLst>
              <a:ext uri="{FF2B5EF4-FFF2-40B4-BE49-F238E27FC236}">
                <a16:creationId xmlns:a16="http://schemas.microsoft.com/office/drawing/2014/main" id="{613DC22E-C376-4244-A9C4-086F5B66C6CC}"/>
              </a:ext>
            </a:extLst>
          </p:cNvPr>
          <p:cNvSpPr/>
          <p:nvPr>
            <p:custDataLst>
              <p:tags r:id="rId101"/>
            </p:custDataLst>
          </p:nvPr>
        </p:nvSpPr>
        <p:spPr bwMode="gray">
          <a:xfrm>
            <a:off x="9434513" y="2401889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309996D-47BF-4146-A39D-AD3BBDA502E3}" type="datetime'''''''''''''''''''1''''''5''''''''''''1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1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9" name="Rectangle 408">
            <a:extLst>
              <a:ext uri="{FF2B5EF4-FFF2-40B4-BE49-F238E27FC236}">
                <a16:creationId xmlns:a16="http://schemas.microsoft.com/office/drawing/2014/main" id="{32A410A0-3867-4772-A77F-A011673F5791}"/>
              </a:ext>
            </a:extLst>
          </p:cNvPr>
          <p:cNvSpPr/>
          <p:nvPr>
            <p:custDataLst>
              <p:tags r:id="rId102"/>
            </p:custDataLst>
          </p:nvPr>
        </p:nvSpPr>
        <p:spPr bwMode="gray">
          <a:xfrm>
            <a:off x="9469438" y="4618039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B31D03D-F613-4766-AF47-CB3788DA3341}" type="datetime'''''''''''''''''7''''''''''''''''''''''''''4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4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2" name="Text Placeholder 144">
            <a:extLst>
              <a:ext uri="{FF2B5EF4-FFF2-40B4-BE49-F238E27FC236}">
                <a16:creationId xmlns:a16="http://schemas.microsoft.com/office/drawing/2014/main" id="{45C7E954-A959-EE74-CE51-B4728EE7CC4A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11196638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8D4E845-9167-454B-ADE1-CB4798D90527}" type="datetime'Q''''''''''4''''''''''''''''''''''''''''''''''&#10;''''22'''">
              <a:rPr lang="en-US" altLang="en-US" sz="10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4
22</a:t>
            </a:fld>
            <a:endParaRPr lang="el-GR" sz="1000" dirty="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410" name="Rectangle 409">
            <a:extLst>
              <a:ext uri="{FF2B5EF4-FFF2-40B4-BE49-F238E27FC236}">
                <a16:creationId xmlns:a16="http://schemas.microsoft.com/office/drawing/2014/main" id="{DDD766F2-0D5F-4473-822A-FFCD69C5D70C}"/>
              </a:ext>
            </a:extLst>
          </p:cNvPr>
          <p:cNvSpPr/>
          <p:nvPr>
            <p:custDataLst>
              <p:tags r:id="rId104"/>
            </p:custDataLst>
          </p:nvPr>
        </p:nvSpPr>
        <p:spPr bwMode="gray">
          <a:xfrm>
            <a:off x="9469438" y="4284664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D1077B4-48C3-43EF-9298-BCEFAEC33BBE}" type="datetime'8''6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6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2" name="Rectangle 411">
            <a:extLst>
              <a:ext uri="{FF2B5EF4-FFF2-40B4-BE49-F238E27FC236}">
                <a16:creationId xmlns:a16="http://schemas.microsoft.com/office/drawing/2014/main" id="{32FEB8DD-03C7-4323-BF19-7A12455F4B38}"/>
              </a:ext>
            </a:extLst>
          </p:cNvPr>
          <p:cNvSpPr/>
          <p:nvPr>
            <p:custDataLst>
              <p:tags r:id="rId105"/>
            </p:custDataLst>
          </p:nvPr>
        </p:nvSpPr>
        <p:spPr bwMode="gray">
          <a:xfrm>
            <a:off x="9469438" y="3940176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7FE451D-0B26-4DC3-8CB0-AA97076115E7}" type="datetime'''''''''''''''''''9''8''''''''''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8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5" name="Text Placeholder 144">
            <a:extLst>
              <a:ext uri="{FF2B5EF4-FFF2-40B4-BE49-F238E27FC236}">
                <a16:creationId xmlns:a16="http://schemas.microsoft.com/office/drawing/2014/main" id="{07DCA526-9100-484B-9635-8A689D5666CC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9466263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1ECE7F7-F0A6-4F42-986B-B36CB2B99508}" type="datetime'''''''''''''Q''''''''''''''''''3&#10;''''''''''''''2''''1'''''">
              <a:rPr lang="en-US" altLang="en-US" sz="10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3
21</a:t>
            </a:fld>
            <a:endParaRPr lang="el-GR" sz="1000" dirty="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36" name="Text Placeholder 144">
            <a:extLst>
              <a:ext uri="{FF2B5EF4-FFF2-40B4-BE49-F238E27FC236}">
                <a16:creationId xmlns:a16="http://schemas.microsoft.com/office/drawing/2014/main" id="{562209CF-37D0-499D-A46E-6377024CDB69}"/>
              </a:ext>
            </a:extLst>
          </p:cNvPr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10620375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6EB6E460-9C5F-4BE5-9886-44BD872586CE}" type="datetime'''''''''''''''''''''''''Q''''''3''''&#10;''2''''''2'''''''''''''''">
              <a:rPr lang="en-US" altLang="en-US" sz="10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3
22</a:t>
            </a:fld>
            <a:endParaRPr lang="el-GR" sz="1000" dirty="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38" name="Text Placeholder 144">
            <a:extLst>
              <a:ext uri="{FF2B5EF4-FFF2-40B4-BE49-F238E27FC236}">
                <a16:creationId xmlns:a16="http://schemas.microsoft.com/office/drawing/2014/main" id="{21C99A25-67A8-46E1-A256-AC595F16E05A}"/>
              </a:ext>
            </a:extLst>
          </p:cNvPr>
          <p:cNvSpPr>
            <a:spLocks noGrp="1"/>
          </p:cNvSpPr>
          <p:nvPr>
            <p:custDataLst>
              <p:tags r:id="rId108"/>
            </p:custDataLst>
          </p:nvPr>
        </p:nvSpPr>
        <p:spPr bwMode="auto">
          <a:xfrm>
            <a:off x="9755188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899889F-0D66-4DCC-A6BB-EDF3956FE32A}" type="datetime'''''''''''''''''Q4''&#10;''''''''''''''2''1'''''''''''''''''">
              <a:rPr lang="en-US" altLang="en-US" sz="10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4
21</a:t>
            </a:fld>
            <a:endParaRPr lang="el-GR" sz="1000" dirty="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87" name="Text Placeholder 144">
            <a:extLst>
              <a:ext uri="{FF2B5EF4-FFF2-40B4-BE49-F238E27FC236}">
                <a16:creationId xmlns:a16="http://schemas.microsoft.com/office/drawing/2014/main" id="{44EA04CC-954C-44FA-9AA3-7C714C565CAE}"/>
              </a:ext>
            </a:extLst>
          </p:cNvPr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10042525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10AB4FE-1FE0-43B7-86E4-E5AB6E1A0637}" type="datetime'''''''''''Q''1&#10;''''2''''''''''2'''''''''''''''''">
              <a:rPr lang="en-US" altLang="en-US" sz="10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1
22</a:t>
            </a:fld>
            <a:endParaRPr lang="el-GR" sz="1000" dirty="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45" name="Text Placeholder 144">
            <a:extLst>
              <a:ext uri="{FF2B5EF4-FFF2-40B4-BE49-F238E27FC236}">
                <a16:creationId xmlns:a16="http://schemas.microsoft.com/office/drawing/2014/main" id="{302F3801-419B-4117-BE5E-A51DB991F27A}"/>
              </a:ext>
            </a:extLst>
          </p:cNvPr>
          <p:cNvSpPr>
            <a:spLocks noGrp="1"/>
          </p:cNvSpPr>
          <p:nvPr>
            <p:custDataLst>
              <p:tags r:id="rId110"/>
            </p:custDataLst>
          </p:nvPr>
        </p:nvSpPr>
        <p:spPr bwMode="auto">
          <a:xfrm>
            <a:off x="10331450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1AC60CE-4A2F-4337-BABA-257CD380567E}" type="datetime'''''Q''''''''''''''''''''''''2''''&#10;''2''2'''''''''">
              <a:rPr lang="en-US" altLang="en-US" sz="10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Q2
22</a:t>
            </a:fld>
            <a:endParaRPr lang="el-GR" sz="1000" dirty="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431" name="Rectangle 430">
            <a:extLst>
              <a:ext uri="{FF2B5EF4-FFF2-40B4-BE49-F238E27FC236}">
                <a16:creationId xmlns:a16="http://schemas.microsoft.com/office/drawing/2014/main" id="{00080925-C3E4-4D0F-B652-87BF353B7480}"/>
              </a:ext>
            </a:extLst>
          </p:cNvPr>
          <p:cNvSpPr/>
          <p:nvPr>
            <p:custDataLst>
              <p:tags r:id="rId111"/>
            </p:custDataLst>
          </p:nvPr>
        </p:nvSpPr>
        <p:spPr bwMode="gray">
          <a:xfrm>
            <a:off x="10588625" y="2668589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EE0B23E-74E8-44F8-8EC0-8FAF2C1D2C95}" type="datetime'1''4''''''''''''''''''''''2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2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2" name="Rectangle 431">
            <a:extLst>
              <a:ext uri="{FF2B5EF4-FFF2-40B4-BE49-F238E27FC236}">
                <a16:creationId xmlns:a16="http://schemas.microsoft.com/office/drawing/2014/main" id="{3BB1A7BC-2A00-40AD-ADEA-3E0C51747F06}"/>
              </a:ext>
            </a:extLst>
          </p:cNvPr>
          <p:cNvSpPr/>
          <p:nvPr>
            <p:custDataLst>
              <p:tags r:id="rId112"/>
            </p:custDataLst>
          </p:nvPr>
        </p:nvSpPr>
        <p:spPr bwMode="gray">
          <a:xfrm>
            <a:off x="10588625" y="2346326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18DEDEB-376B-4E72-B07B-169C4B5B20D7}" type="datetime'''''1''''''''''''5''''''''''''''3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3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433" name="Rectangle 432">
            <a:extLst>
              <a:ext uri="{FF2B5EF4-FFF2-40B4-BE49-F238E27FC236}">
                <a16:creationId xmlns:a16="http://schemas.microsoft.com/office/drawing/2014/main" id="{14256241-B21B-4A91-9E89-33325C8533F8}"/>
              </a:ext>
            </a:extLst>
          </p:cNvPr>
          <p:cNvSpPr/>
          <p:nvPr>
            <p:custDataLst>
              <p:tags r:id="rId113"/>
            </p:custDataLst>
          </p:nvPr>
        </p:nvSpPr>
        <p:spPr bwMode="gray">
          <a:xfrm>
            <a:off x="10623550" y="4581526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3B14D07-EF65-4291-A605-4F2C46E3375B}" type="datetime'''7''''''''''''''''''''''''''''''''''''''5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5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434" name="Rectangle 433">
            <a:extLst>
              <a:ext uri="{FF2B5EF4-FFF2-40B4-BE49-F238E27FC236}">
                <a16:creationId xmlns:a16="http://schemas.microsoft.com/office/drawing/2014/main" id="{36C36EF9-D250-46C6-ACBF-D9604DDBFCCF}"/>
              </a:ext>
            </a:extLst>
          </p:cNvPr>
          <p:cNvSpPr/>
          <p:nvPr>
            <p:custDataLst>
              <p:tags r:id="rId114"/>
            </p:custDataLst>
          </p:nvPr>
        </p:nvSpPr>
        <p:spPr bwMode="gray">
          <a:xfrm>
            <a:off x="10623550" y="4359276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20A6A73-889B-42B2-B6F3-B192078E34F1}" type="datetime'''''''''''''''''''''''''''8''''''''''''''3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3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2" name="Text Placeholder 144">
            <a:extLst>
              <a:ext uri="{FF2B5EF4-FFF2-40B4-BE49-F238E27FC236}">
                <a16:creationId xmlns:a16="http://schemas.microsoft.com/office/drawing/2014/main" id="{B3E7602F-8544-4677-8D90-FB766F884B3F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8890000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725F4F4B-EE34-4662-9DC0-27D29400B5D9}" type="datetime'''''''''''Q''''1''''''''''''''&#10;''2''''''''''''''''''''''1'">
              <a:rPr lang="en-US" altLang="en-US" sz="1000" smtClean="0">
                <a:solidFill>
                  <a:schemeClr val="tx1"/>
                </a:solidFill>
              </a:rPr>
              <a:pPr/>
              <a:t>Q1
21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436" name="Rectangle 435">
            <a:extLst>
              <a:ext uri="{FF2B5EF4-FFF2-40B4-BE49-F238E27FC236}">
                <a16:creationId xmlns:a16="http://schemas.microsoft.com/office/drawing/2014/main" id="{8A860C55-6172-440A-BC0C-51EE9CF7DA15}"/>
              </a:ext>
            </a:extLst>
          </p:cNvPr>
          <p:cNvSpPr/>
          <p:nvPr>
            <p:custDataLst>
              <p:tags r:id="rId116"/>
            </p:custDataLst>
          </p:nvPr>
        </p:nvSpPr>
        <p:spPr bwMode="gray">
          <a:xfrm>
            <a:off x="10623550" y="4079876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0475FD8-5BA4-4C45-8A36-89B37F0BB1FE}" type="datetime'''''''''''''''''''''''9''''3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3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4F4ED982-EEB6-4E32-A709-1A7D0E3B0686}"/>
              </a:ext>
            </a:extLst>
          </p:cNvPr>
          <p:cNvSpPr/>
          <p:nvPr>
            <p:custDataLst>
              <p:tags r:id="rId117"/>
            </p:custDataLst>
          </p:nvPr>
        </p:nvSpPr>
        <p:spPr bwMode="gray">
          <a:xfrm>
            <a:off x="10875963" y="2613025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774EA8C-C75C-4C63-B122-5D2C5FE1225E}" type="datetime'''''''1''4''''''''''''''''''''''''''''''''''''''''4'''''''''">
              <a:rPr lang="en-US" altLang="en-US" sz="1000" smtClean="0">
                <a:solidFill>
                  <a:schemeClr val="tx1"/>
                </a:solidFill>
                <a:sym typeface="Arial" panose="020B0604020202020204" pitchFamily="34" charset="0"/>
              </a:rPr>
              <a:pPr/>
              <a:t>144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C3241A59-1D43-48C3-A8D4-5583901C4409}"/>
              </a:ext>
            </a:extLst>
          </p:cNvPr>
          <p:cNvSpPr/>
          <p:nvPr>
            <p:custDataLst>
              <p:tags r:id="rId118"/>
            </p:custDataLst>
          </p:nvPr>
        </p:nvSpPr>
        <p:spPr bwMode="gray">
          <a:xfrm>
            <a:off x="10875963" y="2335213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D4B0B9D-31C4-48A0-B660-811AA3C842DF}" type="datetime'''''''''''''''''''''''1''''''''''''''54'''''">
              <a:rPr lang="en-US" altLang="en-US" sz="1000" smtClean="0">
                <a:solidFill>
                  <a:schemeClr val="tx1"/>
                </a:solidFill>
                <a:sym typeface="Arial" panose="020B0604020202020204" pitchFamily="34" charset="0"/>
              </a:rPr>
              <a:pPr/>
              <a:t>154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 useBgFill="1">
        <p:nvSpPr>
          <p:cNvPr id="205" name="Rectangle 204">
            <a:extLst>
              <a:ext uri="{FF2B5EF4-FFF2-40B4-BE49-F238E27FC236}">
                <a16:creationId xmlns:a16="http://schemas.microsoft.com/office/drawing/2014/main" id="{D2606982-197A-4503-A54D-0057B6705CB4}"/>
              </a:ext>
            </a:extLst>
          </p:cNvPr>
          <p:cNvSpPr/>
          <p:nvPr>
            <p:custDataLst>
              <p:tags r:id="rId119"/>
            </p:custDataLst>
          </p:nvPr>
        </p:nvSpPr>
        <p:spPr bwMode="gray">
          <a:xfrm>
            <a:off x="10910888" y="4564063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DCEEB18-8532-418B-A720-8DCE588A8796}" type="datetime'7''''''''''''''''''''''''6''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/>
              <a:t>76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E2EBA0CE-492B-40CA-81B6-04E1DAD6D954}"/>
              </a:ext>
            </a:extLst>
          </p:cNvPr>
          <p:cNvSpPr/>
          <p:nvPr>
            <p:custDataLst>
              <p:tags r:id="rId120"/>
            </p:custDataLst>
          </p:nvPr>
        </p:nvSpPr>
        <p:spPr bwMode="gray">
          <a:xfrm>
            <a:off x="10910888" y="4314825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F31571B-4137-48CE-88A9-43966CE14147}" type="datetime'''''''''''''''''''''''8''''''''''''5'''''''''">
              <a:rPr lang="en-US" altLang="en-US" sz="1000" smtClean="0">
                <a:solidFill>
                  <a:schemeClr val="tx1"/>
                </a:solidFill>
                <a:sym typeface="Arial" panose="020B0604020202020204" pitchFamily="34" charset="0"/>
              </a:rPr>
              <a:pPr/>
              <a:t>85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 useBgFill="1">
        <p:nvSpPr>
          <p:cNvPr id="210" name="Rectangle 209">
            <a:extLst>
              <a:ext uri="{FF2B5EF4-FFF2-40B4-BE49-F238E27FC236}">
                <a16:creationId xmlns:a16="http://schemas.microsoft.com/office/drawing/2014/main" id="{0C2367F9-359A-4AA5-B59A-91C7DDA7D0C9}"/>
              </a:ext>
            </a:extLst>
          </p:cNvPr>
          <p:cNvSpPr/>
          <p:nvPr>
            <p:custDataLst>
              <p:tags r:id="rId121"/>
            </p:custDataLst>
          </p:nvPr>
        </p:nvSpPr>
        <p:spPr bwMode="gray">
          <a:xfrm>
            <a:off x="10910888" y="4635500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DE8CB5F-B9F4-46E9-A920-49326DC3FC15}" type="datetime'''''''''''''7''''''''''''''''''4'''''''''''">
              <a:rPr lang="en-US" altLang="en-US" sz="1000" smtClean="0">
                <a:solidFill>
                  <a:schemeClr val="tx1"/>
                </a:solidFill>
                <a:sym typeface="Arial" panose="020B0604020202020204" pitchFamily="34" charset="0"/>
              </a:rPr>
              <a:pPr/>
              <a:t>74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 useBgFill="1">
        <p:nvSpPr>
          <p:cNvPr id="212" name="Rectangle 211">
            <a:extLst>
              <a:ext uri="{FF2B5EF4-FFF2-40B4-BE49-F238E27FC236}">
                <a16:creationId xmlns:a16="http://schemas.microsoft.com/office/drawing/2014/main" id="{8E1B83E6-D36F-4BF8-A988-A1AFD3054854}"/>
              </a:ext>
            </a:extLst>
          </p:cNvPr>
          <p:cNvSpPr/>
          <p:nvPr>
            <p:custDataLst>
              <p:tags r:id="rId122"/>
            </p:custDataLst>
          </p:nvPr>
        </p:nvSpPr>
        <p:spPr bwMode="gray">
          <a:xfrm>
            <a:off x="10910888" y="4584700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BE705A4-6DE8-42D4-B5E3-A22F25B135E3}" type="datetime'''''7''''''''''''''''''''''''''6'''''">
              <a:rPr lang="en-US" altLang="en-US" sz="1000" smtClean="0">
                <a:solidFill>
                  <a:schemeClr val="tx1"/>
                </a:solidFill>
                <a:sym typeface="Arial" panose="020B0604020202020204" pitchFamily="34" charset="0"/>
              </a:rPr>
              <a:pPr/>
              <a:t>76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 useBgFill="1">
        <p:nvSpPr>
          <p:cNvPr id="234" name="Rectangle 233">
            <a:extLst>
              <a:ext uri="{FF2B5EF4-FFF2-40B4-BE49-F238E27FC236}">
                <a16:creationId xmlns:a16="http://schemas.microsoft.com/office/drawing/2014/main" id="{F142DCA0-BC82-5502-ED36-2DAAF5F0EC98}"/>
              </a:ext>
            </a:extLst>
          </p:cNvPr>
          <p:cNvSpPr/>
          <p:nvPr>
            <p:custDataLst>
              <p:tags r:id="rId123"/>
            </p:custDataLst>
          </p:nvPr>
        </p:nvSpPr>
        <p:spPr bwMode="gray">
          <a:xfrm>
            <a:off x="11164888" y="2595563"/>
            <a:ext cx="24447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5C9CE9F-1B45-4918-9654-5F392C83AE43}" type="datetime'''''''''''''1''''4''''''''''''''''''5'''''''''">
              <a:rPr lang="en-US" altLang="en-US" sz="1000" smtClean="0">
                <a:solidFill>
                  <a:schemeClr val="tx1"/>
                </a:solidFill>
                <a:sym typeface="Arial" panose="020B0604020202020204" pitchFamily="34" charset="0"/>
              </a:rPr>
              <a:pPr/>
              <a:t>145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007AA78B-CBED-BFBB-4C63-8B616C680DC4}"/>
              </a:ext>
            </a:extLst>
          </p:cNvPr>
          <p:cNvSpPr/>
          <p:nvPr>
            <p:custDataLst>
              <p:tags r:id="rId124"/>
            </p:custDataLst>
          </p:nvPr>
        </p:nvSpPr>
        <p:spPr bwMode="gray">
          <a:xfrm>
            <a:off x="11164888" y="2351088"/>
            <a:ext cx="244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D7DF54C-E75B-4301-A4C3-E1D98E754E68}" type="datetime'''''''1''''''''5''''''''''''''3'''">
              <a:rPr lang="en-US" altLang="en-US" sz="1000" smtClean="0">
                <a:solidFill>
                  <a:schemeClr val="tx1"/>
                </a:solidFill>
                <a:sym typeface="Arial" panose="020B0604020202020204" pitchFamily="34" charset="0"/>
              </a:rPr>
              <a:pPr/>
              <a:t>153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 useBgFill="1">
        <p:nvSpPr>
          <p:cNvPr id="248" name="Rectangle 247">
            <a:extLst>
              <a:ext uri="{FF2B5EF4-FFF2-40B4-BE49-F238E27FC236}">
                <a16:creationId xmlns:a16="http://schemas.microsoft.com/office/drawing/2014/main" id="{6D8D1BA9-2878-80C9-010B-8A05580A53B2}"/>
              </a:ext>
            </a:extLst>
          </p:cNvPr>
          <p:cNvSpPr/>
          <p:nvPr>
            <p:custDataLst>
              <p:tags r:id="rId125"/>
            </p:custDataLst>
          </p:nvPr>
        </p:nvSpPr>
        <p:spPr bwMode="gray">
          <a:xfrm>
            <a:off x="11199813" y="4586288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7919187-B6A2-4E83-9C60-D6E5CE0498E8}" type="datetime'''''''''''''''''7''''''''''''5''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/>
              <a:t>75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52" name="Rectangle 251">
            <a:extLst>
              <a:ext uri="{FF2B5EF4-FFF2-40B4-BE49-F238E27FC236}">
                <a16:creationId xmlns:a16="http://schemas.microsoft.com/office/drawing/2014/main" id="{79660CCB-3C7F-D1E6-B64E-4F53E4FA764D}"/>
              </a:ext>
            </a:extLst>
          </p:cNvPr>
          <p:cNvSpPr/>
          <p:nvPr>
            <p:custDataLst>
              <p:tags r:id="rId126"/>
            </p:custDataLst>
          </p:nvPr>
        </p:nvSpPr>
        <p:spPr bwMode="gray">
          <a:xfrm>
            <a:off x="11199813" y="4351338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CEA8AF5-BACC-43E5-B6E2-18915B8715B3}" type="datetime'''''8''''''''''''''''''''''''''''''''''''3'''''''''''''">
              <a:rPr lang="en-US" altLang="en-US" sz="1000" smtClean="0">
                <a:solidFill>
                  <a:schemeClr val="tx1"/>
                </a:solidFill>
                <a:sym typeface="Arial" panose="020B0604020202020204" pitchFamily="34" charset="0"/>
              </a:rPr>
              <a:pPr/>
              <a:t>83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 useBgFill="1">
        <p:nvSpPr>
          <p:cNvPr id="260" name="Rectangle 259">
            <a:extLst>
              <a:ext uri="{FF2B5EF4-FFF2-40B4-BE49-F238E27FC236}">
                <a16:creationId xmlns:a16="http://schemas.microsoft.com/office/drawing/2014/main" id="{A7880B6C-3B68-01DE-3CD3-5D9FD7AD1179}"/>
              </a:ext>
            </a:extLst>
          </p:cNvPr>
          <p:cNvSpPr/>
          <p:nvPr>
            <p:custDataLst>
              <p:tags r:id="rId127"/>
            </p:custDataLst>
          </p:nvPr>
        </p:nvSpPr>
        <p:spPr bwMode="gray">
          <a:xfrm>
            <a:off x="11199813" y="4430713"/>
            <a:ext cx="174625" cy="136525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80EE867-FFFD-41A5-9061-59E3C238C58A}" type="datetime'''''''8''''''''''''''''1'''''''''''''">
              <a:rPr lang="en-US" altLang="en-US" sz="10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/>
              <a:t>81</a:t>
            </a:fld>
            <a:endParaRPr lang="en-US" sz="10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9" name="Text Placeholder 9"/>
          <p:cNvSpPr>
            <a:spLocks noGrp="1"/>
          </p:cNvSpPr>
          <p:nvPr>
            <p:custDataLst>
              <p:tags r:id="rId128"/>
            </p:custDataLst>
          </p:nvPr>
        </p:nvSpPr>
        <p:spPr bwMode="auto">
          <a:xfrm>
            <a:off x="1968500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EF5BEED-E98B-476C-AB94-3C2C72FDBDE1}" type="datetime'Q''''''''''''''''''''''1''''&#10;''''''''''''1''''''''5'''''''''">
              <a:rPr lang="en-US" altLang="en-US" sz="1000" b="0">
                <a:solidFill>
                  <a:schemeClr val="tx1"/>
                </a:solidFill>
                <a:cs typeface="Arial" panose="020B0604020202020204" pitchFamily="34" charset="0"/>
              </a:rPr>
              <a:pPr/>
              <a:t>Q1
15</a:t>
            </a:fld>
            <a:endParaRPr lang="el-GR" sz="1000" b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26" name="Text Placeholder 144"/>
          <p:cNvSpPr>
            <a:spLocks noGrp="1"/>
          </p:cNvSpPr>
          <p:nvPr>
            <p:custDataLst>
              <p:tags r:id="rId129"/>
            </p:custDataLst>
          </p:nvPr>
        </p:nvSpPr>
        <p:spPr bwMode="auto">
          <a:xfrm>
            <a:off x="5429250" y="5253038"/>
            <a:ext cx="180975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B068588B-8457-4AD1-9CBB-231287DA6E96}" type="datetime'''''''Q''''''''''''1''''''''''''''''''''''&#10;''''1''''''''8'">
              <a:rPr lang="el-GR" altLang="en-US" sz="1000">
                <a:solidFill>
                  <a:schemeClr val="tx1"/>
                </a:solidFill>
              </a:rPr>
              <a:pPr/>
              <a:t>Q1
18</a:t>
            </a:fld>
            <a:endParaRPr lang="el-GR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264" name="Rectangle 209"/>
          <p:cNvSpPr>
            <a:spLocks noChangeArrowheads="1"/>
          </p:cNvSpPr>
          <p:nvPr>
            <p:custDataLst>
              <p:tags r:id="rId130"/>
            </p:custDataLst>
          </p:nvPr>
        </p:nvSpPr>
        <p:spPr bwMode="auto">
          <a:xfrm>
            <a:off x="10885488" y="5659438"/>
            <a:ext cx="492125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r"/>
            <a:r>
              <a:rPr lang="en-US" sz="1000" dirty="0">
                <a:latin typeface="Arial"/>
                <a:cs typeface="Arial"/>
                <a:sym typeface="Arial"/>
              </a:rPr>
              <a:t>Quarters</a:t>
            </a:r>
            <a:endParaRPr lang="el-GR" sz="1000" dirty="0">
              <a:latin typeface="Arial"/>
              <a:cs typeface="Arial"/>
              <a:sym typeface="Arial"/>
            </a:endParaRPr>
          </a:p>
        </p:txBody>
      </p:sp>
      <p:sp>
        <p:nvSpPr>
          <p:cNvPr id="435" name="Rectangle 434">
            <a:extLst>
              <a:ext uri="{FF2B5EF4-FFF2-40B4-BE49-F238E27FC236}">
                <a16:creationId xmlns:a16="http://schemas.microsoft.com/office/drawing/2014/main" id="{84113761-091A-43B4-AB96-82D61C435406}"/>
              </a:ext>
            </a:extLst>
          </p:cNvPr>
          <p:cNvSpPr/>
          <p:nvPr>
            <p:custDataLst>
              <p:tags r:id="rId131"/>
            </p:custDataLst>
          </p:nvPr>
        </p:nvSpPr>
        <p:spPr bwMode="gray">
          <a:xfrm>
            <a:off x="10623550" y="4643439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41AC2AA-22B3-4578-9D7A-365620C2ECB4}" type="datetime'''7''''''''''''3'''''''''''''''''''''">
              <a:rPr lang="en-US" altLang="en-US" sz="100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3</a:t>
            </a:fld>
            <a:endParaRPr lang="en-US" sz="1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 hidden="1"/>
          <p:cNvSpPr/>
          <p:nvPr>
            <p:custDataLst>
              <p:tags r:id="rId13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000" dirty="0" err="1">
              <a:cs typeface="Arial" panose="020B0604020202020204" pitchFamily="34" charset="0"/>
              <a:sym typeface="+mn-lt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4007C1-D739-4EE8-AA67-4EADBBFE009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REIMBURSABLE MARKE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C2F8F7-85C5-496F-8D0F-A4F6F6E7E5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1. Excluding all L.3816 products; Including only Reimbursable products; 2. Index based on €/SU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Price Evolution Index</a:t>
            </a:r>
            <a:r>
              <a:rPr lang="en-US" baseline="30000" dirty="0"/>
              <a:t>1,2</a:t>
            </a:r>
            <a:r>
              <a:rPr lang="en-US" dirty="0"/>
              <a:t>: By major ATC-1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br>
              <a:rPr lang="en-US" dirty="0"/>
            </a:br>
            <a:r>
              <a:rPr lang="en-US" dirty="0"/>
              <a:t>In terms of ATC-1, the price growth is driven by A and B categories vs. Q1/2014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F14023-C215-4BA9-A8C0-E7EBE8679B72}"/>
              </a:ext>
            </a:extLst>
          </p:cNvPr>
          <p:cNvCxnSpPr/>
          <p:nvPr>
            <p:custDataLst>
              <p:tags r:id="rId133"/>
            </p:custDataLst>
          </p:nvPr>
        </p:nvCxnSpPr>
        <p:spPr bwMode="gray">
          <a:xfrm>
            <a:off x="2478088" y="5872163"/>
            <a:ext cx="249238" cy="0"/>
          </a:xfrm>
          <a:prstGeom prst="line">
            <a:avLst/>
          </a:prstGeom>
          <a:ln w="28575" cap="rnd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4A2E6AA-E7D8-422F-A9FF-78006C4FC329}"/>
              </a:ext>
            </a:extLst>
          </p:cNvPr>
          <p:cNvCxnSpPr/>
          <p:nvPr>
            <p:custDataLst>
              <p:tags r:id="rId134"/>
            </p:custDataLst>
          </p:nvPr>
        </p:nvCxnSpPr>
        <p:spPr bwMode="gray">
          <a:xfrm>
            <a:off x="1441450" y="5872163"/>
            <a:ext cx="249238" cy="0"/>
          </a:xfrm>
          <a:prstGeom prst="line">
            <a:avLst/>
          </a:prstGeom>
          <a:ln w="28575" cap="rnd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DC91812-2CF3-4C24-AA7B-1808A47AEB28}"/>
              </a:ext>
            </a:extLst>
          </p:cNvPr>
          <p:cNvCxnSpPr/>
          <p:nvPr>
            <p:custDataLst>
              <p:tags r:id="rId135"/>
            </p:custDataLst>
          </p:nvPr>
        </p:nvCxnSpPr>
        <p:spPr bwMode="gray">
          <a:xfrm>
            <a:off x="927100" y="5872163"/>
            <a:ext cx="249238" cy="0"/>
          </a:xfrm>
          <a:prstGeom prst="line">
            <a:avLst/>
          </a:prstGeom>
          <a:ln w="28575" cap="rnd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151925E-3E4D-427A-973B-E48CFD5BFC7F}"/>
              </a:ext>
            </a:extLst>
          </p:cNvPr>
          <p:cNvCxnSpPr/>
          <p:nvPr>
            <p:custDataLst>
              <p:tags r:id="rId136"/>
            </p:custDataLst>
          </p:nvPr>
        </p:nvCxnSpPr>
        <p:spPr bwMode="gray">
          <a:xfrm>
            <a:off x="1955800" y="5872163"/>
            <a:ext cx="249238" cy="0"/>
          </a:xfrm>
          <a:prstGeom prst="line">
            <a:avLst/>
          </a:prstGeom>
          <a:ln w="28575" cap="rnd" cmpd="sng" algn="ctr">
            <a:solidFill>
              <a:srgbClr val="25B4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E3B0176-CF64-44B0-95DD-1B51136C0CBA}"/>
              </a:ext>
            </a:extLst>
          </p:cNvPr>
          <p:cNvCxnSpPr/>
          <p:nvPr>
            <p:custDataLst>
              <p:tags r:id="rId137"/>
            </p:custDataLst>
          </p:nvPr>
        </p:nvCxnSpPr>
        <p:spPr bwMode="gray">
          <a:xfrm>
            <a:off x="3014663" y="5872163"/>
            <a:ext cx="249238" cy="0"/>
          </a:xfrm>
          <a:prstGeom prst="line">
            <a:avLst/>
          </a:prstGeom>
          <a:ln w="28575" cap="rnd" cmpd="sng" algn="ctr">
            <a:solidFill>
              <a:srgbClr val="6EB4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16D2B8E-8BE2-461D-96CF-DB582A44B310}"/>
              </a:ext>
            </a:extLst>
          </p:cNvPr>
          <p:cNvCxnSpPr/>
          <p:nvPr>
            <p:custDataLst>
              <p:tags r:id="rId138"/>
            </p:custDataLst>
          </p:nvPr>
        </p:nvCxnSpPr>
        <p:spPr bwMode="gray">
          <a:xfrm>
            <a:off x="3536950" y="5872163"/>
            <a:ext cx="249238" cy="0"/>
          </a:xfrm>
          <a:prstGeom prst="line">
            <a:avLst/>
          </a:prstGeom>
          <a:ln w="28575" cap="rnd" cmpd="sng" algn="ctr">
            <a:solidFill>
              <a:srgbClr val="1D0E7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6" name="Isosceles Triangle 194"/>
          <p:cNvSpPr>
            <a:spLocks noChangeArrowheads="1"/>
          </p:cNvSpPr>
          <p:nvPr>
            <p:custDataLst>
              <p:tags r:id="rId139"/>
            </p:custDataLst>
          </p:nvPr>
        </p:nvSpPr>
        <p:spPr bwMode="auto">
          <a:xfrm>
            <a:off x="1520825" y="5827713"/>
            <a:ext cx="88900" cy="88900"/>
          </a:xfrm>
          <a:prstGeom prst="triangle">
            <a:avLst>
              <a:gd name="adj" fmla="val 50000"/>
            </a:avLst>
          </a:prstGeom>
          <a:solidFill>
            <a:schemeClr val="hlink"/>
          </a:solidFill>
          <a:ln w="9525" algn="ctr">
            <a:solidFill>
              <a:schemeClr val="hlink"/>
            </a:solidFill>
            <a:round/>
            <a:headEnd/>
            <a:tailEnd/>
          </a:ln>
        </p:spPr>
        <p:txBody>
          <a:bodyPr/>
          <a:lstStyle/>
          <a:p>
            <a:pPr algn="ctr"/>
            <a:endParaRPr lang="el-GR" sz="1000"/>
          </a:p>
        </p:txBody>
      </p:sp>
      <p:sp>
        <p:nvSpPr>
          <p:cNvPr id="151" name="Oval 195"/>
          <p:cNvSpPr>
            <a:spLocks noChangeArrowheads="1"/>
          </p:cNvSpPr>
          <p:nvPr>
            <p:custDataLst>
              <p:tags r:id="rId140"/>
            </p:custDataLst>
          </p:nvPr>
        </p:nvSpPr>
        <p:spPr bwMode="auto">
          <a:xfrm>
            <a:off x="2035175" y="5827713"/>
            <a:ext cx="88900" cy="88900"/>
          </a:xfrm>
          <a:prstGeom prst="ellipse">
            <a:avLst/>
          </a:prstGeom>
          <a:solidFill>
            <a:srgbClr val="25B4FF"/>
          </a:solidFill>
          <a:ln w="9525" algn="ctr">
            <a:solidFill>
              <a:srgbClr val="25B4FF"/>
            </a:solidFill>
            <a:round/>
            <a:headEnd/>
            <a:tailEnd/>
          </a:ln>
        </p:spPr>
        <p:txBody>
          <a:bodyPr/>
          <a:lstStyle/>
          <a:p>
            <a:pPr algn="ctr"/>
            <a:endParaRPr lang="el-GR" sz="1000"/>
          </a:p>
        </p:txBody>
      </p:sp>
      <p:sp>
        <p:nvSpPr>
          <p:cNvPr id="153" name="Rectangle 188"/>
          <p:cNvSpPr>
            <a:spLocks noChangeArrowheads="1"/>
          </p:cNvSpPr>
          <p:nvPr>
            <p:custDataLst>
              <p:tags r:id="rId141"/>
            </p:custDataLst>
          </p:nvPr>
        </p:nvSpPr>
        <p:spPr bwMode="auto">
          <a:xfrm>
            <a:off x="1006475" y="5827713"/>
            <a:ext cx="88900" cy="88900"/>
          </a:xfrm>
          <a:prstGeom prst="rect">
            <a:avLst/>
          </a:prstGeom>
          <a:solidFill>
            <a:srgbClr val="0070C0"/>
          </a:solidFill>
          <a:ln w="9525" algn="ctr">
            <a:solidFill>
              <a:srgbClr val="0070C0"/>
            </a:solidFill>
            <a:round/>
            <a:headEnd/>
            <a:tailEnd/>
          </a:ln>
        </p:spPr>
        <p:txBody>
          <a:bodyPr/>
          <a:lstStyle/>
          <a:p>
            <a:pPr algn="ctr"/>
            <a:endParaRPr lang="el-GR" sz="1000"/>
          </a:p>
        </p:txBody>
      </p:sp>
      <p:cxnSp>
        <p:nvCxnSpPr>
          <p:cNvPr id="157" name="Straight Connector 156"/>
          <p:cNvCxnSpPr/>
          <p:nvPr>
            <p:custDataLst>
              <p:tags r:id="rId142"/>
            </p:custDataLst>
          </p:nvPr>
        </p:nvCxnSpPr>
        <p:spPr bwMode="gray">
          <a:xfrm>
            <a:off x="3138488" y="5827713"/>
            <a:ext cx="0" cy="88900"/>
          </a:xfrm>
          <a:prstGeom prst="line">
            <a:avLst/>
          </a:prstGeom>
          <a:noFill/>
          <a:ln w="9525" cap="flat" cmpd="sng" algn="ctr">
            <a:solidFill>
              <a:srgbClr val="6EB4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5" name="Diamond 202"/>
          <p:cNvSpPr>
            <a:spLocks noChangeArrowheads="1"/>
          </p:cNvSpPr>
          <p:nvPr>
            <p:custDataLst>
              <p:tags r:id="rId143"/>
            </p:custDataLst>
          </p:nvPr>
        </p:nvSpPr>
        <p:spPr bwMode="auto">
          <a:xfrm>
            <a:off x="2557463" y="5827713"/>
            <a:ext cx="88900" cy="88900"/>
          </a:xfrm>
          <a:prstGeom prst="diamond">
            <a:avLst/>
          </a:prstGeom>
          <a:solidFill>
            <a:srgbClr val="9DB1CF"/>
          </a:solidFill>
          <a:ln w="9525" algn="ctr">
            <a:solidFill>
              <a:srgbClr val="9DB1CF"/>
            </a:solidFill>
            <a:round/>
            <a:headEnd/>
            <a:tailEnd/>
          </a:ln>
        </p:spPr>
        <p:txBody>
          <a:bodyPr/>
          <a:lstStyle/>
          <a:p>
            <a:pPr algn="ctr"/>
            <a:endParaRPr lang="el-GR" sz="1000"/>
          </a:p>
        </p:txBody>
      </p:sp>
      <p:cxnSp>
        <p:nvCxnSpPr>
          <p:cNvPr id="159" name="Straight Connector 158"/>
          <p:cNvCxnSpPr/>
          <p:nvPr>
            <p:custDataLst>
              <p:tags r:id="rId144"/>
            </p:custDataLst>
          </p:nvPr>
        </p:nvCxnSpPr>
        <p:spPr bwMode="gray">
          <a:xfrm>
            <a:off x="3094038" y="5827713"/>
            <a:ext cx="88900" cy="88900"/>
          </a:xfrm>
          <a:prstGeom prst="line">
            <a:avLst/>
          </a:prstGeom>
          <a:noFill/>
          <a:ln w="9525" cap="flat" cmpd="sng" algn="ctr">
            <a:solidFill>
              <a:srgbClr val="6EB4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8" name="Straight Connector 157"/>
          <p:cNvCxnSpPr/>
          <p:nvPr>
            <p:custDataLst>
              <p:tags r:id="rId145"/>
            </p:custDataLst>
          </p:nvPr>
        </p:nvCxnSpPr>
        <p:spPr bwMode="gray">
          <a:xfrm flipH="1">
            <a:off x="3094038" y="5827713"/>
            <a:ext cx="88900" cy="88900"/>
          </a:xfrm>
          <a:prstGeom prst="line">
            <a:avLst/>
          </a:prstGeom>
          <a:noFill/>
          <a:ln w="9525" cap="flat" cmpd="sng" algn="ctr">
            <a:solidFill>
              <a:srgbClr val="6EB4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4" name="Rectangle 153"/>
          <p:cNvSpPr/>
          <p:nvPr>
            <p:custDataLst>
              <p:tags r:id="rId146"/>
            </p:custDataLst>
          </p:nvPr>
        </p:nvSpPr>
        <p:spPr bwMode="auto">
          <a:xfrm>
            <a:off x="3622675" y="5834063"/>
            <a:ext cx="76200" cy="76200"/>
          </a:xfrm>
          <a:prstGeom prst="rect">
            <a:avLst/>
          </a:prstGeom>
          <a:solidFill>
            <a:srgbClr val="1D0E72"/>
          </a:solidFill>
          <a:ln w="9525" cap="flat" cmpd="sng" algn="ctr">
            <a:solidFill>
              <a:srgbClr val="1D0E7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65" name="Rectangle 91"/>
          <p:cNvSpPr>
            <a:spLocks noChangeArrowheads="1"/>
          </p:cNvSpPr>
          <p:nvPr>
            <p:custDataLst>
              <p:tags r:id="rId147"/>
            </p:custDataLst>
          </p:nvPr>
        </p:nvSpPr>
        <p:spPr bwMode="auto">
          <a:xfrm>
            <a:off x="1241425" y="5800725"/>
            <a:ext cx="84138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fld id="{3FE044A7-55C0-45A2-B4B0-157BDFA11DC4}" type="datetime'''''''''A'''''''''''''''''''''''''''''''''">
              <a:rPr lang="en-US" altLang="en-US" sz="1000">
                <a:cs typeface="Arial" panose="020B0604020202020204" pitchFamily="34" charset="0"/>
              </a:rPr>
              <a:pPr/>
              <a:t>A</a:t>
            </a:fld>
            <a:endParaRPr lang="en-US" sz="10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63" name="Rectangle 92"/>
          <p:cNvSpPr>
            <a:spLocks noChangeArrowheads="1"/>
          </p:cNvSpPr>
          <p:nvPr>
            <p:custDataLst>
              <p:tags r:id="rId148"/>
            </p:custDataLst>
          </p:nvPr>
        </p:nvSpPr>
        <p:spPr bwMode="auto">
          <a:xfrm>
            <a:off x="1755775" y="5800725"/>
            <a:ext cx="84138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fld id="{AEAC018B-84E4-45F3-929F-9A956F9F0DA4}" type="datetime'''''''''''''''''B'''''''''''''''''''''''''''''''''''''''">
              <a:rPr lang="en-US" altLang="en-US" sz="1000">
                <a:cs typeface="Arial" panose="020B0604020202020204" pitchFamily="34" charset="0"/>
              </a:rPr>
              <a:pPr/>
              <a:t>B</a:t>
            </a:fld>
            <a:endParaRPr lang="en-US" sz="10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62" name="Rectangle 29"/>
          <p:cNvSpPr>
            <a:spLocks noChangeArrowheads="1"/>
          </p:cNvSpPr>
          <p:nvPr>
            <p:custDataLst>
              <p:tags r:id="rId149"/>
            </p:custDataLst>
          </p:nvPr>
        </p:nvSpPr>
        <p:spPr bwMode="auto">
          <a:xfrm>
            <a:off x="2270125" y="5800725"/>
            <a:ext cx="92075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fld id="{D19BABD4-2954-4237-BE48-704B7C797765}" type="datetime'''''''C'''''''''''''''''''''">
              <a:rPr lang="en-US" altLang="en-US" sz="1000">
                <a:cs typeface="Arial" panose="020B0604020202020204" pitchFamily="34" charset="0"/>
              </a:rPr>
              <a:pPr/>
              <a:t>C</a:t>
            </a:fld>
            <a:endParaRPr lang="en-US" sz="1000">
              <a:cs typeface="Arial" panose="020B0604020202020204" pitchFamily="34" charset="0"/>
              <a:sym typeface="+mn-lt"/>
            </a:endParaRPr>
          </a:p>
        </p:txBody>
      </p:sp>
      <p:sp>
        <p:nvSpPr>
          <p:cNvPr id="160" name="Rectangle 32"/>
          <p:cNvSpPr>
            <a:spLocks noChangeArrowheads="1"/>
          </p:cNvSpPr>
          <p:nvPr>
            <p:custDataLst>
              <p:tags r:id="rId150"/>
            </p:custDataLst>
          </p:nvPr>
        </p:nvSpPr>
        <p:spPr bwMode="auto">
          <a:xfrm>
            <a:off x="2792413" y="5800725"/>
            <a:ext cx="106363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fld id="{F76AA2ED-615C-435C-BA22-14487B57FE1C}" type="datetime'M'''''''''''''''''''''''''''''''''''''''''''''''">
              <a:rPr lang="en-US" altLang="en-US" sz="1000">
                <a:cs typeface="Arial" panose="020B0604020202020204" pitchFamily="34" charset="0"/>
              </a:rPr>
              <a:pPr/>
              <a:t>M</a:t>
            </a:fld>
            <a:endParaRPr lang="en-US" sz="10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64" name="Rectangle 34"/>
          <p:cNvSpPr>
            <a:spLocks noChangeArrowheads="1"/>
          </p:cNvSpPr>
          <p:nvPr>
            <p:custDataLst>
              <p:tags r:id="rId151"/>
            </p:custDataLst>
          </p:nvPr>
        </p:nvSpPr>
        <p:spPr bwMode="auto">
          <a:xfrm>
            <a:off x="3328988" y="5800725"/>
            <a:ext cx="92075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fld id="{EFA3027D-0110-43C4-ACBA-08994F05E43A}" type="datetime'''''''''''''''''''N'''''''''''''''">
              <a:rPr lang="en-US" altLang="en-US" sz="1000">
                <a:cs typeface="Arial" panose="020B0604020202020204" pitchFamily="34" charset="0"/>
              </a:rPr>
              <a:pPr/>
              <a:t>N</a:t>
            </a:fld>
            <a:endParaRPr lang="en-US" sz="1000">
              <a:cs typeface="Arial" panose="020B0604020202020204" pitchFamily="34" charset="0"/>
              <a:sym typeface="+mn-lt"/>
            </a:endParaRPr>
          </a:p>
        </p:txBody>
      </p:sp>
      <p:sp>
        <p:nvSpPr>
          <p:cNvPr id="161" name="Rectangle 37"/>
          <p:cNvSpPr>
            <a:spLocks noChangeArrowheads="1"/>
          </p:cNvSpPr>
          <p:nvPr>
            <p:custDataLst>
              <p:tags r:id="rId152"/>
            </p:custDataLst>
          </p:nvPr>
        </p:nvSpPr>
        <p:spPr bwMode="auto">
          <a:xfrm>
            <a:off x="3851275" y="5800725"/>
            <a:ext cx="92075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ctr"/>
          <a:lstStyle/>
          <a:p>
            <a:fld id="{5C0FD8DC-3C9B-4A40-AAB8-D60E4B8B2962}" type="datetime'''''''''''''''''''''''''''''''R'''''">
              <a:rPr lang="en-US" altLang="en-US" sz="1000">
                <a:cs typeface="Arial" panose="020B0604020202020204" pitchFamily="34" charset="0"/>
              </a:rPr>
              <a:pPr/>
              <a:t>R</a:t>
            </a:fld>
            <a:endParaRPr lang="en-US" sz="1000">
              <a:latin typeface="Arial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217" name="Straight Connector 208">
            <a:extLst>
              <a:ext uri="{FF2B5EF4-FFF2-40B4-BE49-F238E27FC236}">
                <a16:creationId xmlns:a16="http://schemas.microsoft.com/office/drawing/2014/main" id="{FDCF0910-0107-4172-976C-9DAC7263AB5D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287927" y="2397760"/>
            <a:ext cx="0" cy="2819400"/>
          </a:xfrm>
          <a:prstGeom prst="line">
            <a:avLst/>
          </a:prstGeom>
          <a:noFill/>
          <a:ln w="15875" algn="ctr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219" name="Straight Connector 208">
            <a:extLst>
              <a:ext uri="{FF2B5EF4-FFF2-40B4-BE49-F238E27FC236}">
                <a16:creationId xmlns:a16="http://schemas.microsoft.com/office/drawing/2014/main" id="{CC6AE278-50B4-446D-9444-78B4E1335E8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169644" y="2397760"/>
            <a:ext cx="0" cy="2819400"/>
          </a:xfrm>
          <a:prstGeom prst="line">
            <a:avLst/>
          </a:prstGeom>
          <a:noFill/>
          <a:ln w="15875" algn="ctr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220" name="Straight Connector 208">
            <a:extLst>
              <a:ext uri="{FF2B5EF4-FFF2-40B4-BE49-F238E27FC236}">
                <a16:creationId xmlns:a16="http://schemas.microsoft.com/office/drawing/2014/main" id="{23425F3D-BECB-4B75-A2B6-90033E495D2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393301" y="2397760"/>
            <a:ext cx="0" cy="2819400"/>
          </a:xfrm>
          <a:prstGeom prst="line">
            <a:avLst/>
          </a:prstGeom>
          <a:noFill/>
          <a:ln w="15875" algn="ctr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222" name="Straight Connector 208">
            <a:extLst>
              <a:ext uri="{FF2B5EF4-FFF2-40B4-BE49-F238E27FC236}">
                <a16:creationId xmlns:a16="http://schemas.microsoft.com/office/drawing/2014/main" id="{F705A1D0-79CE-4393-8718-1BE13B47213D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616958" y="2397760"/>
            <a:ext cx="0" cy="2819400"/>
          </a:xfrm>
          <a:prstGeom prst="line">
            <a:avLst/>
          </a:prstGeom>
          <a:noFill/>
          <a:ln w="15875" algn="ctr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239" name="Straight Connector 208">
            <a:extLst>
              <a:ext uri="{FF2B5EF4-FFF2-40B4-BE49-F238E27FC236}">
                <a16:creationId xmlns:a16="http://schemas.microsoft.com/office/drawing/2014/main" id="{2A355C83-E370-4575-AA3A-1EC52292BF4B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722330" y="2397760"/>
            <a:ext cx="0" cy="2819400"/>
          </a:xfrm>
          <a:prstGeom prst="line">
            <a:avLst/>
          </a:prstGeom>
          <a:noFill/>
          <a:ln w="15875" algn="ctr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240" name="Straight Connector 208">
            <a:extLst>
              <a:ext uri="{FF2B5EF4-FFF2-40B4-BE49-F238E27FC236}">
                <a16:creationId xmlns:a16="http://schemas.microsoft.com/office/drawing/2014/main" id="{60AE8601-7A84-4958-BCD6-BA932184B41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840615" y="2397760"/>
            <a:ext cx="0" cy="2819400"/>
          </a:xfrm>
          <a:prstGeom prst="line">
            <a:avLst/>
          </a:prstGeom>
          <a:noFill/>
          <a:ln w="15875" algn="ctr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241" name="Straight Connector 208">
            <a:extLst>
              <a:ext uri="{FF2B5EF4-FFF2-40B4-BE49-F238E27FC236}">
                <a16:creationId xmlns:a16="http://schemas.microsoft.com/office/drawing/2014/main" id="{AE24F245-27D6-4C37-BBAD-111832386CDA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945987" y="2397760"/>
            <a:ext cx="0" cy="2819400"/>
          </a:xfrm>
          <a:prstGeom prst="line">
            <a:avLst/>
          </a:prstGeom>
          <a:noFill/>
          <a:ln w="15875" algn="ctr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242" name="Straight Connector 208">
            <a:extLst>
              <a:ext uri="{FF2B5EF4-FFF2-40B4-BE49-F238E27FC236}">
                <a16:creationId xmlns:a16="http://schemas.microsoft.com/office/drawing/2014/main" id="{9BECF211-2ADC-4497-A0F0-7A98828998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0064272" y="2397760"/>
            <a:ext cx="0" cy="2819400"/>
          </a:xfrm>
          <a:prstGeom prst="line">
            <a:avLst/>
          </a:prstGeom>
          <a:noFill/>
          <a:ln w="15875" algn="ctr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</p:cxnSp>
      <p:sp>
        <p:nvSpPr>
          <p:cNvPr id="172" name="Text Placeholder 1">
            <a:extLst>
              <a:ext uri="{FF2B5EF4-FFF2-40B4-BE49-F238E27FC236}">
                <a16:creationId xmlns:a16="http://schemas.microsoft.com/office/drawing/2014/main" id="{DBC2C54D-0527-4C9A-AF75-EBD238B89A4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013" y="6397157"/>
            <a:ext cx="7560000" cy="110800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</p:spTree>
    <p:extLst>
      <p:ext uri="{BB962C8B-B14F-4D97-AF65-F5344CB8AC3E}">
        <p14:creationId xmlns:p14="http://schemas.microsoft.com/office/powerpoint/2010/main" val="336547395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D09AF58E-1C25-4905-9A27-221B6B44A0A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28160" y="835016"/>
            <a:ext cx="6999461" cy="4999475"/>
          </a:xfrm>
        </p:spPr>
        <p:txBody>
          <a:bodyPr/>
          <a:lstStyle/>
          <a:p>
            <a:pPr marL="0" indent="0">
              <a:spcBef>
                <a:spcPts val="1200"/>
              </a:spcBef>
              <a:buNone/>
              <a:tabLst>
                <a:tab pos="8296275" algn="r"/>
              </a:tabLst>
            </a:pPr>
            <a:endParaRPr lang="en-US" dirty="0"/>
          </a:p>
          <a:p>
            <a:pPr>
              <a:spcBef>
                <a:spcPts val="1200"/>
              </a:spcBef>
              <a:buClr>
                <a:srgbClr val="AABECA"/>
              </a:buClr>
              <a:tabLst>
                <a:tab pos="8296275" algn="r"/>
              </a:tabLst>
            </a:pPr>
            <a:r>
              <a:rPr lang="en-US" dirty="0">
                <a:solidFill>
                  <a:srgbClr val="AABECA"/>
                </a:solidFill>
              </a:rPr>
              <a:t>Market Overview</a:t>
            </a:r>
          </a:p>
          <a:p>
            <a:pPr>
              <a:spcBef>
                <a:spcPts val="1200"/>
              </a:spcBef>
              <a:buClr>
                <a:srgbClr val="AABECA"/>
              </a:buClr>
              <a:tabLst>
                <a:tab pos="8296275" algn="r"/>
              </a:tabLst>
            </a:pPr>
            <a:r>
              <a:rPr lang="en-US" dirty="0">
                <a:solidFill>
                  <a:srgbClr val="AABECA"/>
                </a:solidFill>
              </a:rPr>
              <a:t>Analysis by ATC</a:t>
            </a:r>
          </a:p>
          <a:p>
            <a:pPr>
              <a:spcBef>
                <a:spcPts val="1200"/>
              </a:spcBef>
              <a:buClr>
                <a:srgbClr val="AABECA"/>
              </a:buClr>
              <a:tabLst>
                <a:tab pos="8296275" algn="r"/>
              </a:tabLst>
            </a:pPr>
            <a:r>
              <a:rPr lang="en-US" dirty="0">
                <a:solidFill>
                  <a:srgbClr val="AABECA"/>
                </a:solidFill>
              </a:rPr>
              <a:t>Price evolution</a:t>
            </a:r>
          </a:p>
          <a:p>
            <a:pPr>
              <a:spcBef>
                <a:spcPts val="1200"/>
              </a:spcBef>
              <a:buClr>
                <a:srgbClr val="00A3E0"/>
              </a:buClr>
              <a:tabLst>
                <a:tab pos="8296275" algn="r"/>
              </a:tabLst>
            </a:pPr>
            <a:r>
              <a:rPr lang="en-US" dirty="0"/>
              <a:t>Substitution analysis (Market Dynamics)</a:t>
            </a:r>
          </a:p>
          <a:p>
            <a:pPr>
              <a:spcBef>
                <a:spcPts val="1200"/>
              </a:spcBef>
              <a:buClr>
                <a:srgbClr val="AABECA"/>
              </a:buClr>
              <a:tabLst>
                <a:tab pos="8296275" algn="r"/>
              </a:tabLst>
            </a:pPr>
            <a:r>
              <a:rPr lang="en-US" dirty="0">
                <a:solidFill>
                  <a:srgbClr val="AABECA"/>
                </a:solidFill>
              </a:rPr>
              <a:t>EU Benchmarking</a:t>
            </a:r>
          </a:p>
          <a:p>
            <a:pPr>
              <a:spcBef>
                <a:spcPts val="1200"/>
              </a:spcBef>
              <a:tabLst>
                <a:tab pos="8296275" algn="r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48018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610" name="Rectangle 2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23018635"/>
              </p:ext>
            </p:ext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0" imgH="0" progId="TCLayout.ActiveDocument.1">
                  <p:embed/>
                </p:oleObj>
              </mc:Choice>
              <mc:Fallback>
                <p:oleObj name="think-cell Slide" r:id="rId15" imgW="0" imgH="0" progId="TCLayout.ActiveDocument.1">
                  <p:embed/>
                  <p:pic>
                    <p:nvPicPr>
                      <p:cNvPr id="6861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612" name="Rectangle 3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1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total market</a:t>
            </a:r>
            <a:endParaRPr lang="el-GR" dirty="0"/>
          </a:p>
        </p:txBody>
      </p:sp>
      <p:sp>
        <p:nvSpPr>
          <p:cNvPr id="57" name="Text Placeholder 5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Note: Excluding all L.3816 products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Retail market at PSP sales decomposition – MAT/03/22 vs. MAT/03</a:t>
            </a:r>
            <a:r>
              <a:rPr lang="el-GR" dirty="0">
                <a:latin typeface="+mj-lt"/>
              </a:rPr>
              <a:t>/2</a:t>
            </a:r>
            <a:r>
              <a:rPr lang="en-US" dirty="0">
                <a:latin typeface="+mj-lt"/>
              </a:rPr>
              <a:t>3</a:t>
            </a:r>
            <a:endParaRPr lang="el-GR" dirty="0">
              <a:latin typeface="+mj-lt"/>
            </a:endParaRPr>
          </a:p>
        </p:txBody>
      </p:sp>
      <p:sp>
        <p:nvSpPr>
          <p:cNvPr id="54" name="Title 5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~€46M price drop is</a:t>
            </a:r>
            <a:r>
              <a:rPr lang="el-GR" dirty="0"/>
              <a:t> </a:t>
            </a:r>
            <a:r>
              <a:rPr lang="en-US" dirty="0"/>
              <a:t>outpaced by growth in volume (~€150M) and volume mix (~€149M)</a:t>
            </a:r>
          </a:p>
        </p:txBody>
      </p:sp>
      <p:cxnSp>
        <p:nvCxnSpPr>
          <p:cNvPr id="35" name="Straight Connector 34"/>
          <p:cNvCxnSpPr/>
          <p:nvPr>
            <p:custDataLst>
              <p:tags r:id="rId2"/>
            </p:custDataLst>
          </p:nvPr>
        </p:nvCxnSpPr>
        <p:spPr bwMode="auto">
          <a:xfrm>
            <a:off x="2922588" y="3605213"/>
            <a:ext cx="1154113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" name="Straight Connector 2"/>
          <p:cNvCxnSpPr/>
          <p:nvPr>
            <p:custDataLst>
              <p:tags r:id="rId3"/>
            </p:custDataLst>
          </p:nvPr>
        </p:nvCxnSpPr>
        <p:spPr bwMode="auto">
          <a:xfrm>
            <a:off x="5521325" y="3009900"/>
            <a:ext cx="1154113" cy="0"/>
          </a:xfrm>
          <a:prstGeom prst="line">
            <a:avLst/>
          </a:prstGeom>
          <a:ln w="3175" cmpd="sng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>
            <p:custDataLst>
              <p:tags r:id="rId4"/>
            </p:custDataLst>
          </p:nvPr>
        </p:nvCxnSpPr>
        <p:spPr bwMode="auto">
          <a:xfrm>
            <a:off x="8118475" y="2420938"/>
            <a:ext cx="1154113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A84DC2AA-BBDE-63FF-B0FD-BE445B551F5A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27894166"/>
              </p:ext>
            </p:extLst>
          </p:nvPr>
        </p:nvGraphicFramePr>
        <p:xfrm>
          <a:off x="392113" y="2128838"/>
          <a:ext cx="10985500" cy="258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78698E2D-597A-4C88-A504-0D5ABB74EF9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4081462" y="3405188"/>
            <a:ext cx="1435100" cy="3492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68623" name="Rectangle 3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035175" y="4656138"/>
            <a:ext cx="331788" cy="16827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C0E30A10-4004-4EEB-8441-A6264FB12052}" type="datetime'''''''''''''''''''''P''''''r''''i''''''''c''''e'">
              <a:rPr lang="en-US" sz="1100">
                <a:latin typeface="Arial"/>
                <a:cs typeface="Arial"/>
                <a:sym typeface="Arial"/>
              </a:rPr>
              <a:pPr algn="ctr"/>
              <a:t>Price</a:t>
            </a:fld>
            <a:endParaRPr lang="el-GR" sz="1100">
              <a:latin typeface="Arial"/>
              <a:cs typeface="Arial"/>
              <a:sym typeface="Arial"/>
            </a:endParaRPr>
          </a:p>
        </p:txBody>
      </p:sp>
      <p:sp>
        <p:nvSpPr>
          <p:cNvPr id="68616" name="Rectangle 4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04863" y="1951038"/>
            <a:ext cx="193675" cy="16827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b"/>
          <a:lstStyle/>
          <a:p>
            <a:pPr algn="ctr"/>
            <a:r>
              <a:rPr lang="en-US" sz="1100" dirty="0">
                <a:latin typeface="Arial"/>
                <a:cs typeface="Arial"/>
                <a:sym typeface="Arial"/>
              </a:rPr>
              <a:t>M€</a:t>
            </a:r>
          </a:p>
        </p:txBody>
      </p:sp>
      <p:sp>
        <p:nvSpPr>
          <p:cNvPr id="68621" name="Rectangle 3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556125" y="4656138"/>
            <a:ext cx="487363" cy="16827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1202DD1E-033F-4682-94FE-70C3FF37CFCF}" type="datetime'''''''''''''''''V''''''''''o''''''lu''''m''''''''''''e'''''''">
              <a:rPr lang="en-US" sz="1100">
                <a:latin typeface="Arial"/>
                <a:cs typeface="Arial"/>
                <a:sym typeface="Arial"/>
              </a:rPr>
              <a:pPr algn="ctr"/>
              <a:t>Volume</a:t>
            </a:fld>
            <a:endParaRPr lang="en-US" sz="1100">
              <a:latin typeface="Arial"/>
              <a:cs typeface="Arial"/>
              <a:sym typeface="Arial"/>
            </a:endParaRPr>
          </a:p>
        </p:txBody>
      </p:sp>
      <p:sp>
        <p:nvSpPr>
          <p:cNvPr id="68619" name="Rectangle 3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153275" y="4656138"/>
            <a:ext cx="487363" cy="33655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43F37A75-636B-4A6F-9BCA-DC88F5E5E86D}" type="datetime'V''''''''''''o''l''''''u''''''me''''''''''''''''&#10;'' ''''Mix'">
              <a:rPr lang="en-US" sz="1100">
                <a:latin typeface="Arial"/>
                <a:cs typeface="Arial"/>
                <a:sym typeface="Arial"/>
              </a:rPr>
              <a:pPr algn="ctr"/>
              <a:t>Volume
 Mix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0E521C1-D305-40F4-B861-B3D7B60CBC0D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4603750" y="2816225"/>
            <a:ext cx="3905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8" tIns="0" rIns="20638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5A08D6F-E2FE-438F-A504-1D90FDA0DFFC}" type="datetime'''1''''''''''''5''''''''''''0''''''''''''''''.''4'''''">
              <a:rPr lang="en-US" altLang="en-US" sz="1100" smtClean="0">
                <a:solidFill>
                  <a:schemeClr val="tx1"/>
                </a:solidFill>
              </a:rPr>
              <a:pPr/>
              <a:t>150.4</a:t>
            </a:fld>
            <a:endParaRPr lang="en-US" sz="11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8617" name="Rectangle 62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9766300" y="4656138"/>
            <a:ext cx="457200" cy="16827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F8C6ACF7-A30A-4746-8C12-F5A642157045}" type="datetime'''''Δ''''''''''''''''S''''''a''''l''''''''e''s'''''''''''''">
              <a:rPr lang="en-US" sz="1100">
                <a:latin typeface="Arial"/>
                <a:cs typeface="Arial"/>
                <a:sym typeface="Arial"/>
              </a:rPr>
              <a:pPr algn="ctr"/>
              <a:t>ΔSales</a:t>
            </a:fld>
            <a:endParaRPr lang="el-GR" sz="1100" dirty="0">
              <a:latin typeface="Arial"/>
              <a:cs typeface="Arial"/>
              <a:sym typeface="Arial"/>
            </a:endParaRPr>
          </a:p>
        </p:txBody>
      </p:sp>
      <p:sp>
        <p:nvSpPr>
          <p:cNvPr id="68627" name="Oval 24"/>
          <p:cNvSpPr>
            <a:spLocks/>
          </p:cNvSpPr>
          <p:nvPr/>
        </p:nvSpPr>
        <p:spPr bwMode="auto">
          <a:xfrm>
            <a:off x="1857912" y="5540849"/>
            <a:ext cx="720000" cy="324000"/>
          </a:xfrm>
          <a:prstGeom prst="roundRect">
            <a:avLst/>
          </a:prstGeom>
          <a:solidFill>
            <a:srgbClr val="C30C3E"/>
          </a:solidFill>
          <a:ln w="9525" algn="ctr">
            <a:solidFill>
              <a:srgbClr val="C00000"/>
            </a:solidFill>
            <a:round/>
            <a:headEnd/>
            <a:tailEnd/>
          </a:ln>
        </p:spPr>
        <p:txBody>
          <a:bodyPr vert="horz" lIns="0" rIns="0" anchor="ctr"/>
          <a:lstStyle/>
          <a:p>
            <a:pPr algn="ctr"/>
            <a:r>
              <a:rPr lang="el-GR" sz="1000" b="1" dirty="0">
                <a:solidFill>
                  <a:schemeClr val="bg1"/>
                </a:solidFill>
                <a:latin typeface="+mj-lt"/>
              </a:rPr>
              <a:t>-</a:t>
            </a:r>
            <a:r>
              <a:rPr lang="en-US" sz="1000" b="1" dirty="0">
                <a:solidFill>
                  <a:schemeClr val="bg1"/>
                </a:solidFill>
                <a:latin typeface="+mj-lt"/>
              </a:rPr>
              <a:t>1.1</a:t>
            </a:r>
            <a:r>
              <a:rPr lang="el-GR" sz="1000" b="1" dirty="0">
                <a:solidFill>
                  <a:schemeClr val="bg1"/>
                </a:solidFill>
                <a:latin typeface="+mj-lt"/>
              </a:rPr>
              <a:t>%</a:t>
            </a:r>
          </a:p>
        </p:txBody>
      </p:sp>
      <p:sp>
        <p:nvSpPr>
          <p:cNvPr id="68628" name="Oval 28"/>
          <p:cNvSpPr>
            <a:spLocks noChangeArrowheads="1"/>
          </p:cNvSpPr>
          <p:nvPr/>
        </p:nvSpPr>
        <p:spPr bwMode="auto">
          <a:xfrm>
            <a:off x="4459399" y="5540849"/>
            <a:ext cx="720000" cy="324000"/>
          </a:xfrm>
          <a:prstGeom prst="roundRect">
            <a:avLst/>
          </a:prstGeom>
          <a:solidFill>
            <a:srgbClr val="007770"/>
          </a:solidFill>
          <a:ln w="9525" algn="ctr">
            <a:solidFill>
              <a:srgbClr val="007770"/>
            </a:solidFill>
            <a:round/>
            <a:headEnd/>
            <a:tailEnd/>
          </a:ln>
        </p:spPr>
        <p:txBody>
          <a:bodyPr vert="horz" lIns="0" tIns="0" rIns="0" bIns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+mj-lt"/>
              </a:rPr>
              <a:t>+3.5%</a:t>
            </a:r>
            <a:endParaRPr lang="el-GR" sz="1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8629" name="Oval 30"/>
          <p:cNvSpPr>
            <a:spLocks noChangeArrowheads="1"/>
          </p:cNvSpPr>
          <p:nvPr/>
        </p:nvSpPr>
        <p:spPr bwMode="auto">
          <a:xfrm>
            <a:off x="7060886" y="5540849"/>
            <a:ext cx="720000" cy="324000"/>
          </a:xfrm>
          <a:prstGeom prst="roundRect">
            <a:avLst/>
          </a:prstGeom>
          <a:solidFill>
            <a:srgbClr val="007770"/>
          </a:solidFill>
          <a:ln w="9525" algn="ctr">
            <a:solidFill>
              <a:srgbClr val="007770"/>
            </a:solidFill>
            <a:round/>
            <a:headEnd/>
            <a:tailEnd/>
          </a:ln>
        </p:spPr>
        <p:txBody>
          <a:bodyPr vert="horz" lIns="0" tIns="0" rIns="0" bIns="0" anchor="ctr"/>
          <a:lstStyle/>
          <a:p>
            <a:pPr algn="ctr"/>
            <a:r>
              <a:rPr lang="el-GR" sz="1000" b="1" dirty="0">
                <a:solidFill>
                  <a:schemeClr val="bg1"/>
                </a:solidFill>
                <a:latin typeface="+mj-lt"/>
              </a:rPr>
              <a:t>+</a:t>
            </a:r>
            <a:r>
              <a:rPr lang="en-US" sz="1000" b="1" dirty="0">
                <a:solidFill>
                  <a:schemeClr val="bg1"/>
                </a:solidFill>
                <a:latin typeface="+mj-lt"/>
              </a:rPr>
              <a:t>3.5%</a:t>
            </a:r>
            <a:endParaRPr lang="el-GR" sz="1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8631" name="Oval 31"/>
          <p:cNvSpPr>
            <a:spLocks noChangeArrowheads="1"/>
          </p:cNvSpPr>
          <p:nvPr/>
        </p:nvSpPr>
        <p:spPr bwMode="auto">
          <a:xfrm>
            <a:off x="9662374" y="5540849"/>
            <a:ext cx="720000" cy="324000"/>
          </a:xfrm>
          <a:prstGeom prst="roundRect">
            <a:avLst/>
          </a:prstGeom>
          <a:solidFill>
            <a:srgbClr val="007770"/>
          </a:solidFill>
          <a:ln w="9525" algn="ctr">
            <a:solidFill>
              <a:srgbClr val="007770"/>
            </a:solidFill>
            <a:round/>
            <a:headEnd/>
            <a:tailEnd/>
          </a:ln>
        </p:spPr>
        <p:txBody>
          <a:bodyPr vert="horz" lIns="0" rIns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+mj-lt"/>
              </a:rPr>
              <a:t>+5.9%</a:t>
            </a:r>
          </a:p>
        </p:txBody>
      </p:sp>
      <p:sp>
        <p:nvSpPr>
          <p:cNvPr id="39" name="Rectangle 38"/>
          <p:cNvSpPr>
            <a:spLocks noChangeArrowheads="1"/>
          </p:cNvSpPr>
          <p:nvPr/>
        </p:nvSpPr>
        <p:spPr bwMode="auto">
          <a:xfrm>
            <a:off x="10574553" y="5540849"/>
            <a:ext cx="7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000" b="1" i="1" dirty="0">
                <a:latin typeface="+mj-lt"/>
              </a:rPr>
              <a:t>MAT/03/23</a:t>
            </a:r>
          </a:p>
        </p:txBody>
      </p:sp>
      <p:sp>
        <p:nvSpPr>
          <p:cNvPr id="46" name="Rectangle 45"/>
          <p:cNvSpPr>
            <a:spLocks noChangeArrowheads="1"/>
          </p:cNvSpPr>
          <p:nvPr/>
        </p:nvSpPr>
        <p:spPr bwMode="auto">
          <a:xfrm>
            <a:off x="917477" y="5504486"/>
            <a:ext cx="676275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000" b="1" i="1" dirty="0">
                <a:latin typeface="+mj-lt"/>
              </a:rPr>
              <a:t>% PPG</a:t>
            </a:r>
          </a:p>
          <a:p>
            <a:pPr algn="ctr">
              <a:lnSpc>
                <a:spcPct val="85000"/>
              </a:lnSpc>
            </a:pPr>
            <a:r>
              <a:rPr lang="en-US" sz="1000" b="1" i="1" dirty="0">
                <a:latin typeface="+mj-lt"/>
              </a:rPr>
              <a:t>allocation</a:t>
            </a:r>
          </a:p>
        </p:txBody>
      </p:sp>
      <p:sp>
        <p:nvSpPr>
          <p:cNvPr id="36" name="Rectangle 35"/>
          <p:cNvSpPr/>
          <p:nvPr/>
        </p:nvSpPr>
        <p:spPr bwMode="auto">
          <a:xfrm>
            <a:off x="3593090" y="1848406"/>
            <a:ext cx="5141913" cy="3325269"/>
          </a:xfrm>
          <a:prstGeom prst="rect">
            <a:avLst/>
          </a:prstGeom>
          <a:noFill/>
          <a:ln w="19050" cap="flat" cmpd="sng" algn="ctr">
            <a:solidFill>
              <a:srgbClr val="005187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l-GR" sz="1000">
              <a:latin typeface="+mj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669538" y="1875836"/>
            <a:ext cx="492582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050" dirty="0"/>
              <a:t>All price cut in total market offset by</a:t>
            </a:r>
            <a:r>
              <a:rPr lang="en-US" sz="1050" b="1" dirty="0">
                <a:latin typeface="Arial"/>
              </a:rPr>
              <a:t> ~299M </a:t>
            </a:r>
            <a:r>
              <a:rPr lang="en-US" sz="1050" dirty="0">
                <a:latin typeface="Arial"/>
              </a:rPr>
              <a:t>increases in </a:t>
            </a:r>
            <a:r>
              <a:rPr lang="en-US" sz="1050" b="1" dirty="0">
                <a:latin typeface="Arial"/>
              </a:rPr>
              <a:t>volume and volume mix</a:t>
            </a:r>
            <a:endParaRPr lang="en-US" sz="1050" b="1" dirty="0"/>
          </a:p>
        </p:txBody>
      </p:sp>
      <p:sp>
        <p:nvSpPr>
          <p:cNvPr id="28" name="Text Placeholder 1">
            <a:extLst>
              <a:ext uri="{FF2B5EF4-FFF2-40B4-BE49-F238E27FC236}">
                <a16:creationId xmlns:a16="http://schemas.microsoft.com/office/drawing/2014/main" id="{FA64C36E-2EF0-476E-99D9-4021EEC90C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013" y="6397157"/>
            <a:ext cx="7560000" cy="110800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</p:spTree>
    <p:extLst>
      <p:ext uri="{BB962C8B-B14F-4D97-AF65-F5344CB8AC3E}">
        <p14:creationId xmlns:p14="http://schemas.microsoft.com/office/powerpoint/2010/main" val="1077269802"/>
      </p:ext>
    </p:extLst>
  </p:cSld>
  <p:clrMapOvr>
    <a:masterClrMapping/>
  </p:clrMapOvr>
  <p:transition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610" name="Rectangle 2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83803993"/>
              </p:ext>
            </p:ext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0" imgH="0" progId="TCLayout.ActiveDocument.1">
                  <p:embed/>
                </p:oleObj>
              </mc:Choice>
              <mc:Fallback>
                <p:oleObj name="think-cell Slide" r:id="rId15" imgW="0" imgH="0" progId="TCLayout.ActiveDocument.1">
                  <p:embed/>
                  <p:pic>
                    <p:nvPicPr>
                      <p:cNvPr id="6861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TextBox 74"/>
          <p:cNvSpPr txBox="1"/>
          <p:nvPr/>
        </p:nvSpPr>
        <p:spPr>
          <a:xfrm>
            <a:off x="3669538" y="1875836"/>
            <a:ext cx="4925822" cy="4847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US" sz="1050" dirty="0">
                <a:latin typeface="Arial"/>
              </a:rPr>
              <a:t>All price cut in Reimbursed market offset by </a:t>
            </a:r>
            <a:r>
              <a:rPr lang="en-US" sz="1050" b="1" dirty="0">
                <a:latin typeface="Arial"/>
              </a:rPr>
              <a:t>~225M </a:t>
            </a:r>
            <a:r>
              <a:rPr lang="en-US" sz="1050" dirty="0">
                <a:latin typeface="Arial"/>
              </a:rPr>
              <a:t>increases in </a:t>
            </a:r>
            <a:r>
              <a:rPr lang="en-US" sz="1050" b="1" dirty="0">
                <a:latin typeface="Arial"/>
              </a:rPr>
              <a:t>volume and volume mix</a:t>
            </a:r>
          </a:p>
          <a:p>
            <a:pPr lvl="0" algn="ctr"/>
            <a:endParaRPr lang="el-GR" sz="1050" b="1" dirty="0">
              <a:latin typeface="Arial"/>
            </a:endParaRPr>
          </a:p>
        </p:txBody>
      </p:sp>
      <p:sp>
        <p:nvSpPr>
          <p:cNvPr id="72" name="Rectangle 71"/>
          <p:cNvSpPr/>
          <p:nvPr/>
        </p:nvSpPr>
        <p:spPr bwMode="auto">
          <a:xfrm>
            <a:off x="3575673" y="1770029"/>
            <a:ext cx="5141913" cy="3325269"/>
          </a:xfrm>
          <a:prstGeom prst="rect">
            <a:avLst/>
          </a:prstGeom>
          <a:noFill/>
          <a:ln w="19050" cap="flat" cmpd="sng" algn="ctr">
            <a:solidFill>
              <a:srgbClr val="005187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l-GR" sz="1000">
              <a:latin typeface="+mj-lt"/>
            </a:endParaRPr>
          </a:p>
        </p:txBody>
      </p:sp>
      <p:sp>
        <p:nvSpPr>
          <p:cNvPr id="68612" name="Rectangle 3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reimbursed market</a:t>
            </a:r>
            <a:endParaRPr lang="el-GR" dirty="0"/>
          </a:p>
        </p:txBody>
      </p:sp>
      <p:sp>
        <p:nvSpPr>
          <p:cNvPr id="57" name="Text Placeholder 56"/>
          <p:cNvSpPr>
            <a:spLocks noGrp="1"/>
          </p:cNvSpPr>
          <p:nvPr>
            <p:ph type="body" sz="quarter" idx="18"/>
          </p:nvPr>
        </p:nvSpPr>
        <p:spPr>
          <a:xfrm>
            <a:off x="477012" y="6118280"/>
            <a:ext cx="11246241" cy="110800"/>
          </a:xfrm>
        </p:spPr>
        <p:txBody>
          <a:bodyPr/>
          <a:lstStyle/>
          <a:p>
            <a:r>
              <a:rPr lang="en-US" dirty="0"/>
              <a:t>Note: Excluding all L.3816 products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Retail market at PSP sales decomposition – MAT/03/22 vs. MAT/03</a:t>
            </a:r>
            <a:r>
              <a:rPr lang="el-GR" dirty="0">
                <a:latin typeface="+mj-lt"/>
              </a:rPr>
              <a:t>/2</a:t>
            </a:r>
            <a:r>
              <a:rPr lang="en-US" dirty="0">
                <a:latin typeface="+mj-lt"/>
              </a:rPr>
              <a:t>3</a:t>
            </a:r>
            <a:endParaRPr lang="el-GR" dirty="0">
              <a:latin typeface="+mj-lt"/>
            </a:endParaRPr>
          </a:p>
        </p:txBody>
      </p:sp>
      <p:sp>
        <p:nvSpPr>
          <p:cNvPr id="54" name="Title 5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+mj-lt"/>
              </a:rPr>
              <a:t>~€56M price drop in the Reimbursed market, outpaced by growth in volume (~€</a:t>
            </a:r>
            <a:r>
              <a:rPr lang="en-US" dirty="0"/>
              <a:t>122</a:t>
            </a:r>
            <a:r>
              <a:rPr lang="en-US" dirty="0">
                <a:latin typeface="+mj-lt"/>
              </a:rPr>
              <a:t>M) and volume mix (~€</a:t>
            </a:r>
            <a:r>
              <a:rPr lang="en-US" dirty="0"/>
              <a:t>104</a:t>
            </a:r>
            <a:r>
              <a:rPr lang="en-US" dirty="0">
                <a:latin typeface="+mj-lt"/>
              </a:rPr>
              <a:t>M)</a:t>
            </a:r>
          </a:p>
        </p:txBody>
      </p:sp>
      <p:cxnSp>
        <p:nvCxnSpPr>
          <p:cNvPr id="35" name="Straight Connector 34"/>
          <p:cNvCxnSpPr/>
          <p:nvPr>
            <p:custDataLst>
              <p:tags r:id="rId2"/>
            </p:custDataLst>
          </p:nvPr>
        </p:nvCxnSpPr>
        <p:spPr bwMode="auto">
          <a:xfrm>
            <a:off x="2935288" y="3641725"/>
            <a:ext cx="1152525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35"/>
          <p:cNvCxnSpPr/>
          <p:nvPr>
            <p:custDataLst>
              <p:tags r:id="rId3"/>
            </p:custDataLst>
          </p:nvPr>
        </p:nvCxnSpPr>
        <p:spPr bwMode="auto">
          <a:xfrm>
            <a:off x="5529263" y="3160713"/>
            <a:ext cx="1152525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" name="Straight Connector 1"/>
          <p:cNvCxnSpPr/>
          <p:nvPr>
            <p:custDataLst>
              <p:tags r:id="rId4"/>
            </p:custDataLst>
          </p:nvPr>
        </p:nvCxnSpPr>
        <p:spPr bwMode="auto">
          <a:xfrm>
            <a:off x="8124825" y="2751138"/>
            <a:ext cx="1152525" cy="0"/>
          </a:xfrm>
          <a:prstGeom prst="line">
            <a:avLst/>
          </a:prstGeom>
          <a:ln w="3175" cmpd="sng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502FB932-7967-8BD4-6C9C-ABBBC05D1F69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99316038"/>
              </p:ext>
            </p:extLst>
          </p:nvPr>
        </p:nvGraphicFramePr>
        <p:xfrm>
          <a:off x="406400" y="2130425"/>
          <a:ext cx="10971213" cy="2584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68614" name="Rectangle 68613">
            <a:extLst>
              <a:ext uri="{FF2B5EF4-FFF2-40B4-BE49-F238E27FC236}">
                <a16:creationId xmlns:a16="http://schemas.microsoft.com/office/drawing/2014/main" id="{D5341898-22E8-66F2-7882-DC09E5D8B10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4092575" y="3405188"/>
            <a:ext cx="1431925" cy="3492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  <p:sp>
        <p:nvSpPr>
          <p:cNvPr id="68617" name="Rectangle 6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9769475" y="4654550"/>
            <a:ext cx="457200" cy="16827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F8C6ACF7-A30A-4746-8C12-F5A642157045}" type="datetime'''''Δ''''''''''''''''S''''''a''''l''''''''e''s'''''''''''''">
              <a:rPr lang="en-US" sz="1100">
                <a:latin typeface="Arial"/>
                <a:cs typeface="Arial"/>
                <a:sym typeface="Arial"/>
              </a:rPr>
              <a:pPr algn="ctr"/>
              <a:t>ΔSales</a:t>
            </a:fld>
            <a:endParaRPr lang="el-GR" sz="1100" dirty="0">
              <a:latin typeface="Arial"/>
              <a:cs typeface="Arial"/>
              <a:sym typeface="Arial"/>
            </a:endParaRPr>
          </a:p>
        </p:txBody>
      </p:sp>
      <p:sp>
        <p:nvSpPr>
          <p:cNvPr id="68621" name="Rectangle 3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565650" y="4654550"/>
            <a:ext cx="487363" cy="16827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1202DD1E-033F-4682-94FE-70C3FF37CFCF}" type="datetime'''''''''''''''''V''''''''''o''''''lu''''m''''''''''''e'''''''">
              <a:rPr lang="en-US" sz="1100">
                <a:latin typeface="Arial"/>
                <a:cs typeface="Arial"/>
                <a:sym typeface="Arial"/>
              </a:rPr>
              <a:pPr algn="ctr"/>
              <a:t>Volume</a:t>
            </a:fld>
            <a:endParaRPr lang="en-US" sz="1100">
              <a:latin typeface="Arial"/>
              <a:cs typeface="Arial"/>
              <a:sym typeface="Arial"/>
            </a:endParaRPr>
          </a:p>
        </p:txBody>
      </p:sp>
      <p:sp>
        <p:nvSpPr>
          <p:cNvPr id="68616" name="Rectangle 4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19150" y="1952625"/>
            <a:ext cx="193675" cy="16827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b"/>
          <a:lstStyle/>
          <a:p>
            <a:pPr algn="ctr"/>
            <a:r>
              <a:rPr lang="en-US" sz="1100" dirty="0">
                <a:latin typeface="Arial"/>
                <a:cs typeface="Arial"/>
                <a:sym typeface="Arial"/>
              </a:rPr>
              <a:t>M€</a:t>
            </a:r>
          </a:p>
        </p:txBody>
      </p:sp>
      <p:sp>
        <p:nvSpPr>
          <p:cNvPr id="68623" name="Rectangle 39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047875" y="4654550"/>
            <a:ext cx="331788" cy="16827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C0E30A10-4004-4EEB-8441-A6264FB12052}" type="datetime'''''''''''''''''''''P''''''r''''i''''''''c''''e'">
              <a:rPr lang="en-US" sz="1100">
                <a:latin typeface="Arial"/>
                <a:cs typeface="Arial"/>
                <a:sym typeface="Arial"/>
              </a:rPr>
              <a:pPr algn="ctr"/>
              <a:t>Price</a:t>
            </a:fld>
            <a:endParaRPr lang="el-GR" sz="1100">
              <a:latin typeface="Arial"/>
              <a:cs typeface="Arial"/>
              <a:sym typeface="Arial"/>
            </a:endParaRPr>
          </a:p>
        </p:txBody>
      </p:sp>
      <p:sp>
        <p:nvSpPr>
          <p:cNvPr id="68619" name="Rectangle 3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159625" y="4654550"/>
            <a:ext cx="487363" cy="33655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43F37A75-636B-4A6F-9BCA-DC88F5E5E86D}" type="datetime'V''''''''''''o''l''''''u''''''me''''''''''''''''&#10;'' ''''Mix'">
              <a:rPr lang="en-US" sz="1100">
                <a:latin typeface="Arial"/>
                <a:cs typeface="Arial"/>
                <a:sym typeface="Arial"/>
              </a:rPr>
              <a:pPr algn="ctr"/>
              <a:t>Volume
 Mix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7CD34F4-E72D-EABD-B5B8-49813C4F12F2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4613275" y="2967038"/>
            <a:ext cx="3905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8" tIns="0" rIns="20638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7F0A465-A5C1-4DF0-850C-370373F85FDE}" type="datetime'1''''''''''''''2''''''''''1.8'''''''''''''''''''''''''''''">
              <a:rPr lang="en-US" altLang="en-US" sz="11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21.8</a:t>
            </a:fld>
            <a:endParaRPr lang="en-US" sz="11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0" name="Oval 24"/>
          <p:cNvSpPr>
            <a:spLocks/>
          </p:cNvSpPr>
          <p:nvPr/>
        </p:nvSpPr>
        <p:spPr bwMode="auto">
          <a:xfrm>
            <a:off x="1857912" y="5540849"/>
            <a:ext cx="720000" cy="324000"/>
          </a:xfrm>
          <a:prstGeom prst="roundRect">
            <a:avLst/>
          </a:prstGeom>
          <a:solidFill>
            <a:srgbClr val="C30C3E"/>
          </a:solidFill>
          <a:ln w="9525" algn="ctr">
            <a:solidFill>
              <a:srgbClr val="C00000"/>
            </a:solidFill>
            <a:round/>
            <a:headEnd/>
            <a:tailEnd/>
          </a:ln>
        </p:spPr>
        <p:txBody>
          <a:bodyPr vert="horz" lIns="0" rIns="0" anchor="ctr"/>
          <a:lstStyle/>
          <a:p>
            <a:pPr algn="ctr"/>
            <a:r>
              <a:rPr lang="el-GR" sz="1000" b="1" dirty="0">
                <a:solidFill>
                  <a:schemeClr val="bg1"/>
                </a:solidFill>
                <a:latin typeface="+mj-lt"/>
              </a:rPr>
              <a:t>-</a:t>
            </a:r>
            <a:r>
              <a:rPr lang="en-US" sz="1000" b="1" dirty="0">
                <a:solidFill>
                  <a:schemeClr val="bg1"/>
                </a:solidFill>
                <a:latin typeface="+mj-lt"/>
              </a:rPr>
              <a:t>1.8</a:t>
            </a:r>
            <a:r>
              <a:rPr lang="el-GR" sz="1000" b="1" dirty="0">
                <a:solidFill>
                  <a:schemeClr val="bg1"/>
                </a:solidFill>
                <a:latin typeface="+mj-lt"/>
              </a:rPr>
              <a:t>%</a:t>
            </a:r>
          </a:p>
        </p:txBody>
      </p:sp>
      <p:sp>
        <p:nvSpPr>
          <p:cNvPr id="61" name="Oval 28"/>
          <p:cNvSpPr>
            <a:spLocks noChangeArrowheads="1"/>
          </p:cNvSpPr>
          <p:nvPr/>
        </p:nvSpPr>
        <p:spPr bwMode="auto">
          <a:xfrm>
            <a:off x="4459399" y="5540849"/>
            <a:ext cx="720000" cy="324000"/>
          </a:xfrm>
          <a:prstGeom prst="roundRect">
            <a:avLst/>
          </a:prstGeom>
          <a:solidFill>
            <a:srgbClr val="007770"/>
          </a:solidFill>
          <a:ln w="9525" algn="ctr">
            <a:solidFill>
              <a:srgbClr val="007770"/>
            </a:solidFill>
            <a:round/>
            <a:headEnd/>
            <a:tailEnd/>
          </a:ln>
        </p:spPr>
        <p:txBody>
          <a:bodyPr vert="horz" lIns="0" tIns="0" rIns="0" bIns="0" anchor="ctr"/>
          <a:lstStyle/>
          <a:p>
            <a:pPr algn="ctr"/>
            <a:r>
              <a:rPr lang="el-GR" sz="1000" b="1" dirty="0">
                <a:solidFill>
                  <a:schemeClr val="bg1"/>
                </a:solidFill>
                <a:latin typeface="+mj-lt"/>
              </a:rPr>
              <a:t>+</a:t>
            </a:r>
            <a:r>
              <a:rPr lang="en-US" sz="1000" b="1" dirty="0">
                <a:solidFill>
                  <a:schemeClr val="bg1"/>
                </a:solidFill>
                <a:latin typeface="+mj-lt"/>
              </a:rPr>
              <a:t>3.7%</a:t>
            </a:r>
            <a:endParaRPr lang="el-GR" sz="1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2" name="Oval 30"/>
          <p:cNvSpPr>
            <a:spLocks noChangeArrowheads="1"/>
          </p:cNvSpPr>
          <p:nvPr/>
        </p:nvSpPr>
        <p:spPr bwMode="auto">
          <a:xfrm>
            <a:off x="7060886" y="5540849"/>
            <a:ext cx="720000" cy="324000"/>
          </a:xfrm>
          <a:prstGeom prst="roundRect">
            <a:avLst/>
          </a:prstGeom>
          <a:solidFill>
            <a:srgbClr val="007770"/>
          </a:solidFill>
          <a:ln w="9525" algn="ctr">
            <a:solidFill>
              <a:srgbClr val="007770"/>
            </a:solidFill>
            <a:round/>
            <a:headEnd/>
            <a:tailEnd/>
          </a:ln>
        </p:spPr>
        <p:txBody>
          <a:bodyPr vert="horz" lIns="0" tIns="0" rIns="0" bIns="0" anchor="ctr"/>
          <a:lstStyle/>
          <a:p>
            <a:pPr algn="ctr"/>
            <a:r>
              <a:rPr lang="el-GR" sz="1000" b="1" dirty="0">
                <a:solidFill>
                  <a:schemeClr val="bg1"/>
                </a:solidFill>
                <a:latin typeface="+mj-lt"/>
              </a:rPr>
              <a:t>+</a:t>
            </a:r>
            <a:r>
              <a:rPr lang="en-US" sz="1000" b="1" dirty="0">
                <a:solidFill>
                  <a:schemeClr val="bg1"/>
                </a:solidFill>
                <a:latin typeface="+mj-lt"/>
              </a:rPr>
              <a:t>3.1%</a:t>
            </a:r>
            <a:endParaRPr lang="el-GR" sz="1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3" name="Oval 31"/>
          <p:cNvSpPr>
            <a:spLocks noChangeArrowheads="1"/>
          </p:cNvSpPr>
          <p:nvPr/>
        </p:nvSpPr>
        <p:spPr bwMode="auto">
          <a:xfrm>
            <a:off x="9662374" y="5540849"/>
            <a:ext cx="720000" cy="324000"/>
          </a:xfrm>
          <a:prstGeom prst="roundRect">
            <a:avLst/>
          </a:prstGeom>
          <a:solidFill>
            <a:srgbClr val="007770"/>
          </a:solidFill>
          <a:ln w="9525" algn="ctr">
            <a:solidFill>
              <a:srgbClr val="007770"/>
            </a:solidFill>
            <a:round/>
            <a:headEnd/>
            <a:tailEnd/>
          </a:ln>
        </p:spPr>
        <p:txBody>
          <a:bodyPr vert="horz" lIns="0" rIns="0" anchor="ctr"/>
          <a:lstStyle/>
          <a:p>
            <a:pPr algn="ctr"/>
            <a:r>
              <a:rPr lang="el-GR" sz="1000" b="1" dirty="0">
                <a:solidFill>
                  <a:schemeClr val="bg1"/>
                </a:solidFill>
                <a:latin typeface="+mj-lt"/>
              </a:rPr>
              <a:t>+</a:t>
            </a:r>
            <a:r>
              <a:rPr lang="en-US" sz="1000" b="1" dirty="0">
                <a:solidFill>
                  <a:schemeClr val="bg1"/>
                </a:solidFill>
                <a:latin typeface="+mj-lt"/>
              </a:rPr>
              <a:t>5.0%</a:t>
            </a:r>
          </a:p>
        </p:txBody>
      </p:sp>
      <p:sp>
        <p:nvSpPr>
          <p:cNvPr id="64" name="Rectangle 63"/>
          <p:cNvSpPr>
            <a:spLocks noChangeArrowheads="1"/>
          </p:cNvSpPr>
          <p:nvPr/>
        </p:nvSpPr>
        <p:spPr bwMode="auto">
          <a:xfrm>
            <a:off x="10574553" y="5540849"/>
            <a:ext cx="7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000" b="1" i="1" dirty="0">
                <a:latin typeface="+mj-lt"/>
              </a:rPr>
              <a:t>MAT/03/23</a:t>
            </a:r>
          </a:p>
        </p:txBody>
      </p:sp>
      <p:sp>
        <p:nvSpPr>
          <p:cNvPr id="70" name="Rectangle 69"/>
          <p:cNvSpPr>
            <a:spLocks noChangeArrowheads="1"/>
          </p:cNvSpPr>
          <p:nvPr/>
        </p:nvSpPr>
        <p:spPr bwMode="auto">
          <a:xfrm>
            <a:off x="917477" y="5504486"/>
            <a:ext cx="676275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000" b="1" i="1" dirty="0">
                <a:latin typeface="+mj-lt"/>
              </a:rPr>
              <a:t>% PPG</a:t>
            </a:r>
          </a:p>
          <a:p>
            <a:pPr algn="ctr">
              <a:lnSpc>
                <a:spcPct val="85000"/>
              </a:lnSpc>
            </a:pPr>
            <a:r>
              <a:rPr lang="en-US" sz="1000" b="1" i="1" dirty="0">
                <a:latin typeface="+mj-lt"/>
              </a:rPr>
              <a:t>allocation</a:t>
            </a:r>
          </a:p>
        </p:txBody>
      </p:sp>
      <p:sp>
        <p:nvSpPr>
          <p:cNvPr id="28" name="Text Placeholder 1">
            <a:extLst>
              <a:ext uri="{FF2B5EF4-FFF2-40B4-BE49-F238E27FC236}">
                <a16:creationId xmlns:a16="http://schemas.microsoft.com/office/drawing/2014/main" id="{402232D3-3BED-491F-B1CC-9E92AEC006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013" y="6397157"/>
            <a:ext cx="7560000" cy="110800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</p:spTree>
    <p:extLst>
      <p:ext uri="{BB962C8B-B14F-4D97-AF65-F5344CB8AC3E}">
        <p14:creationId xmlns:p14="http://schemas.microsoft.com/office/powerpoint/2010/main" val="52035376"/>
      </p:ext>
    </p:extLst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D09AF58E-1C25-4905-9A27-221B6B44A0A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28160" y="835016"/>
            <a:ext cx="6999461" cy="4999475"/>
          </a:xfrm>
        </p:spPr>
        <p:txBody>
          <a:bodyPr/>
          <a:lstStyle/>
          <a:p>
            <a:pPr marL="0" indent="0">
              <a:spcBef>
                <a:spcPts val="1200"/>
              </a:spcBef>
              <a:buNone/>
              <a:tabLst>
                <a:tab pos="8296275" algn="r"/>
              </a:tabLst>
            </a:pPr>
            <a:endParaRPr lang="en-US" dirty="0"/>
          </a:p>
          <a:p>
            <a:pPr>
              <a:spcBef>
                <a:spcPts val="1200"/>
              </a:spcBef>
              <a:buClr>
                <a:srgbClr val="AABECA"/>
              </a:buClr>
              <a:tabLst>
                <a:tab pos="8296275" algn="r"/>
              </a:tabLst>
            </a:pPr>
            <a:r>
              <a:rPr lang="en-US" dirty="0">
                <a:solidFill>
                  <a:srgbClr val="AABECA"/>
                </a:solidFill>
              </a:rPr>
              <a:t>Market Overview</a:t>
            </a:r>
          </a:p>
          <a:p>
            <a:pPr>
              <a:spcBef>
                <a:spcPts val="1200"/>
              </a:spcBef>
              <a:buClr>
                <a:srgbClr val="AABECA"/>
              </a:buClr>
              <a:tabLst>
                <a:tab pos="8296275" algn="r"/>
              </a:tabLst>
            </a:pPr>
            <a:r>
              <a:rPr lang="en-US" dirty="0">
                <a:solidFill>
                  <a:srgbClr val="AABECA"/>
                </a:solidFill>
              </a:rPr>
              <a:t>Analysis by ATC</a:t>
            </a:r>
          </a:p>
          <a:p>
            <a:pPr>
              <a:spcBef>
                <a:spcPts val="1200"/>
              </a:spcBef>
              <a:buClr>
                <a:srgbClr val="AABECA"/>
              </a:buClr>
              <a:tabLst>
                <a:tab pos="8296275" algn="r"/>
              </a:tabLst>
            </a:pPr>
            <a:r>
              <a:rPr lang="en-US" dirty="0">
                <a:solidFill>
                  <a:srgbClr val="AABECA"/>
                </a:solidFill>
              </a:rPr>
              <a:t>Price evolution</a:t>
            </a:r>
          </a:p>
          <a:p>
            <a:pPr>
              <a:spcBef>
                <a:spcPts val="1200"/>
              </a:spcBef>
              <a:buClr>
                <a:srgbClr val="AABECA"/>
              </a:buClr>
              <a:tabLst>
                <a:tab pos="8296275" algn="r"/>
              </a:tabLst>
            </a:pPr>
            <a:r>
              <a:rPr lang="en-US" dirty="0">
                <a:solidFill>
                  <a:srgbClr val="AABECA"/>
                </a:solidFill>
              </a:rPr>
              <a:t>Substitution analysis (Market Dynamics)</a:t>
            </a:r>
          </a:p>
          <a:p>
            <a:pPr>
              <a:spcBef>
                <a:spcPts val="1200"/>
              </a:spcBef>
              <a:buClr>
                <a:srgbClr val="00A3E0"/>
              </a:buClr>
              <a:tabLst>
                <a:tab pos="8296275" algn="r"/>
              </a:tabLst>
            </a:pPr>
            <a:r>
              <a:rPr lang="en-US" dirty="0"/>
              <a:t>EU Benchmarking</a:t>
            </a:r>
          </a:p>
          <a:p>
            <a:pPr>
              <a:spcBef>
                <a:spcPts val="1200"/>
              </a:spcBef>
              <a:tabLst>
                <a:tab pos="8296275" algn="r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75256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Rectangle 45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9439980"/>
              </p:ext>
            </p:ext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0" imgH="0" progId="TCLayout.ActiveDocument.1">
                  <p:embed/>
                </p:oleObj>
              </mc:Choice>
              <mc:Fallback>
                <p:oleObj name="think-cell Slide" r:id="rId47" imgW="0" imgH="0" progId="TCLayout.ActiveDocument.1">
                  <p:embed/>
                  <p:pic>
                    <p:nvPicPr>
                      <p:cNvPr id="8194" name="Rectangle 4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6" name="Rectangle 46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693687E0-DA1F-DFED-9326-F1D7F44C536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2702576"/>
              </p:ext>
            </p:extLst>
          </p:nvPr>
        </p:nvGraphicFramePr>
        <p:xfrm>
          <a:off x="554038" y="2986088"/>
          <a:ext cx="10918825" cy="1704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D1110E8-08EE-9347-4DB1-C6DAB867B0B4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8297863" y="3957638"/>
            <a:ext cx="2074862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0" name="Right Arrow 89"/>
          <p:cNvSpPr/>
          <p:nvPr>
            <p:custDataLst>
              <p:tags r:id="rId4"/>
            </p:custDataLst>
          </p:nvPr>
        </p:nvSpPr>
        <p:spPr bwMode="auto">
          <a:xfrm rot="10800000">
            <a:off x="11441113" y="3881438"/>
            <a:ext cx="128588" cy="152400"/>
          </a:xfrm>
          <a:prstGeom prst="rightArrow">
            <a:avLst>
              <a:gd name="adj1" fmla="val 100000"/>
              <a:gd name="adj2" fmla="val 84545"/>
            </a:avLst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l-GR" sz="1000">
              <a:latin typeface="Verdana" pitchFamily="34" charset="0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E6039F7-9300-47E1-80E3-7DA3EDB703B8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23913" y="3957638"/>
            <a:ext cx="30924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892D09C7-B45C-4827-21F2-B9FFD2C3ECAC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189412" y="3957638"/>
            <a:ext cx="38354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15E319A0-81A1-F941-54B4-9782FD55FE02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0645774" y="3957638"/>
            <a:ext cx="7445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206" name="Rectangle 3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647825" y="4638675"/>
            <a:ext cx="1143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>
            <a:noAutofit/>
          </a:bodyPr>
          <a:lstStyle/>
          <a:p>
            <a:pPr algn="ctr"/>
            <a:fld id="{030C2569-28D4-4328-A062-93D65C5DBA13}" type="datetime'''''''''''''I''''''''T'">
              <a:rPr lang="en-US" altLang="en-US" sz="900" smtClean="0">
                <a:cs typeface="Arial" panose="020B0604020202020204" pitchFamily="34" charset="0"/>
              </a:rPr>
              <a:pPr/>
              <a:t>IT</a:t>
            </a:fld>
            <a:endParaRPr lang="en-US" sz="9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6CC80A4-DEEA-5337-6024-90FD7472B771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9209088" y="4146550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3E8C3AE-2421-483D-931C-8720D775C309}" type="datetime'''''''''''''''''''''''''0''.''''''''''96'''''''''''''">
              <a:rPr lang="en-US" altLang="en-US" sz="900" smtClean="0">
                <a:solidFill>
                  <a:schemeClr val="tx1"/>
                </a:solidFill>
              </a:rPr>
              <a:pPr/>
              <a:t>0.96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79" name="Rectangle 78"/>
          <p:cNvSpPr/>
          <p:nvPr>
            <p:custDataLst>
              <p:tags r:id="rId10"/>
            </p:custDataLst>
          </p:nvPr>
        </p:nvSpPr>
        <p:spPr bwMode="auto">
          <a:xfrm>
            <a:off x="9864725" y="4638675"/>
            <a:ext cx="1143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5EE852C8-3ECE-413F-98A7-243B09DB1F90}" type="datetime'F''''I'''''''''''''''''''''''''''''''''''''''''''">
              <a:rPr lang="en-US" altLang="en-US" sz="900" smtClean="0">
                <a:cs typeface="Arial" panose="020B0604020202020204" pitchFamily="34" charset="0"/>
              </a:rPr>
              <a:pPr/>
              <a:t>FI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8197" name="Rectangle 19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00063" y="2646363"/>
            <a:ext cx="647700" cy="2730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anchor="b">
            <a:noAutofit/>
          </a:bodyPr>
          <a:lstStyle/>
          <a:p>
            <a:pPr algn="ctr"/>
            <a:r>
              <a:rPr lang="en-US" sz="900" dirty="0">
                <a:cs typeface="Arial"/>
                <a:sym typeface="Arial"/>
              </a:rPr>
              <a:t>Price per SU</a:t>
            </a:r>
            <a:endParaRPr lang="el-GR" sz="900" dirty="0">
              <a:cs typeface="Arial"/>
              <a:sym typeface="Arial"/>
            </a:endParaRPr>
          </a:p>
          <a:p>
            <a:pPr algn="ctr"/>
            <a:r>
              <a:rPr lang="el-GR" sz="900" dirty="0">
                <a:cs typeface="Arial"/>
                <a:sym typeface="Arial"/>
              </a:rPr>
              <a:t>(€/</a:t>
            </a:r>
            <a:r>
              <a:rPr lang="en-US" sz="900" dirty="0">
                <a:cs typeface="Arial"/>
                <a:sym typeface="Arial"/>
              </a:rPr>
              <a:t>SU</a:t>
            </a:r>
            <a:r>
              <a:rPr lang="el-GR" sz="900" dirty="0">
                <a:cs typeface="Arial"/>
                <a:sym typeface="Arial"/>
              </a:rPr>
              <a:t>)</a:t>
            </a:r>
            <a:endParaRPr lang="en-US" sz="900" dirty="0">
              <a:cs typeface="Arial"/>
              <a:sym typeface="Arial"/>
            </a:endParaRPr>
          </a:p>
        </p:txBody>
      </p:sp>
      <p:sp>
        <p:nvSpPr>
          <p:cNvPr id="50" name="Rectangle 49"/>
          <p:cNvSpPr/>
          <p:nvPr>
            <p:custDataLst>
              <p:tags r:id="rId12"/>
            </p:custDataLst>
          </p:nvPr>
        </p:nvSpPr>
        <p:spPr bwMode="auto">
          <a:xfrm>
            <a:off x="3382963" y="4638675"/>
            <a:ext cx="165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EA75375C-A104-4170-8149-2CD5D62E75EA}" type="datetime'''C''''''''''''''''''''''''Z'''''''''''''''''''''''''">
              <a:rPr lang="en-US" altLang="en-US" sz="900" smtClean="0">
                <a:cs typeface="Arial" panose="020B0604020202020204" pitchFamily="34" charset="0"/>
              </a:rPr>
              <a:pPr/>
              <a:t>CZ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79BD623-77BB-73C6-F171-164E2CA0099E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1577975" y="42402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1D0EB31-19A1-4286-952E-827C00AC0B30}" type="datetime'''''''''0''''''.''''''''''6''''''''''''''5'''''''''''">
              <a:rPr lang="en-US" altLang="en-US" sz="900" smtClean="0">
                <a:solidFill>
                  <a:schemeClr val="tx1"/>
                </a:solidFill>
              </a:rPr>
              <a:pPr/>
              <a:t>0.65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88" name="Rectangle 87"/>
          <p:cNvSpPr/>
          <p:nvPr>
            <p:custDataLst>
              <p:tags r:id="rId14"/>
            </p:custDataLst>
          </p:nvPr>
        </p:nvSpPr>
        <p:spPr bwMode="auto">
          <a:xfrm>
            <a:off x="1025525" y="4638675"/>
            <a:ext cx="1841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387BA570-1770-4974-84FE-150E4D5F167A}" type="datetime'''G''''''''''''''''''''''''''''''''''''''''''''R'">
              <a:rPr lang="en-US" sz="900" b="1">
                <a:latin typeface="Arial"/>
                <a:cs typeface="Arial"/>
                <a:sym typeface="Arial"/>
              </a:rPr>
              <a:pPr algn="ctr"/>
              <a:t>GR</a:t>
            </a:fld>
            <a:endParaRPr lang="el-GR" sz="900" b="1" dirty="0">
              <a:latin typeface="Arial"/>
              <a:cs typeface="Arial"/>
              <a:sym typeface="Arial"/>
            </a:endParaRPr>
          </a:p>
        </p:txBody>
      </p:sp>
      <p:sp>
        <p:nvSpPr>
          <p:cNvPr id="60" name="Rectangle 59"/>
          <p:cNvSpPr/>
          <p:nvPr>
            <p:custDataLst>
              <p:tags r:id="rId15"/>
            </p:custDataLst>
          </p:nvPr>
        </p:nvSpPr>
        <p:spPr bwMode="auto">
          <a:xfrm>
            <a:off x="6318250" y="4638675"/>
            <a:ext cx="165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FED6AA5F-F498-4C85-B1A6-EC87C4066C89}" type="datetime'''''''''''B''''E'''''''''''''''''''''''''''''''''''''">
              <a:rPr lang="en-US" altLang="en-US" sz="900" smtClean="0">
                <a:cs typeface="Arial" panose="020B0604020202020204" pitchFamily="34" charset="0"/>
              </a:rPr>
              <a:pPr/>
              <a:t>BE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8202" name="Rectangle 3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211388" y="4638675"/>
            <a:ext cx="15875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>
            <a:noAutofit/>
          </a:bodyPr>
          <a:lstStyle/>
          <a:p>
            <a:pPr algn="ctr"/>
            <a:fld id="{A36886C5-4A56-432C-9BDE-6299A811D2BF}" type="datetime'''''''''''''''''''''P''''''''''''''''''''''''T'''''">
              <a:rPr lang="en-US" altLang="en-US" sz="900" smtClean="0">
                <a:cs typeface="Arial" panose="020B0604020202020204" pitchFamily="34" charset="0"/>
              </a:rPr>
              <a:pPr/>
              <a:t>PT</a:t>
            </a:fld>
            <a:endParaRPr lang="en-US" sz="9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65F7083-0CD0-8928-8707-FEE971F796B7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6273800" y="364172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EFDD417-BAEA-4FCA-AA69-D245EBF4CA04}" type="datetime'''''''''''2''''''''''''''''''''''''''''''''''.6''2'''''''''">
              <a:rPr lang="en-US" altLang="en-US" sz="900" smtClean="0">
                <a:solidFill>
                  <a:schemeClr val="tx1"/>
                </a:solidFill>
              </a:rPr>
              <a:pPr/>
              <a:t>2.62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8198" name="Rectangle 107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795588" y="4638675"/>
            <a:ext cx="16510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>
            <a:noAutofit/>
          </a:bodyPr>
          <a:lstStyle/>
          <a:p>
            <a:pPr algn="ctr"/>
            <a:fld id="{B74A3D27-38C5-41E0-9AE6-7F70DB7F55ED}" type="datetime'''''E''''''''''''''''''''S'''''''''''''''''">
              <a:rPr lang="en-US" altLang="en-US" sz="900" smtClean="0">
                <a:cs typeface="Arial" panose="020B0604020202020204" pitchFamily="34" charset="0"/>
              </a:rPr>
              <a:pPr/>
              <a:t>ES</a:t>
            </a:fld>
            <a:endParaRPr lang="en-US" sz="9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7" name="Rectangle 56"/>
          <p:cNvSpPr/>
          <p:nvPr>
            <p:custDataLst>
              <p:tags r:id="rId19"/>
            </p:custDataLst>
          </p:nvPr>
        </p:nvSpPr>
        <p:spPr bwMode="auto">
          <a:xfrm>
            <a:off x="4562475" y="4638675"/>
            <a:ext cx="1524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AD84351A-0299-4B2C-8458-3DAE746530DF}" type="datetime'''''''''''P''''''''''''''''''''''''''''L'''''''''''''''''">
              <a:rPr lang="en-US" altLang="en-US" sz="900" smtClean="0">
                <a:cs typeface="Arial" panose="020B0604020202020204" pitchFamily="34" charset="0"/>
              </a:rPr>
              <a:pPr/>
              <a:t>PL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8" name="Rectangle 57"/>
          <p:cNvSpPr/>
          <p:nvPr>
            <p:custDataLst>
              <p:tags r:id="rId20"/>
            </p:custDataLst>
          </p:nvPr>
        </p:nvSpPr>
        <p:spPr bwMode="auto">
          <a:xfrm>
            <a:off x="5143500" y="4638675"/>
            <a:ext cx="165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90DDB545-5F9A-44F1-957A-FB9478D3A952}" type="datetime'''''''''''''''''''''''''''''''''''''''S''''''''''''''K'''''''">
              <a:rPr lang="en-US" altLang="en-US" sz="900" smtClean="0">
                <a:cs typeface="Arial" panose="020B0604020202020204" pitchFamily="34" charset="0"/>
              </a:rPr>
              <a:pPr/>
              <a:t>SK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B9AEF43-5B38-379B-B976-914B26708338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8621713" y="346868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945AE22-3762-4D3B-9C01-40AF2ABB097F}" type="datetime'3''''''''''.1''''''''''''''''''9'''''''''''''''''">
              <a:rPr lang="en-US" altLang="en-US" sz="900" smtClean="0">
                <a:solidFill>
                  <a:schemeClr val="tx1"/>
                </a:solidFill>
              </a:rPr>
              <a:pPr/>
              <a:t>3.19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59" name="Rectangle 58"/>
          <p:cNvSpPr/>
          <p:nvPr>
            <p:custDataLst>
              <p:tags r:id="rId22"/>
            </p:custDataLst>
          </p:nvPr>
        </p:nvSpPr>
        <p:spPr bwMode="auto">
          <a:xfrm>
            <a:off x="5734050" y="4638675"/>
            <a:ext cx="1587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ED19DEFD-13D4-4F36-A14E-A5FB6B99B612}" type="datetime'''''''''''''''''''A''''''''''''T'''">
              <a:rPr lang="en-US" altLang="en-US" sz="900" smtClean="0">
                <a:cs typeface="Arial" panose="020B0604020202020204" pitchFamily="34" charset="0"/>
              </a:rPr>
              <a:pPr/>
              <a:t>AT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B3E9CE8-1993-B533-4DE6-EFA7A59C53D2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10382250" y="384016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1BD9AB4-EED0-42A0-9313-E66447886492}" type="datetime'''1''''.''''''''''''''9''''''7'''''''''''''''''''''''''''''">
              <a:rPr lang="en-US" altLang="en-US" sz="900" smtClean="0">
                <a:solidFill>
                  <a:schemeClr val="tx1"/>
                </a:solidFill>
              </a:rPr>
              <a:pPr/>
              <a:t>1.97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1" name="Rectangle 60"/>
          <p:cNvSpPr/>
          <p:nvPr>
            <p:custDataLst>
              <p:tags r:id="rId24"/>
            </p:custDataLst>
          </p:nvPr>
        </p:nvSpPr>
        <p:spPr bwMode="auto">
          <a:xfrm>
            <a:off x="6905625" y="4638675"/>
            <a:ext cx="165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D5EB2B81-C981-4FE8-9000-C8CE9411BBB3}" type="datetime'''''''''''''''''''''''''F''''''''''R'''''''">
              <a:rPr lang="en-US" altLang="en-US" sz="900" smtClean="0">
                <a:cs typeface="Arial" panose="020B0604020202020204" pitchFamily="34" charset="0"/>
              </a:rPr>
              <a:pPr/>
              <a:t>FR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62" name="Rectangle 61"/>
          <p:cNvSpPr/>
          <p:nvPr>
            <p:custDataLst>
              <p:tags r:id="rId25"/>
            </p:custDataLst>
          </p:nvPr>
        </p:nvSpPr>
        <p:spPr bwMode="auto">
          <a:xfrm>
            <a:off x="7488238" y="4638675"/>
            <a:ext cx="1714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7A915438-6660-4403-93EE-A7524CBCFB52}" type="datetime'''''''''''''''''''''''''''''''''DE'''''''''''''''''">
              <a:rPr lang="en-US" altLang="en-US" sz="900" smtClean="0">
                <a:cs typeface="Arial" panose="020B0604020202020204" pitchFamily="34" charset="0"/>
              </a:rPr>
              <a:pPr/>
              <a:t>DE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71AC225-F919-F98E-A2B6-B5CF85B07B07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990600" y="412273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DC5C90A-34A4-4D64-85E8-DA408AF38665}" type="datetime'''''''''''''1.''''''0''''4'''''''''''''''''''''''''''''''">
              <a:rPr lang="en-US" altLang="en-US" sz="900" smtClean="0">
                <a:solidFill>
                  <a:schemeClr val="tx1"/>
                </a:solidFill>
              </a:rPr>
              <a:pPr/>
              <a:t>1.04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74" name="Rectangle 73"/>
          <p:cNvSpPr/>
          <p:nvPr>
            <p:custDataLst>
              <p:tags r:id="rId27"/>
            </p:custDataLst>
          </p:nvPr>
        </p:nvSpPr>
        <p:spPr bwMode="auto">
          <a:xfrm>
            <a:off x="8081963" y="4638675"/>
            <a:ext cx="1587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8AF54A32-C718-4088-BA21-75E5E647CBE7}" type="datetime'''N''''''''L'''''''''''''''''''''''''''''''''''''''''''">
              <a:rPr lang="en-US" altLang="en-US" sz="900" smtClean="0">
                <a:cs typeface="Arial" panose="020B0604020202020204" pitchFamily="34" charset="0"/>
              </a:rPr>
              <a:pPr/>
              <a:t>NL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76" name="Rectangle 75"/>
          <p:cNvSpPr/>
          <p:nvPr>
            <p:custDataLst>
              <p:tags r:id="rId28"/>
            </p:custDataLst>
          </p:nvPr>
        </p:nvSpPr>
        <p:spPr bwMode="auto">
          <a:xfrm>
            <a:off x="8688388" y="4638675"/>
            <a:ext cx="1206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20BE5348-50CA-42CF-9D4D-9F3FE944B2DE}" type="datetime'''''''''''''''''IE'''''''''''''''''''''">
              <a:rPr lang="en-US" altLang="en-US" sz="900" smtClean="0">
                <a:cs typeface="Arial" panose="020B0604020202020204" pitchFamily="34" charset="0"/>
              </a:rPr>
              <a:pPr/>
              <a:t>IE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80" name="Rectangle 79"/>
          <p:cNvSpPr/>
          <p:nvPr>
            <p:custDataLst>
              <p:tags r:id="rId29"/>
            </p:custDataLst>
          </p:nvPr>
        </p:nvSpPr>
        <p:spPr bwMode="auto">
          <a:xfrm>
            <a:off x="10417175" y="4638675"/>
            <a:ext cx="1841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B2D0D709-ACF2-4D17-B4B6-3B848E8F1982}" type="datetime'''''''''''''''N''''''''''''''''''''''''''''''O'''''''''">
              <a:rPr lang="en-US" altLang="en-US" sz="900" smtClean="0">
                <a:cs typeface="Arial" panose="020B0604020202020204" pitchFamily="34" charset="0"/>
              </a:rPr>
              <a:pPr/>
              <a:t>NO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10A45E-67BD-B841-FF6A-80CE05D2A1A3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3338513" y="41005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6681EF0-36F6-4CB0-AAEB-85F21F6F65F1}" type="datetime'''''''''1''''''''''.''''1''''''1'''''''''''''''''''''">
              <a:rPr lang="en-US" altLang="en-US" sz="900" smtClean="0">
                <a:solidFill>
                  <a:schemeClr val="tx1"/>
                </a:solidFill>
              </a:rPr>
              <a:pPr/>
              <a:t>1.11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81" name="Rectangle 80"/>
          <p:cNvSpPr/>
          <p:nvPr>
            <p:custDataLst>
              <p:tags r:id="rId31"/>
            </p:custDataLst>
          </p:nvPr>
        </p:nvSpPr>
        <p:spPr bwMode="auto">
          <a:xfrm>
            <a:off x="11014075" y="4638675"/>
            <a:ext cx="165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289B031A-9A20-4F41-B905-34BE9A2C7A91}" type="datetime'''''''''''''''''S''''''E'''">
              <a:rPr lang="en-US" altLang="en-US" sz="900" smtClean="0">
                <a:cs typeface="Arial" panose="020B0604020202020204" pitchFamily="34" charset="0"/>
              </a:rPr>
              <a:pPr/>
              <a:t>SE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89" name="Rectangle 88"/>
          <p:cNvSpPr/>
          <p:nvPr>
            <p:custDataLst>
              <p:tags r:id="rId32"/>
            </p:custDataLst>
          </p:nvPr>
        </p:nvSpPr>
        <p:spPr bwMode="auto">
          <a:xfrm>
            <a:off x="11620500" y="3889375"/>
            <a:ext cx="2222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>
                <a:cs typeface="Arial" panose="020B0604020202020204" pitchFamily="34" charset="0"/>
                <a:sym typeface="+mn-lt"/>
              </a:rPr>
              <a:t>2.11</a:t>
            </a:r>
            <a:endParaRPr lang="el-GR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59C87E3-214C-AD12-49E8-E0C4A23681E4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4511675" y="415607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2F92E06-DC8D-4854-B21B-B4CD182F42CC}" type="datetime'''''''''''0''.''93'''''''''''''''">
              <a:rPr lang="en-US" altLang="en-US" sz="900" smtClean="0">
                <a:solidFill>
                  <a:schemeClr val="tx1"/>
                </a:solidFill>
              </a:rPr>
              <a:pPr/>
              <a:t>0.93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78" name="Rectangle 77"/>
          <p:cNvSpPr/>
          <p:nvPr>
            <p:custDataLst>
              <p:tags r:id="rId34"/>
            </p:custDataLst>
          </p:nvPr>
        </p:nvSpPr>
        <p:spPr bwMode="auto">
          <a:xfrm>
            <a:off x="9250363" y="4638675"/>
            <a:ext cx="1714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686884EC-9265-470C-9FF6-07BBAB641E44}" type="datetime'''''''U''''''''''''''K'''''''''''''''''''''''''''''''''">
              <a:rPr lang="en-US" altLang="en-US" sz="900" smtClean="0">
                <a:cs typeface="Arial" panose="020B0604020202020204" pitchFamily="34" charset="0"/>
              </a:rPr>
              <a:pPr/>
              <a:t>UK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6" name="Rectangle 55"/>
          <p:cNvSpPr/>
          <p:nvPr>
            <p:custDataLst>
              <p:tags r:id="rId35"/>
            </p:custDataLst>
          </p:nvPr>
        </p:nvSpPr>
        <p:spPr bwMode="auto">
          <a:xfrm>
            <a:off x="3963988" y="4638675"/>
            <a:ext cx="1778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F5FF942A-36DC-44C2-B83E-50C2F7BE8EB2}" type="datetime'H''''''''''''''''''''''''''''''''''''''''U'''''''''''''''''">
              <a:rPr lang="en-US" altLang="en-US" sz="900" smtClean="0">
                <a:cs typeface="Arial" panose="020B0604020202020204" pitchFamily="34" charset="0"/>
              </a:rPr>
              <a:pPr/>
              <a:t>HU</a:t>
            </a:fld>
            <a:endParaRPr lang="el-GR" sz="9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7F8CC58-E7D0-B009-D9B3-9127E61E7D86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2163763" y="414972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C4C5BE8-3156-4986-A7BD-3307086DBCA2}" type="datetime'''''0''''''''''''''''''''''''.9''''''''''''''''''''''''5'">
              <a:rPr lang="en-US" altLang="en-US" sz="900" smtClean="0">
                <a:solidFill>
                  <a:schemeClr val="tx1"/>
                </a:solidFill>
              </a:rPr>
              <a:pPr/>
              <a:t>0.95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61C16F0-E37D-3E65-DA4D-BDCB5213A352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2751138" y="410368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D2F23B8-648E-415F-9278-FC87931307D2}" type="datetime'''''''1''.''''''''''''''''''''''''1''0'''''''''''''''''">
              <a:rPr lang="en-US" altLang="en-US" sz="900" smtClean="0">
                <a:solidFill>
                  <a:schemeClr val="tx1"/>
                </a:solidFill>
              </a:rPr>
              <a:pPr/>
              <a:t>1.1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A9860C5-1E78-4443-E536-4E07C5DC7DBD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3925888" y="394652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56A7CF3-4648-4AF8-A046-5E1CCA36B437}" type="datetime'''''''''''1''''''.''''''''6''''''''''''2'''''''">
              <a:rPr lang="en-US" altLang="en-US" sz="900" smtClean="0">
                <a:solidFill>
                  <a:schemeClr val="tx1"/>
                </a:solidFill>
              </a:rPr>
              <a:pPr/>
              <a:t>1.62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A8D7CCC-6C97-5E9A-5255-42D3EB2A7A6E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5099050" y="366553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5CFFF8E-1E03-426A-9973-18AB7259247F}" type="datetime'''''''''''''''2''.''''''''''''''''5''''''''''''4'''''''''''">
              <a:rPr lang="en-US" altLang="en-US" sz="900" smtClean="0">
                <a:solidFill>
                  <a:schemeClr val="tx1"/>
                </a:solidFill>
              </a:rPr>
              <a:pPr/>
              <a:t>2.54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E38DBBA-98A7-E267-29C2-541A2B212374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5686425" y="308133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C9CA16F-F711-4D77-9E18-CF53AF6C96F3}" type="datetime'''''4''''''''''''''''''''''.46'''''''''''''''''''''''''">
              <a:rPr lang="en-US" altLang="en-US" sz="900" smtClean="0">
                <a:solidFill>
                  <a:schemeClr val="tx1"/>
                </a:solidFill>
              </a:rPr>
              <a:pPr/>
              <a:t>4.46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52686F-1A5C-51FA-DC5C-D34BFDF4EFF6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6861175" y="34020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D9D7EA9-172E-4C4E-8D77-9EF406F6A6B7}" type="datetime'''''''''''3''''''''''''''''''''''''''.''''''''''4''''1'''''">
              <a:rPr lang="en-US" altLang="en-US" sz="900" smtClean="0">
                <a:solidFill>
                  <a:schemeClr val="tx1"/>
                </a:solidFill>
              </a:rPr>
              <a:pPr/>
              <a:t>3.41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82025A-2240-6102-E377-D871C5857CC1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7446963" y="2914650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C7A6B5F-8B84-4B04-8094-B154A28D6F7A}" type="datetime'''''''''''''''''5''''''''''.''0''1'''''''">
              <a:rPr lang="en-US" altLang="en-US" sz="900" smtClean="0">
                <a:solidFill>
                  <a:schemeClr val="tx1"/>
                </a:solidFill>
              </a:rPr>
              <a:pPr/>
              <a:t>5.01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4FB31B6-0C27-4A1A-68B0-9288C970AF91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8034338" y="391318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C9CA6BB-956C-4E10-A172-AF4A3DD048F7}" type="datetime'''''''''''''''1.''7''''''''''''''''''''''''3'''''''">
              <a:rPr lang="en-US" altLang="en-US" sz="900" smtClean="0">
                <a:solidFill>
                  <a:schemeClr val="tx1"/>
                </a:solidFill>
              </a:rPr>
              <a:pPr/>
              <a:t>1.73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BDB770D-FB39-C849-5C2C-9DE1A65F6235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9794875" y="381158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24CB289-E049-4B6E-A1E7-C4A0F6E49EF2}" type="datetime'''''''''2.''''''''''0''''''6'''''''''''''''''">
              <a:rPr lang="en-US" altLang="en-US" sz="900" smtClean="0">
                <a:solidFill>
                  <a:schemeClr val="tx1"/>
                </a:solidFill>
              </a:rPr>
              <a:pPr/>
              <a:t>2.06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DE6063C-8242-3602-EC0A-3EA351F09193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10969625" y="361473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743A101-0C9C-4517-A328-BC7D5A891985}" type="datetime'''''''''''''2''''''''''.''''''7''''''''''''''''''''''''''''1'">
              <a:rPr lang="en-US" altLang="en-US" sz="900" smtClean="0">
                <a:solidFill>
                  <a:schemeClr val="tx1"/>
                </a:solidFill>
              </a:rPr>
              <a:pPr/>
              <a:t>2.71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99" name="TextBox 98"/>
          <p:cNvSpPr txBox="1">
            <a:spLocks/>
          </p:cNvSpPr>
          <p:nvPr/>
        </p:nvSpPr>
        <p:spPr>
          <a:xfrm>
            <a:off x="11429023" y="3514165"/>
            <a:ext cx="549112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GB" sz="900" b="1" i="1" dirty="0"/>
              <a:t>Average</a:t>
            </a:r>
            <a:endParaRPr lang="en-US" sz="900" b="1" i="1" baseline="30000" dirty="0"/>
          </a:p>
        </p:txBody>
      </p:sp>
      <p:sp>
        <p:nvSpPr>
          <p:cNvPr id="139" name="Text Placeholder 138"/>
          <p:cNvSpPr>
            <a:spLocks noGrp="1"/>
          </p:cNvSpPr>
          <p:nvPr>
            <p:ph type="body" sz="quarter" idx="18"/>
          </p:nvPr>
        </p:nvSpPr>
        <p:spPr>
          <a:xfrm>
            <a:off x="477012" y="5982859"/>
            <a:ext cx="11246241" cy="246221"/>
          </a:xfrm>
        </p:spPr>
        <p:txBody>
          <a:bodyPr/>
          <a:lstStyle/>
          <a:p>
            <a:pPr eaLnBrk="0" hangingPunct="0">
              <a:lnSpc>
                <a:spcPct val="100000"/>
              </a:lnSpc>
              <a:spcBef>
                <a:spcPts val="100"/>
              </a:spcBef>
            </a:pPr>
            <a:r>
              <a:rPr lang="en-US" b="1" dirty="0"/>
              <a:t>Note 1: </a:t>
            </a:r>
            <a:r>
              <a:rPr lang="en-US" dirty="0"/>
              <a:t>Based on Pharmacy-Purchase-Prices (PPPs); </a:t>
            </a:r>
            <a:r>
              <a:rPr lang="en-US" b="1" dirty="0"/>
              <a:t>Note 2: </a:t>
            </a:r>
            <a:r>
              <a:rPr lang="en-US" dirty="0"/>
              <a:t>Numbers through the retail-pharmacy channel and for prescription-bound drugs only for all countries;; </a:t>
            </a:r>
            <a:r>
              <a:rPr lang="en-US" b="1" dirty="0"/>
              <a:t>Note </a:t>
            </a:r>
            <a:r>
              <a:rPr lang="en-GB" b="1" dirty="0"/>
              <a:t>3: AT</a:t>
            </a:r>
            <a:r>
              <a:rPr lang="en-GB" dirty="0"/>
              <a:t>=Austria; </a:t>
            </a:r>
            <a:r>
              <a:rPr lang="en-GB" b="1" dirty="0"/>
              <a:t>BE</a:t>
            </a:r>
            <a:r>
              <a:rPr lang="en-GB" dirty="0"/>
              <a:t>=Belgium; </a:t>
            </a:r>
            <a:r>
              <a:rPr lang="en-GB" b="1" dirty="0"/>
              <a:t>CZ</a:t>
            </a:r>
            <a:r>
              <a:rPr lang="en-GB" dirty="0"/>
              <a:t>=Czech Republic;</a:t>
            </a:r>
            <a:r>
              <a:rPr lang="en-GB" b="1" dirty="0"/>
              <a:t> F</a:t>
            </a:r>
            <a:r>
              <a:rPr lang="el-GR" b="1" dirty="0"/>
              <a:t>Ι</a:t>
            </a:r>
            <a:r>
              <a:rPr lang="en-GB" dirty="0"/>
              <a:t>=Finland; </a:t>
            </a:r>
            <a:r>
              <a:rPr lang="en-GB" b="1" dirty="0"/>
              <a:t>FR</a:t>
            </a:r>
            <a:r>
              <a:rPr lang="en-GB" dirty="0"/>
              <a:t>=France; </a:t>
            </a:r>
            <a:r>
              <a:rPr lang="en-GB" b="1" dirty="0"/>
              <a:t>DE</a:t>
            </a:r>
            <a:r>
              <a:rPr lang="en-GB" dirty="0"/>
              <a:t>=Germany; </a:t>
            </a:r>
            <a:r>
              <a:rPr lang="en-GB" b="1" dirty="0"/>
              <a:t>GR</a:t>
            </a:r>
            <a:r>
              <a:rPr lang="en-GB" dirty="0"/>
              <a:t>=Greece; </a:t>
            </a:r>
            <a:r>
              <a:rPr lang="en-GB" b="1" dirty="0"/>
              <a:t>HU</a:t>
            </a:r>
            <a:r>
              <a:rPr lang="en-GB" dirty="0"/>
              <a:t>=Hungary;</a:t>
            </a:r>
            <a:r>
              <a:rPr lang="en-GB" b="1" dirty="0"/>
              <a:t> I</a:t>
            </a:r>
            <a:r>
              <a:rPr lang="el-GR" b="1" dirty="0"/>
              <a:t>Ε</a:t>
            </a:r>
            <a:r>
              <a:rPr lang="en-GB" dirty="0"/>
              <a:t>=Ireland; </a:t>
            </a:r>
            <a:r>
              <a:rPr lang="en-GB" b="1" dirty="0"/>
              <a:t>IT</a:t>
            </a:r>
            <a:r>
              <a:rPr lang="en-GB" dirty="0"/>
              <a:t>=Italy; </a:t>
            </a:r>
            <a:r>
              <a:rPr lang="en-GB" b="1" dirty="0"/>
              <a:t>NL</a:t>
            </a:r>
            <a:r>
              <a:rPr lang="en-GB" dirty="0"/>
              <a:t>=Netherlands; </a:t>
            </a:r>
            <a:r>
              <a:rPr lang="en-GB" b="1" dirty="0"/>
              <a:t>N</a:t>
            </a:r>
            <a:r>
              <a:rPr lang="el-GR" b="1" dirty="0"/>
              <a:t>Ο</a:t>
            </a:r>
            <a:r>
              <a:rPr lang="en-GB" dirty="0"/>
              <a:t>=Norway; </a:t>
            </a:r>
            <a:r>
              <a:rPr lang="en-GB" b="1" dirty="0"/>
              <a:t>PL</a:t>
            </a:r>
            <a:r>
              <a:rPr lang="en-GB" dirty="0"/>
              <a:t>=Poland;</a:t>
            </a:r>
            <a:r>
              <a:rPr lang="en-GB" b="1" dirty="0"/>
              <a:t> PT</a:t>
            </a:r>
            <a:r>
              <a:rPr lang="en-GB" dirty="0"/>
              <a:t>=Portugal; </a:t>
            </a:r>
            <a:r>
              <a:rPr lang="en-GB" b="1" dirty="0"/>
              <a:t>ES</a:t>
            </a:r>
            <a:r>
              <a:rPr lang="en-GB" dirty="0"/>
              <a:t>=Spain;</a:t>
            </a:r>
            <a:r>
              <a:rPr lang="en-GB" b="1" dirty="0"/>
              <a:t> SE</a:t>
            </a:r>
            <a:r>
              <a:rPr lang="en-GB" dirty="0"/>
              <a:t>=Sweden; </a:t>
            </a:r>
            <a:r>
              <a:rPr lang="en-GB" b="1" dirty="0"/>
              <a:t>S</a:t>
            </a:r>
            <a:r>
              <a:rPr lang="el-GR" b="1" dirty="0"/>
              <a:t>Κ</a:t>
            </a:r>
            <a:r>
              <a:rPr lang="en-GB" dirty="0"/>
              <a:t>=Slovakia; </a:t>
            </a:r>
            <a:r>
              <a:rPr lang="en-GB" b="1" dirty="0"/>
              <a:t>UK</a:t>
            </a:r>
            <a:r>
              <a:rPr lang="en-GB" dirty="0"/>
              <a:t>=United Kingdom;</a:t>
            </a:r>
            <a:r>
              <a:rPr lang="en-US" dirty="0"/>
              <a:t> </a:t>
            </a:r>
            <a:endParaRPr lang="el-GR" dirty="0"/>
          </a:p>
        </p:txBody>
      </p:sp>
      <p:sp>
        <p:nvSpPr>
          <p:cNvPr id="136" name="Text Placeholder 13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On patent Prices in EU</a:t>
            </a:r>
            <a:endParaRPr lang="el-GR" dirty="0"/>
          </a:p>
        </p:txBody>
      </p:sp>
      <p:sp>
        <p:nvSpPr>
          <p:cNvPr id="97" name="Title 9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n-patent products in Greece have one of the lowest average prices in EU</a:t>
            </a:r>
            <a:endParaRPr lang="el-GR" dirty="0">
              <a:latin typeface="+mn-lt"/>
            </a:endParaRP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604FDB2A-F0F1-48CA-BE64-CF78B17C04E3}"/>
              </a:ext>
            </a:extLst>
          </p:cNvPr>
          <p:cNvCxnSpPr>
            <a:cxnSpLocks/>
          </p:cNvCxnSpPr>
          <p:nvPr/>
        </p:nvCxnSpPr>
        <p:spPr>
          <a:xfrm>
            <a:off x="468748" y="1648910"/>
            <a:ext cx="11254499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ktangel 76">
            <a:extLst>
              <a:ext uri="{FF2B5EF4-FFF2-40B4-BE49-F238E27FC236}">
                <a16:creationId xmlns:a16="http://schemas.microsoft.com/office/drawing/2014/main" id="{F3D8C4E2-7F9E-4BBC-84B1-C516DF9AD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747" y="1659797"/>
            <a:ext cx="9515703" cy="318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72000" rIns="0" bIns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1600" b="1" noProof="1">
                <a:solidFill>
                  <a:schemeClr val="accent1"/>
                </a:solidFill>
                <a:cs typeface="Arial" charset="0"/>
              </a:rPr>
              <a:t>Price per SU (in €/SU) for On-patent (MAT/03/23) – Greece vs. European countries</a:t>
            </a:r>
          </a:p>
        </p:txBody>
      </p:sp>
      <p:sp>
        <p:nvSpPr>
          <p:cNvPr id="107" name="Oval 106"/>
          <p:cNvSpPr/>
          <p:nvPr/>
        </p:nvSpPr>
        <p:spPr>
          <a:xfrm>
            <a:off x="11606368" y="58982"/>
            <a:ext cx="216000" cy="216000"/>
          </a:xfrm>
          <a:prstGeom prst="ellipse">
            <a:avLst/>
          </a:prstGeom>
          <a:solidFill>
            <a:srgbClr val="F2F2F2"/>
          </a:solidFill>
          <a:ln w="19050" cap="flat" cmpd="sng" algn="ctr">
            <a:solidFill>
              <a:srgbClr val="E9E9E9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en-US" sz="1600" b="1" kern="0" dirty="0">
                <a:solidFill>
                  <a:srgbClr val="DCDCDC"/>
                </a:solidFill>
                <a:latin typeface="+mj-lt"/>
              </a:rPr>
              <a:t>B</a:t>
            </a:r>
          </a:p>
        </p:txBody>
      </p:sp>
      <p:sp>
        <p:nvSpPr>
          <p:cNvPr id="108" name="Oval 107"/>
          <p:cNvSpPr/>
          <p:nvPr/>
        </p:nvSpPr>
        <p:spPr>
          <a:xfrm>
            <a:off x="11332356" y="58982"/>
            <a:ext cx="216000" cy="216000"/>
          </a:xfrm>
          <a:prstGeom prst="ellipse">
            <a:avLst/>
          </a:prstGeom>
          <a:solidFill>
            <a:srgbClr val="00B0F0"/>
          </a:solidFill>
          <a:ln w="1905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en-US" sz="1600" b="1" kern="0" dirty="0">
                <a:solidFill>
                  <a:srgbClr val="FFFFFF"/>
                </a:solidFill>
                <a:latin typeface="+mj-lt"/>
              </a:rPr>
              <a:t>A</a:t>
            </a:r>
          </a:p>
        </p:txBody>
      </p:sp>
      <p:sp>
        <p:nvSpPr>
          <p:cNvPr id="111" name="Oval 110"/>
          <p:cNvSpPr/>
          <p:nvPr/>
        </p:nvSpPr>
        <p:spPr>
          <a:xfrm>
            <a:off x="11880381" y="58982"/>
            <a:ext cx="216000" cy="216000"/>
          </a:xfrm>
          <a:prstGeom prst="ellipse">
            <a:avLst/>
          </a:prstGeom>
          <a:solidFill>
            <a:srgbClr val="F2F2F2"/>
          </a:solidFill>
          <a:ln w="19050" cap="flat" cmpd="sng" algn="ctr">
            <a:solidFill>
              <a:srgbClr val="E9E9E9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en-US" sz="1600" b="1" kern="0" dirty="0">
                <a:solidFill>
                  <a:srgbClr val="D9D9D9"/>
                </a:solidFill>
                <a:latin typeface="+mj-lt"/>
              </a:rPr>
              <a:t>C</a:t>
            </a:r>
          </a:p>
        </p:txBody>
      </p:sp>
      <p:sp>
        <p:nvSpPr>
          <p:cNvPr id="73" name="Rounded Rectangle 136">
            <a:extLst>
              <a:ext uri="{FF2B5EF4-FFF2-40B4-BE49-F238E27FC236}">
                <a16:creationId xmlns:a16="http://schemas.microsoft.com/office/drawing/2014/main" id="{3761A2BF-CA0E-4D41-B7BF-58E8DA9BC269}"/>
              </a:ext>
            </a:extLst>
          </p:cNvPr>
          <p:cNvSpPr>
            <a:spLocks/>
          </p:cNvSpPr>
          <p:nvPr/>
        </p:nvSpPr>
        <p:spPr bwMode="auto">
          <a:xfrm>
            <a:off x="1497465" y="2224087"/>
            <a:ext cx="983411" cy="521148"/>
          </a:xfrm>
          <a:prstGeom prst="roundRect">
            <a:avLst/>
          </a:prstGeom>
          <a:noFill/>
          <a:ln w="12700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i="1" dirty="0"/>
              <a:t>On-patent:</a:t>
            </a:r>
          </a:p>
          <a:p>
            <a:pPr algn="ctr"/>
            <a:r>
              <a:rPr lang="en-US" sz="1000" b="1" i="1" dirty="0"/>
              <a:t>Price per SU</a:t>
            </a:r>
            <a:endParaRPr lang="el-GR" sz="1000" b="1" i="1" dirty="0"/>
          </a:p>
          <a:p>
            <a:pPr algn="ctr"/>
            <a:r>
              <a:rPr lang="en-US" sz="1000" b="1" i="1" dirty="0">
                <a:solidFill>
                  <a:schemeClr val="accent1"/>
                </a:solidFill>
              </a:rPr>
              <a:t>0.96</a:t>
            </a:r>
            <a:r>
              <a:rPr lang="el-GR" sz="1000" b="1" i="1" dirty="0">
                <a:solidFill>
                  <a:schemeClr val="accent1"/>
                </a:solidFill>
              </a:rPr>
              <a:t>€</a:t>
            </a:r>
            <a:endParaRPr lang="en-US" sz="1000" b="1" i="1" dirty="0">
              <a:solidFill>
                <a:schemeClr val="accent1"/>
              </a:solidFill>
            </a:endParaRPr>
          </a:p>
        </p:txBody>
      </p:sp>
      <p:sp>
        <p:nvSpPr>
          <p:cNvPr id="75" name="Rounded Rectangle 141">
            <a:extLst>
              <a:ext uri="{FF2B5EF4-FFF2-40B4-BE49-F238E27FC236}">
                <a16:creationId xmlns:a16="http://schemas.microsoft.com/office/drawing/2014/main" id="{64B2E5E4-E932-4540-BDB1-98195294DDA0}"/>
              </a:ext>
            </a:extLst>
          </p:cNvPr>
          <p:cNvSpPr>
            <a:spLocks/>
          </p:cNvSpPr>
          <p:nvPr/>
        </p:nvSpPr>
        <p:spPr bwMode="auto">
          <a:xfrm>
            <a:off x="3861510" y="2224087"/>
            <a:ext cx="983411" cy="521148"/>
          </a:xfrm>
          <a:prstGeom prst="roundRect">
            <a:avLst/>
          </a:prstGeom>
          <a:noFill/>
          <a:ln w="12700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i="1" dirty="0"/>
              <a:t>On-patent:</a:t>
            </a:r>
          </a:p>
          <a:p>
            <a:pPr algn="ctr"/>
            <a:r>
              <a:rPr lang="en-US" sz="1000" b="1" i="1" dirty="0"/>
              <a:t>Price per SU</a:t>
            </a:r>
            <a:endParaRPr lang="el-GR" sz="1000" b="1" i="1" dirty="0"/>
          </a:p>
          <a:p>
            <a:pPr algn="ctr"/>
            <a:r>
              <a:rPr lang="en-US" sz="1000" b="1" i="1" dirty="0">
                <a:solidFill>
                  <a:schemeClr val="accent1"/>
                </a:solidFill>
              </a:rPr>
              <a:t>1.22</a:t>
            </a:r>
            <a:r>
              <a:rPr lang="el-GR" sz="1000" b="1" i="1" dirty="0">
                <a:solidFill>
                  <a:schemeClr val="accent1"/>
                </a:solidFill>
              </a:rPr>
              <a:t>€</a:t>
            </a:r>
            <a:endParaRPr lang="en-US" sz="1000" b="1" i="1" dirty="0">
              <a:solidFill>
                <a:schemeClr val="accent1"/>
              </a:solidFill>
            </a:endParaRPr>
          </a:p>
        </p:txBody>
      </p:sp>
      <p:sp>
        <p:nvSpPr>
          <p:cNvPr id="77" name="Rounded Rectangle 142">
            <a:extLst>
              <a:ext uri="{FF2B5EF4-FFF2-40B4-BE49-F238E27FC236}">
                <a16:creationId xmlns:a16="http://schemas.microsoft.com/office/drawing/2014/main" id="{BCF87C21-80CC-4851-92E9-03C9F7089A94}"/>
              </a:ext>
            </a:extLst>
          </p:cNvPr>
          <p:cNvSpPr>
            <a:spLocks/>
          </p:cNvSpPr>
          <p:nvPr/>
        </p:nvSpPr>
        <p:spPr bwMode="auto">
          <a:xfrm>
            <a:off x="6484734" y="2224087"/>
            <a:ext cx="983411" cy="521148"/>
          </a:xfrm>
          <a:prstGeom prst="roundRect">
            <a:avLst/>
          </a:prstGeom>
          <a:noFill/>
          <a:ln w="12700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i="1" dirty="0"/>
              <a:t>On-patent:</a:t>
            </a:r>
          </a:p>
          <a:p>
            <a:pPr algn="ctr"/>
            <a:r>
              <a:rPr lang="en-US" sz="1000" b="1" i="1" dirty="0"/>
              <a:t>Price per SU</a:t>
            </a:r>
            <a:endParaRPr lang="el-GR" sz="1000" b="1" i="1" dirty="0"/>
          </a:p>
          <a:p>
            <a:pPr algn="ctr"/>
            <a:r>
              <a:rPr lang="en-US" sz="1000" b="1" i="1" dirty="0">
                <a:solidFill>
                  <a:schemeClr val="accent1"/>
                </a:solidFill>
              </a:rPr>
              <a:t>3.97</a:t>
            </a:r>
            <a:r>
              <a:rPr lang="el-GR" sz="1000" b="1" i="1" dirty="0">
                <a:solidFill>
                  <a:schemeClr val="accent1"/>
                </a:solidFill>
              </a:rPr>
              <a:t>€</a:t>
            </a:r>
            <a:endParaRPr lang="en-US" sz="1000" b="1" i="1" dirty="0">
              <a:solidFill>
                <a:schemeClr val="accent1"/>
              </a:solidFill>
            </a:endParaRPr>
          </a:p>
        </p:txBody>
      </p:sp>
      <p:sp>
        <p:nvSpPr>
          <p:cNvPr id="82" name="Rounded Rectangle 143">
            <a:extLst>
              <a:ext uri="{FF2B5EF4-FFF2-40B4-BE49-F238E27FC236}">
                <a16:creationId xmlns:a16="http://schemas.microsoft.com/office/drawing/2014/main" id="{55F96FFF-9562-4923-928E-21F037B9166E}"/>
              </a:ext>
            </a:extLst>
          </p:cNvPr>
          <p:cNvSpPr>
            <a:spLocks/>
          </p:cNvSpPr>
          <p:nvPr/>
        </p:nvSpPr>
        <p:spPr bwMode="auto">
          <a:xfrm>
            <a:off x="10031654" y="2224087"/>
            <a:ext cx="983411" cy="521148"/>
          </a:xfrm>
          <a:prstGeom prst="roundRect">
            <a:avLst/>
          </a:prstGeom>
          <a:noFill/>
          <a:ln w="12700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i="1" dirty="0"/>
              <a:t>On-patent:</a:t>
            </a:r>
          </a:p>
          <a:p>
            <a:pPr algn="ctr"/>
            <a:r>
              <a:rPr lang="en-US" sz="1000" b="1" i="1" dirty="0"/>
              <a:t>Price per SU</a:t>
            </a:r>
            <a:endParaRPr lang="el-GR" sz="1000" b="1" i="1" dirty="0"/>
          </a:p>
          <a:p>
            <a:pPr algn="ctr"/>
            <a:r>
              <a:rPr lang="en-US" sz="1000" b="1" i="1" dirty="0">
                <a:solidFill>
                  <a:schemeClr val="accent1"/>
                </a:solidFill>
              </a:rPr>
              <a:t>2.30</a:t>
            </a:r>
            <a:r>
              <a:rPr lang="el-GR" sz="1000" b="1" i="1" dirty="0">
                <a:solidFill>
                  <a:schemeClr val="accent1"/>
                </a:solidFill>
              </a:rPr>
              <a:t>€</a:t>
            </a:r>
            <a:endParaRPr lang="en-US" sz="1000" b="1" i="1" dirty="0">
              <a:solidFill>
                <a:schemeClr val="accent1"/>
              </a:solidFill>
            </a:endParaRP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47BAFEF2-A899-4B24-9CA9-2E64B5750CAD}"/>
              </a:ext>
            </a:extLst>
          </p:cNvPr>
          <p:cNvCxnSpPr>
            <a:cxnSpLocks/>
          </p:cNvCxnSpPr>
          <p:nvPr/>
        </p:nvCxnSpPr>
        <p:spPr bwMode="auto">
          <a:xfrm>
            <a:off x="8463108" y="2217738"/>
            <a:ext cx="0" cy="3151216"/>
          </a:xfrm>
          <a:prstGeom prst="line">
            <a:avLst/>
          </a:prstGeom>
          <a:noFill/>
          <a:ln w="19050" cap="flat" cmpd="sng" algn="ctr">
            <a:solidFill>
              <a:srgbClr val="00518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51BCE269-F7C6-4C3C-9F25-D8AF5DD73F54}"/>
              </a:ext>
            </a:extLst>
          </p:cNvPr>
          <p:cNvCxnSpPr>
            <a:cxnSpLocks/>
          </p:cNvCxnSpPr>
          <p:nvPr/>
        </p:nvCxnSpPr>
        <p:spPr bwMode="auto">
          <a:xfrm>
            <a:off x="3196686" y="2217738"/>
            <a:ext cx="0" cy="3142827"/>
          </a:xfrm>
          <a:prstGeom prst="line">
            <a:avLst/>
          </a:prstGeom>
          <a:noFill/>
          <a:ln w="19050" cap="flat" cmpd="sng" algn="ctr">
            <a:solidFill>
              <a:srgbClr val="00518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228FCF2F-7E7E-4301-866E-FC265BFD5300}"/>
              </a:ext>
            </a:extLst>
          </p:cNvPr>
          <p:cNvCxnSpPr>
            <a:cxnSpLocks/>
          </p:cNvCxnSpPr>
          <p:nvPr/>
        </p:nvCxnSpPr>
        <p:spPr bwMode="auto">
          <a:xfrm>
            <a:off x="5543303" y="2217738"/>
            <a:ext cx="0" cy="3159605"/>
          </a:xfrm>
          <a:prstGeom prst="line">
            <a:avLst/>
          </a:prstGeom>
          <a:noFill/>
          <a:ln w="19050" cap="flat" cmpd="sng" algn="ctr">
            <a:solidFill>
              <a:srgbClr val="00518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104" name="Picture 4" descr="C:\Users\KMastorakis\Desktop\IRELAND.jpg">
            <a:extLst>
              <a:ext uri="{FF2B5EF4-FFF2-40B4-BE49-F238E27FC236}">
                <a16:creationId xmlns:a16="http://schemas.microsoft.com/office/drawing/2014/main" id="{05932B25-11C0-448F-8691-50A04D85B9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9" cstate="print"/>
          <a:srcRect/>
          <a:stretch>
            <a:fillRect/>
          </a:stretch>
        </p:blipFill>
        <p:spPr bwMode="auto">
          <a:xfrm>
            <a:off x="8619254" y="4933950"/>
            <a:ext cx="288000" cy="288000"/>
          </a:xfrm>
          <a:prstGeom prst="rect">
            <a:avLst/>
          </a:prstGeom>
        </p:spPr>
      </p:pic>
      <p:pic>
        <p:nvPicPr>
          <p:cNvPr id="105" name="Picture 104" descr="Italy.jpg">
            <a:extLst>
              <a:ext uri="{FF2B5EF4-FFF2-40B4-BE49-F238E27FC236}">
                <a16:creationId xmlns:a16="http://schemas.microsoft.com/office/drawing/2014/main" id="{32735171-98C9-488D-BEAA-A13A4669AE88}"/>
              </a:ext>
            </a:extLst>
          </p:cNvPr>
          <p:cNvPicPr>
            <a:picLocks noChangeAspect="1"/>
          </p:cNvPicPr>
          <p:nvPr/>
        </p:nvPicPr>
        <p:blipFill>
          <a:blip r:embed="rId50" cstate="print"/>
          <a:stretch>
            <a:fillRect/>
          </a:stretch>
        </p:blipFill>
        <p:spPr>
          <a:xfrm>
            <a:off x="1549189" y="4933950"/>
            <a:ext cx="288000" cy="288000"/>
          </a:xfrm>
          <a:prstGeom prst="rect">
            <a:avLst/>
          </a:prstGeom>
        </p:spPr>
      </p:pic>
      <p:pic>
        <p:nvPicPr>
          <p:cNvPr id="106" name="Picture 105" descr="Portugal.jpg">
            <a:extLst>
              <a:ext uri="{FF2B5EF4-FFF2-40B4-BE49-F238E27FC236}">
                <a16:creationId xmlns:a16="http://schemas.microsoft.com/office/drawing/2014/main" id="{2228DD0C-ACDA-4476-8AB4-DABD8A43A12B}"/>
              </a:ext>
            </a:extLst>
          </p:cNvPr>
          <p:cNvPicPr>
            <a:picLocks noChangeAspect="1"/>
          </p:cNvPicPr>
          <p:nvPr/>
        </p:nvPicPr>
        <p:blipFill>
          <a:blip r:embed="rId51" cstate="print"/>
          <a:stretch>
            <a:fillRect/>
          </a:stretch>
        </p:blipFill>
        <p:spPr>
          <a:xfrm>
            <a:off x="2138370" y="4933950"/>
            <a:ext cx="288000" cy="288000"/>
          </a:xfrm>
          <a:prstGeom prst="rect">
            <a:avLst/>
          </a:prstGeom>
        </p:spPr>
      </p:pic>
      <p:pic>
        <p:nvPicPr>
          <p:cNvPr id="114" name="Picture 113" descr="Spain.jpg">
            <a:extLst>
              <a:ext uri="{FF2B5EF4-FFF2-40B4-BE49-F238E27FC236}">
                <a16:creationId xmlns:a16="http://schemas.microsoft.com/office/drawing/2014/main" id="{12C524AC-F481-4C21-8C9E-694826244CDE}"/>
              </a:ext>
            </a:extLst>
          </p:cNvPr>
          <p:cNvPicPr>
            <a:picLocks noChangeAspect="1"/>
          </p:cNvPicPr>
          <p:nvPr/>
        </p:nvPicPr>
        <p:blipFill>
          <a:blip r:embed="rId52" cstate="print"/>
          <a:stretch>
            <a:fillRect/>
          </a:stretch>
        </p:blipFill>
        <p:spPr>
          <a:xfrm>
            <a:off x="2727551" y="4933950"/>
            <a:ext cx="291113" cy="288000"/>
          </a:xfrm>
          <a:prstGeom prst="rect">
            <a:avLst/>
          </a:prstGeom>
        </p:spPr>
      </p:pic>
      <p:pic>
        <p:nvPicPr>
          <p:cNvPr id="115" name="Picture 114" descr="Austria.jpg">
            <a:extLst>
              <a:ext uri="{FF2B5EF4-FFF2-40B4-BE49-F238E27FC236}">
                <a16:creationId xmlns:a16="http://schemas.microsoft.com/office/drawing/2014/main" id="{B339DA53-8B1C-4B12-A89E-299B4745EDB9}"/>
              </a:ext>
            </a:extLst>
          </p:cNvPr>
          <p:cNvPicPr>
            <a:picLocks noChangeAspect="1"/>
          </p:cNvPicPr>
          <p:nvPr/>
        </p:nvPicPr>
        <p:blipFill>
          <a:blip r:embed="rId53" cstate="print"/>
          <a:stretch>
            <a:fillRect/>
          </a:stretch>
        </p:blipFill>
        <p:spPr>
          <a:xfrm>
            <a:off x="5673349" y="4933950"/>
            <a:ext cx="288000" cy="288000"/>
          </a:xfrm>
          <a:prstGeom prst="rect">
            <a:avLst/>
          </a:prstGeom>
        </p:spPr>
      </p:pic>
      <p:pic>
        <p:nvPicPr>
          <p:cNvPr id="116" name="Picture 115" descr="Belgium.jpg">
            <a:extLst>
              <a:ext uri="{FF2B5EF4-FFF2-40B4-BE49-F238E27FC236}">
                <a16:creationId xmlns:a16="http://schemas.microsoft.com/office/drawing/2014/main" id="{D0DD712B-9A09-4CA2-90C6-047BFCFE9AC9}"/>
              </a:ext>
            </a:extLst>
          </p:cNvPr>
          <p:cNvPicPr>
            <a:picLocks noChangeAspect="1"/>
          </p:cNvPicPr>
          <p:nvPr/>
        </p:nvPicPr>
        <p:blipFill>
          <a:blip r:embed="rId54" cstate="print"/>
          <a:stretch>
            <a:fillRect/>
          </a:stretch>
        </p:blipFill>
        <p:spPr>
          <a:xfrm>
            <a:off x="6262530" y="4933950"/>
            <a:ext cx="288000" cy="288000"/>
          </a:xfrm>
          <a:prstGeom prst="rect">
            <a:avLst/>
          </a:prstGeom>
        </p:spPr>
      </p:pic>
      <p:pic>
        <p:nvPicPr>
          <p:cNvPr id="117" name="Picture 116" descr="France.jpg">
            <a:extLst>
              <a:ext uri="{FF2B5EF4-FFF2-40B4-BE49-F238E27FC236}">
                <a16:creationId xmlns:a16="http://schemas.microsoft.com/office/drawing/2014/main" id="{02D7780D-92D5-4EE0-8CB9-FA9C4742CC8E}"/>
              </a:ext>
            </a:extLst>
          </p:cNvPr>
          <p:cNvPicPr>
            <a:picLocks noChangeAspect="1"/>
          </p:cNvPicPr>
          <p:nvPr/>
        </p:nvPicPr>
        <p:blipFill>
          <a:blip r:embed="rId55" cstate="print"/>
          <a:stretch>
            <a:fillRect/>
          </a:stretch>
        </p:blipFill>
        <p:spPr>
          <a:xfrm>
            <a:off x="6851711" y="4933950"/>
            <a:ext cx="288000" cy="288000"/>
          </a:xfrm>
          <a:prstGeom prst="rect">
            <a:avLst/>
          </a:prstGeom>
        </p:spPr>
      </p:pic>
      <p:pic>
        <p:nvPicPr>
          <p:cNvPr id="118" name="Picture 117" descr="Germany.jpg">
            <a:extLst>
              <a:ext uri="{FF2B5EF4-FFF2-40B4-BE49-F238E27FC236}">
                <a16:creationId xmlns:a16="http://schemas.microsoft.com/office/drawing/2014/main" id="{4F4D35C7-4F33-46E0-B678-2142A0EA9A11}"/>
              </a:ext>
            </a:extLst>
          </p:cNvPr>
          <p:cNvPicPr>
            <a:picLocks noChangeAspect="1"/>
          </p:cNvPicPr>
          <p:nvPr/>
        </p:nvPicPr>
        <p:blipFill>
          <a:blip r:embed="rId56" cstate="print"/>
          <a:stretch>
            <a:fillRect/>
          </a:stretch>
        </p:blipFill>
        <p:spPr>
          <a:xfrm>
            <a:off x="7440892" y="4933950"/>
            <a:ext cx="288000" cy="288000"/>
          </a:xfrm>
          <a:prstGeom prst="rect">
            <a:avLst/>
          </a:prstGeom>
        </p:spPr>
      </p:pic>
      <p:pic>
        <p:nvPicPr>
          <p:cNvPr id="119" name="Picture 118" descr="Netherlands.jpg">
            <a:extLst>
              <a:ext uri="{FF2B5EF4-FFF2-40B4-BE49-F238E27FC236}">
                <a16:creationId xmlns:a16="http://schemas.microsoft.com/office/drawing/2014/main" id="{F58CAD28-6993-4891-9CE6-3486D2B44A9F}"/>
              </a:ext>
            </a:extLst>
          </p:cNvPr>
          <p:cNvPicPr>
            <a:picLocks noChangeAspect="1"/>
          </p:cNvPicPr>
          <p:nvPr/>
        </p:nvPicPr>
        <p:blipFill>
          <a:blip r:embed="rId57" cstate="print"/>
          <a:stretch>
            <a:fillRect/>
          </a:stretch>
        </p:blipFill>
        <p:spPr>
          <a:xfrm>
            <a:off x="8030073" y="4933950"/>
            <a:ext cx="288000" cy="288000"/>
          </a:xfrm>
          <a:prstGeom prst="rect">
            <a:avLst/>
          </a:prstGeom>
        </p:spPr>
      </p:pic>
      <p:pic>
        <p:nvPicPr>
          <p:cNvPr id="121" name="Picture 7" descr="C:\Users\KMastorakis\Desktop\UK.jpg">
            <a:extLst>
              <a:ext uri="{FF2B5EF4-FFF2-40B4-BE49-F238E27FC236}">
                <a16:creationId xmlns:a16="http://schemas.microsoft.com/office/drawing/2014/main" id="{94C8F72F-255F-4ACE-8AE3-211F968F8F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8" cstate="print"/>
          <a:srcRect/>
          <a:stretch>
            <a:fillRect/>
          </a:stretch>
        </p:blipFill>
        <p:spPr bwMode="auto">
          <a:xfrm>
            <a:off x="9208435" y="4933950"/>
            <a:ext cx="288000" cy="288000"/>
          </a:xfrm>
          <a:prstGeom prst="rect">
            <a:avLst/>
          </a:prstGeom>
          <a:noFill/>
        </p:spPr>
      </p:pic>
      <p:pic>
        <p:nvPicPr>
          <p:cNvPr id="123" name="Picture 8" descr="C:\Users\KMastorakis\Desktop\FINLAND.jpg">
            <a:extLst>
              <a:ext uri="{FF2B5EF4-FFF2-40B4-BE49-F238E27FC236}">
                <a16:creationId xmlns:a16="http://schemas.microsoft.com/office/drawing/2014/main" id="{57087379-0707-48E7-A03C-41DE133D82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9" cstate="print"/>
          <a:srcRect/>
          <a:stretch>
            <a:fillRect/>
          </a:stretch>
        </p:blipFill>
        <p:spPr bwMode="auto">
          <a:xfrm>
            <a:off x="9797616" y="4933950"/>
            <a:ext cx="288000" cy="288000"/>
          </a:xfrm>
          <a:prstGeom prst="rect">
            <a:avLst/>
          </a:prstGeom>
          <a:noFill/>
        </p:spPr>
      </p:pic>
      <p:pic>
        <p:nvPicPr>
          <p:cNvPr id="124" name="Picture 9" descr="C:\Users\KMastorakis\Desktop\NORWAY.jpg">
            <a:extLst>
              <a:ext uri="{FF2B5EF4-FFF2-40B4-BE49-F238E27FC236}">
                <a16:creationId xmlns:a16="http://schemas.microsoft.com/office/drawing/2014/main" id="{2DB357FA-046D-4C61-8F85-906E6325EE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0" cstate="print"/>
          <a:srcRect/>
          <a:stretch>
            <a:fillRect/>
          </a:stretch>
        </p:blipFill>
        <p:spPr bwMode="auto">
          <a:xfrm>
            <a:off x="10386797" y="4933950"/>
            <a:ext cx="288000" cy="288000"/>
          </a:xfrm>
          <a:prstGeom prst="rect">
            <a:avLst/>
          </a:prstGeom>
          <a:noFill/>
        </p:spPr>
      </p:pic>
      <p:pic>
        <p:nvPicPr>
          <p:cNvPr id="127" name="Picture 126" descr="Sweden.jpg">
            <a:extLst>
              <a:ext uri="{FF2B5EF4-FFF2-40B4-BE49-F238E27FC236}">
                <a16:creationId xmlns:a16="http://schemas.microsoft.com/office/drawing/2014/main" id="{495EB337-4793-4A06-9E55-256585F71BEB}"/>
              </a:ext>
            </a:extLst>
          </p:cNvPr>
          <p:cNvPicPr>
            <a:picLocks noChangeAspect="1"/>
          </p:cNvPicPr>
          <p:nvPr/>
        </p:nvPicPr>
        <p:blipFill>
          <a:blip r:embed="rId61" cstate="print"/>
          <a:stretch>
            <a:fillRect/>
          </a:stretch>
        </p:blipFill>
        <p:spPr>
          <a:xfrm>
            <a:off x="10975984" y="4933950"/>
            <a:ext cx="288000" cy="288000"/>
          </a:xfrm>
          <a:prstGeom prst="rect">
            <a:avLst/>
          </a:prstGeom>
        </p:spPr>
      </p:pic>
      <p:pic>
        <p:nvPicPr>
          <p:cNvPr id="128" name="Picture 127" descr="Czech republic.jpg">
            <a:extLst>
              <a:ext uri="{FF2B5EF4-FFF2-40B4-BE49-F238E27FC236}">
                <a16:creationId xmlns:a16="http://schemas.microsoft.com/office/drawing/2014/main" id="{F756AC0A-8E89-4FE3-82F2-79CC46B66A77}"/>
              </a:ext>
            </a:extLst>
          </p:cNvPr>
          <p:cNvPicPr>
            <a:picLocks noChangeAspect="1"/>
          </p:cNvPicPr>
          <p:nvPr/>
        </p:nvPicPr>
        <p:blipFill>
          <a:blip r:embed="rId62" cstate="print"/>
          <a:stretch>
            <a:fillRect/>
          </a:stretch>
        </p:blipFill>
        <p:spPr>
          <a:xfrm>
            <a:off x="3319845" y="4933950"/>
            <a:ext cx="284780" cy="288000"/>
          </a:xfrm>
          <a:prstGeom prst="rect">
            <a:avLst/>
          </a:prstGeom>
        </p:spPr>
      </p:pic>
      <p:pic>
        <p:nvPicPr>
          <p:cNvPr id="129" name="Picture 128" descr="Hungary.jpg">
            <a:extLst>
              <a:ext uri="{FF2B5EF4-FFF2-40B4-BE49-F238E27FC236}">
                <a16:creationId xmlns:a16="http://schemas.microsoft.com/office/drawing/2014/main" id="{2EADD7CD-D4C5-4AF6-87D2-D9A4B76FB2B4}"/>
              </a:ext>
            </a:extLst>
          </p:cNvPr>
          <p:cNvPicPr>
            <a:picLocks noChangeAspect="1"/>
          </p:cNvPicPr>
          <p:nvPr/>
        </p:nvPicPr>
        <p:blipFill>
          <a:blip r:embed="rId63" cstate="print"/>
          <a:stretch>
            <a:fillRect/>
          </a:stretch>
        </p:blipFill>
        <p:spPr>
          <a:xfrm>
            <a:off x="3905806" y="4933950"/>
            <a:ext cx="288000" cy="289552"/>
          </a:xfrm>
          <a:prstGeom prst="rect">
            <a:avLst/>
          </a:prstGeom>
        </p:spPr>
      </p:pic>
      <p:pic>
        <p:nvPicPr>
          <p:cNvPr id="130" name="Picture 11" descr="https://encrypted-tbn1.gstatic.com/images?q=tbn:ANd9GcTONKpwE8WEyeUCYX7ekfahvZ3m-YAZSoMksyBgT4ieMShN0GKY">
            <a:extLst>
              <a:ext uri="{FF2B5EF4-FFF2-40B4-BE49-F238E27FC236}">
                <a16:creationId xmlns:a16="http://schemas.microsoft.com/office/drawing/2014/main" id="{4A27CBF3-A76E-4FCD-93B7-C947694279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4" cstate="print"/>
          <a:srcRect/>
          <a:stretch>
            <a:fillRect/>
          </a:stretch>
        </p:blipFill>
        <p:spPr bwMode="auto">
          <a:xfrm>
            <a:off x="4494987" y="4933950"/>
            <a:ext cx="288000" cy="288000"/>
          </a:xfrm>
          <a:prstGeom prst="rect">
            <a:avLst/>
          </a:prstGeom>
          <a:noFill/>
        </p:spPr>
      </p:pic>
      <p:pic>
        <p:nvPicPr>
          <p:cNvPr id="135" name="Picture 13" descr="http://www.veryicon.com/icon/png/Flag/Rounded%20World%20Flags/Slovakia%20Flag.png">
            <a:extLst>
              <a:ext uri="{FF2B5EF4-FFF2-40B4-BE49-F238E27FC236}">
                <a16:creationId xmlns:a16="http://schemas.microsoft.com/office/drawing/2014/main" id="{3A401D85-3900-4CFF-8146-6BE93AAD2B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5" cstate="print"/>
          <a:srcRect/>
          <a:stretch>
            <a:fillRect/>
          </a:stretch>
        </p:blipFill>
        <p:spPr bwMode="auto">
          <a:xfrm>
            <a:off x="5084168" y="4933950"/>
            <a:ext cx="288000" cy="288000"/>
          </a:xfrm>
          <a:prstGeom prst="rect">
            <a:avLst/>
          </a:prstGeom>
          <a:noFill/>
        </p:spPr>
      </p:pic>
      <p:cxnSp>
        <p:nvCxnSpPr>
          <p:cNvPr id="140" name="Straight Arrow Connector 139">
            <a:extLst>
              <a:ext uri="{FF2B5EF4-FFF2-40B4-BE49-F238E27FC236}">
                <a16:creationId xmlns:a16="http://schemas.microsoft.com/office/drawing/2014/main" id="{EE0F3CBF-3302-4606-86BC-77D73F762F7C}"/>
              </a:ext>
            </a:extLst>
          </p:cNvPr>
          <p:cNvCxnSpPr>
            <a:cxnSpLocks/>
          </p:cNvCxnSpPr>
          <p:nvPr/>
        </p:nvCxnSpPr>
        <p:spPr bwMode="auto">
          <a:xfrm>
            <a:off x="830262" y="5319712"/>
            <a:ext cx="2307221" cy="0"/>
          </a:xfrm>
          <a:prstGeom prst="straightConnector1">
            <a:avLst/>
          </a:prstGeom>
          <a:noFill/>
          <a:ln w="25400" cap="flat" cmpd="sng" algn="ctr">
            <a:solidFill>
              <a:srgbClr val="005187"/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141" name="Straight Arrow Connector 140">
            <a:extLst>
              <a:ext uri="{FF2B5EF4-FFF2-40B4-BE49-F238E27FC236}">
                <a16:creationId xmlns:a16="http://schemas.microsoft.com/office/drawing/2014/main" id="{55DFDE5A-CC1B-44FD-B1F8-B35A160B2B97}"/>
              </a:ext>
            </a:extLst>
          </p:cNvPr>
          <p:cNvCxnSpPr>
            <a:cxnSpLocks/>
          </p:cNvCxnSpPr>
          <p:nvPr/>
        </p:nvCxnSpPr>
        <p:spPr bwMode="auto">
          <a:xfrm>
            <a:off x="3238150" y="5319712"/>
            <a:ext cx="2256639" cy="0"/>
          </a:xfrm>
          <a:prstGeom prst="straightConnector1">
            <a:avLst/>
          </a:prstGeom>
          <a:noFill/>
          <a:ln w="25400" cap="flat" cmpd="sng" algn="ctr">
            <a:solidFill>
              <a:srgbClr val="005187"/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A07D0EBB-47EB-461A-939A-C5DDB00299BE}"/>
              </a:ext>
            </a:extLst>
          </p:cNvPr>
          <p:cNvCxnSpPr>
            <a:cxnSpLocks/>
          </p:cNvCxnSpPr>
          <p:nvPr/>
        </p:nvCxnSpPr>
        <p:spPr bwMode="auto">
          <a:xfrm>
            <a:off x="5587068" y="5319712"/>
            <a:ext cx="2827090" cy="0"/>
          </a:xfrm>
          <a:prstGeom prst="straightConnector1">
            <a:avLst/>
          </a:prstGeom>
          <a:noFill/>
          <a:ln w="25400" cap="flat" cmpd="sng" algn="ctr">
            <a:solidFill>
              <a:srgbClr val="005187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147" name="Rounded Rectangle 130">
            <a:extLst>
              <a:ext uri="{FF2B5EF4-FFF2-40B4-BE49-F238E27FC236}">
                <a16:creationId xmlns:a16="http://schemas.microsoft.com/office/drawing/2014/main" id="{F6B5B1C5-5414-444C-B0F4-B87B219C6E7D}"/>
              </a:ext>
            </a:extLst>
          </p:cNvPr>
          <p:cNvSpPr/>
          <p:nvPr/>
        </p:nvSpPr>
        <p:spPr bwMode="auto">
          <a:xfrm>
            <a:off x="820738" y="5402262"/>
            <a:ext cx="2375468" cy="360000"/>
          </a:xfrm>
          <a:prstGeom prst="roundRect">
            <a:avLst/>
          </a:prstGeom>
          <a:noFill/>
          <a:ln w="9525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200" b="1" i="1" dirty="0"/>
              <a:t>PIIGS</a:t>
            </a:r>
            <a:endParaRPr lang="en-US" sz="1200" b="1" i="1" dirty="0"/>
          </a:p>
        </p:txBody>
      </p:sp>
      <p:sp>
        <p:nvSpPr>
          <p:cNvPr id="148" name="Rounded Rectangle 131">
            <a:extLst>
              <a:ext uri="{FF2B5EF4-FFF2-40B4-BE49-F238E27FC236}">
                <a16:creationId xmlns:a16="http://schemas.microsoft.com/office/drawing/2014/main" id="{1F0B632E-30A8-4ADD-B723-F6B99203E931}"/>
              </a:ext>
            </a:extLst>
          </p:cNvPr>
          <p:cNvSpPr/>
          <p:nvPr/>
        </p:nvSpPr>
        <p:spPr bwMode="auto">
          <a:xfrm>
            <a:off x="5561902" y="5402262"/>
            <a:ext cx="2885812" cy="360000"/>
          </a:xfrm>
          <a:prstGeom prst="roundRect">
            <a:avLst/>
          </a:prstGeom>
          <a:noFill/>
          <a:ln w="9525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l-GR" sz="1200" b="1" i="1" dirty="0"/>
              <a:t>Ε</a:t>
            </a:r>
            <a:r>
              <a:rPr lang="en-US" sz="1200" b="1" i="1" dirty="0"/>
              <a:t>U Core</a:t>
            </a:r>
            <a:endParaRPr lang="en-US" sz="1200" b="1" i="1" baseline="30000" dirty="0"/>
          </a:p>
        </p:txBody>
      </p:sp>
      <p:sp>
        <p:nvSpPr>
          <p:cNvPr id="149" name="Rounded Rectangle 132">
            <a:extLst>
              <a:ext uri="{FF2B5EF4-FFF2-40B4-BE49-F238E27FC236}">
                <a16:creationId xmlns:a16="http://schemas.microsoft.com/office/drawing/2014/main" id="{093998EF-0816-43F6-9972-F5089FF28DCE}"/>
              </a:ext>
            </a:extLst>
          </p:cNvPr>
          <p:cNvSpPr/>
          <p:nvPr/>
        </p:nvSpPr>
        <p:spPr bwMode="auto">
          <a:xfrm>
            <a:off x="9647339" y="5401750"/>
            <a:ext cx="1811090" cy="360000"/>
          </a:xfrm>
          <a:prstGeom prst="roundRect">
            <a:avLst/>
          </a:prstGeom>
          <a:noFill/>
          <a:ln w="9525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200" b="1" i="1" dirty="0"/>
              <a:t>Nordics</a:t>
            </a:r>
            <a:endParaRPr lang="en-US" sz="1200" b="1" i="1" baseline="30000" dirty="0"/>
          </a:p>
        </p:txBody>
      </p:sp>
      <p:sp>
        <p:nvSpPr>
          <p:cNvPr id="150" name="Rounded Rectangle 133">
            <a:extLst>
              <a:ext uri="{FF2B5EF4-FFF2-40B4-BE49-F238E27FC236}">
                <a16:creationId xmlns:a16="http://schemas.microsoft.com/office/drawing/2014/main" id="{5484DD37-0606-4FED-A6E3-427493F9AA0B}"/>
              </a:ext>
            </a:extLst>
          </p:cNvPr>
          <p:cNvSpPr/>
          <p:nvPr/>
        </p:nvSpPr>
        <p:spPr bwMode="auto">
          <a:xfrm>
            <a:off x="3212983" y="5402262"/>
            <a:ext cx="2332140" cy="360000"/>
          </a:xfrm>
          <a:prstGeom prst="roundRect">
            <a:avLst/>
          </a:prstGeom>
          <a:noFill/>
          <a:ln w="9525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200" b="1" i="1" dirty="0"/>
              <a:t>Eastern Europe</a:t>
            </a:r>
            <a:endParaRPr lang="en-US" sz="1200" b="1" i="1" baseline="30000" dirty="0"/>
          </a:p>
        </p:txBody>
      </p:sp>
      <p:cxnSp>
        <p:nvCxnSpPr>
          <p:cNvPr id="151" name="Straight Arrow Connector 150">
            <a:extLst>
              <a:ext uri="{FF2B5EF4-FFF2-40B4-BE49-F238E27FC236}">
                <a16:creationId xmlns:a16="http://schemas.microsoft.com/office/drawing/2014/main" id="{C9E2F328-E23C-4CF2-9A31-B3FC2CF77575}"/>
              </a:ext>
            </a:extLst>
          </p:cNvPr>
          <p:cNvCxnSpPr>
            <a:cxnSpLocks/>
          </p:cNvCxnSpPr>
          <p:nvPr/>
        </p:nvCxnSpPr>
        <p:spPr bwMode="auto">
          <a:xfrm>
            <a:off x="9664117" y="5319712"/>
            <a:ext cx="1734134" cy="0"/>
          </a:xfrm>
          <a:prstGeom prst="straightConnector1">
            <a:avLst/>
          </a:prstGeom>
          <a:noFill/>
          <a:ln w="25400" cap="flat" cmpd="sng" algn="ctr">
            <a:solidFill>
              <a:srgbClr val="005187"/>
            </a:solidFill>
            <a:prstDash val="solid"/>
            <a:round/>
            <a:headEnd type="arrow"/>
            <a:tailEnd type="arrow"/>
          </a:ln>
          <a:effectLst/>
        </p:spPr>
      </p:cxnSp>
      <p:pic>
        <p:nvPicPr>
          <p:cNvPr id="152" name="Picture 151" descr="Greece.png">
            <a:extLst>
              <a:ext uri="{FF2B5EF4-FFF2-40B4-BE49-F238E27FC236}">
                <a16:creationId xmlns:a16="http://schemas.microsoft.com/office/drawing/2014/main" id="{D1E48BE9-190D-48F5-8091-A6C087F43F50}"/>
              </a:ext>
            </a:extLst>
          </p:cNvPr>
          <p:cNvPicPr>
            <a:picLocks noChangeAspect="1"/>
          </p:cNvPicPr>
          <p:nvPr/>
        </p:nvPicPr>
        <p:blipFill>
          <a:blip r:embed="rId66" cstate="print"/>
          <a:stretch>
            <a:fillRect/>
          </a:stretch>
        </p:blipFill>
        <p:spPr>
          <a:xfrm>
            <a:off x="960008" y="4933950"/>
            <a:ext cx="288000" cy="288000"/>
          </a:xfrm>
          <a:prstGeom prst="rect">
            <a:avLst/>
          </a:prstGeom>
        </p:spPr>
      </p:pic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DF6B28D0-908B-40FE-A7FE-2735689DAC90}"/>
              </a:ext>
            </a:extLst>
          </p:cNvPr>
          <p:cNvCxnSpPr>
            <a:cxnSpLocks/>
          </p:cNvCxnSpPr>
          <p:nvPr/>
        </p:nvCxnSpPr>
        <p:spPr bwMode="auto">
          <a:xfrm>
            <a:off x="9622186" y="2217738"/>
            <a:ext cx="0" cy="3176383"/>
          </a:xfrm>
          <a:prstGeom prst="line">
            <a:avLst/>
          </a:prstGeom>
          <a:noFill/>
          <a:ln w="19050" cap="flat" cmpd="sng" algn="ctr">
            <a:solidFill>
              <a:srgbClr val="00518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4" name="Straight Arrow Connector 153">
            <a:extLst>
              <a:ext uri="{FF2B5EF4-FFF2-40B4-BE49-F238E27FC236}">
                <a16:creationId xmlns:a16="http://schemas.microsoft.com/office/drawing/2014/main" id="{515525D2-F9D1-4E80-A470-E4812F2CB92E}"/>
              </a:ext>
            </a:extLst>
          </p:cNvPr>
          <p:cNvCxnSpPr>
            <a:cxnSpLocks/>
          </p:cNvCxnSpPr>
          <p:nvPr/>
        </p:nvCxnSpPr>
        <p:spPr bwMode="auto">
          <a:xfrm>
            <a:off x="8498048" y="5319712"/>
            <a:ext cx="1098958" cy="0"/>
          </a:xfrm>
          <a:prstGeom prst="straightConnector1">
            <a:avLst/>
          </a:prstGeom>
          <a:noFill/>
          <a:ln w="25400" cap="flat" cmpd="sng" algn="ctr">
            <a:solidFill>
              <a:srgbClr val="005187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155" name="Rounded Rectangle 132">
            <a:extLst>
              <a:ext uri="{FF2B5EF4-FFF2-40B4-BE49-F238E27FC236}">
                <a16:creationId xmlns:a16="http://schemas.microsoft.com/office/drawing/2014/main" id="{69CF086D-EA76-4DB1-AD49-A7CC3DD47BEB}"/>
              </a:ext>
            </a:extLst>
          </p:cNvPr>
          <p:cNvSpPr/>
          <p:nvPr/>
        </p:nvSpPr>
        <p:spPr bwMode="auto">
          <a:xfrm>
            <a:off x="8472881" y="5401750"/>
            <a:ext cx="1157679" cy="360000"/>
          </a:xfrm>
          <a:prstGeom prst="roundRect">
            <a:avLst/>
          </a:prstGeom>
          <a:noFill/>
          <a:ln w="9525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i="1" dirty="0"/>
              <a:t>IE-UK</a:t>
            </a:r>
            <a:endParaRPr lang="en-US" sz="1200" b="1" i="1" baseline="30000" dirty="0"/>
          </a:p>
        </p:txBody>
      </p:sp>
      <p:sp>
        <p:nvSpPr>
          <p:cNvPr id="156" name="Rounded Rectangle 143">
            <a:extLst>
              <a:ext uri="{FF2B5EF4-FFF2-40B4-BE49-F238E27FC236}">
                <a16:creationId xmlns:a16="http://schemas.microsoft.com/office/drawing/2014/main" id="{2D56B934-7656-4E6B-B1E6-D0861CBD1C3D}"/>
              </a:ext>
            </a:extLst>
          </p:cNvPr>
          <p:cNvSpPr>
            <a:spLocks/>
          </p:cNvSpPr>
          <p:nvPr/>
        </p:nvSpPr>
        <p:spPr bwMode="auto">
          <a:xfrm>
            <a:off x="8545641" y="2224087"/>
            <a:ext cx="983411" cy="521148"/>
          </a:xfrm>
          <a:prstGeom prst="roundRect">
            <a:avLst/>
          </a:prstGeom>
          <a:noFill/>
          <a:ln w="12700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i="1" dirty="0"/>
              <a:t>On-patent:</a:t>
            </a:r>
          </a:p>
          <a:p>
            <a:pPr algn="ctr"/>
            <a:r>
              <a:rPr lang="en-US" sz="1000" b="1" i="1" dirty="0"/>
              <a:t>Price per SU</a:t>
            </a:r>
            <a:endParaRPr lang="el-GR" sz="1000" b="1" i="1" dirty="0"/>
          </a:p>
          <a:p>
            <a:pPr algn="ctr"/>
            <a:r>
              <a:rPr lang="en-US" sz="1000" b="1" i="1" dirty="0">
                <a:solidFill>
                  <a:schemeClr val="accent1"/>
                </a:solidFill>
              </a:rPr>
              <a:t>1.14</a:t>
            </a:r>
            <a:r>
              <a:rPr lang="el-GR" sz="1000" b="1" i="1" dirty="0">
                <a:solidFill>
                  <a:schemeClr val="accent1"/>
                </a:solidFill>
              </a:rPr>
              <a:t>€</a:t>
            </a:r>
            <a:endParaRPr lang="en-US" sz="1000" b="1" i="1" dirty="0">
              <a:solidFill>
                <a:schemeClr val="accent1"/>
              </a:solidFill>
            </a:endParaRPr>
          </a:p>
        </p:txBody>
      </p:sp>
      <p:sp>
        <p:nvSpPr>
          <p:cNvPr id="84" name="Text Placeholder 14">
            <a:extLst>
              <a:ext uri="{FF2B5EF4-FFF2-40B4-BE49-F238E27FC236}">
                <a16:creationId xmlns:a16="http://schemas.microsoft.com/office/drawing/2014/main" id="{83431CD2-E843-42C6-93B8-0BEA4AD7163E}"/>
              </a:ext>
            </a:extLst>
          </p:cNvPr>
          <p:cNvSpPr txBox="1">
            <a:spLocks/>
          </p:cNvSpPr>
          <p:nvPr/>
        </p:nvSpPr>
        <p:spPr>
          <a:xfrm>
            <a:off x="477013" y="6397157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ource: IQVIA data (MAT/03/23), IQVIA analysis</a:t>
            </a:r>
          </a:p>
        </p:txBody>
      </p:sp>
    </p:spTree>
    <p:extLst>
      <p:ext uri="{BB962C8B-B14F-4D97-AF65-F5344CB8AC3E}">
        <p14:creationId xmlns:p14="http://schemas.microsoft.com/office/powerpoint/2010/main" val="1914734600"/>
      </p:ext>
    </p:extLst>
  </p:cSld>
  <p:clrMapOvr>
    <a:masterClrMapping/>
  </p:clrMapOvr>
  <p:transition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Rectangle 45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41470100"/>
              </p:ext>
            </p:ext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0" imgH="0" progId="TCLayout.ActiveDocument.1">
                  <p:embed/>
                </p:oleObj>
              </mc:Choice>
              <mc:Fallback>
                <p:oleObj name="think-cell Slide" r:id="rId27" imgW="0" imgH="0" progId="TCLayout.ActiveDocument.1">
                  <p:embed/>
                  <p:pic>
                    <p:nvPicPr>
                      <p:cNvPr id="8194" name="Rectangle 4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6" name="Rectangle 46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52C798E4-1216-50A6-58C9-AA03BE6F3C1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4701012"/>
              </p:ext>
            </p:extLst>
          </p:nvPr>
        </p:nvGraphicFramePr>
        <p:xfrm>
          <a:off x="520700" y="2414588"/>
          <a:ext cx="9852025" cy="3508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ED50C6AC-DC49-A194-C9B5-A8E7539AE61A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885825" y="4559300"/>
            <a:ext cx="9158288" cy="0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FFAA2A5-3D2B-4E46-8C68-EF5CFD6D7459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gray">
          <a:xfrm flipV="1">
            <a:off x="885825" y="3663950"/>
            <a:ext cx="9158288" cy="1370013"/>
          </a:xfrm>
          <a:prstGeom prst="line">
            <a:avLst/>
          </a:prstGeom>
          <a:ln w="9525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197" name="Rectangle 8196">
            <a:extLst>
              <a:ext uri="{FF2B5EF4-FFF2-40B4-BE49-F238E27FC236}">
                <a16:creationId xmlns:a16="http://schemas.microsoft.com/office/drawing/2014/main" id="{5FD260E0-19E1-4AD0-AF99-9925BB00B85C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2667000" y="5010150"/>
            <a:ext cx="1587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FCB5E05-3EEF-4E70-8A4A-082C1D233059}" type="datetime'''''''''''''''''''''''''''P''''''''''''''''''''''''''''T'">
              <a:rPr lang="en-US" altLang="en-US" sz="800" smtClean="0">
                <a:solidFill>
                  <a:schemeClr val="tx1"/>
                </a:solidFill>
              </a:rPr>
              <a:pPr/>
              <a:t>PT</a:t>
            </a:fld>
            <a:endParaRPr lang="en-US" sz="8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Rectangle 109"/>
          <p:cNvSpPr/>
          <p:nvPr>
            <p:custDataLst>
              <p:tags r:id="rId6"/>
            </p:custDataLst>
          </p:nvPr>
        </p:nvSpPr>
        <p:spPr bwMode="auto">
          <a:xfrm>
            <a:off x="561975" y="2092325"/>
            <a:ext cx="64770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Price per SU</a:t>
            </a:r>
            <a:endParaRPr lang="el-GR" sz="900" dirty="0">
              <a:latin typeface="Arial"/>
              <a:cs typeface="Arial"/>
              <a:sym typeface="Arial"/>
            </a:endParaRPr>
          </a:p>
          <a:p>
            <a:pPr algn="ctr"/>
            <a:r>
              <a:rPr lang="el-GR" sz="900" dirty="0">
                <a:latin typeface="Arial"/>
                <a:cs typeface="Arial"/>
                <a:sym typeface="Arial"/>
              </a:rPr>
              <a:t>(€/</a:t>
            </a:r>
            <a:r>
              <a:rPr lang="en-US" sz="900" dirty="0">
                <a:latin typeface="Arial"/>
                <a:cs typeface="Arial"/>
                <a:sym typeface="Arial"/>
              </a:rPr>
              <a:t>SU</a:t>
            </a:r>
            <a:r>
              <a:rPr lang="el-GR" sz="900" dirty="0">
                <a:latin typeface="Arial"/>
                <a:cs typeface="Arial"/>
                <a:sym typeface="Arial"/>
              </a:rPr>
              <a:t>)</a:t>
            </a:r>
            <a:endParaRPr lang="en-US" sz="900" dirty="0">
              <a:latin typeface="Arial"/>
              <a:cs typeface="Arial"/>
              <a:sym typeface="Arial"/>
            </a:endParaRPr>
          </a:p>
        </p:txBody>
      </p:sp>
      <p:sp>
        <p:nvSpPr>
          <p:cNvPr id="116" name="Rectangle 115"/>
          <p:cNvSpPr/>
          <p:nvPr>
            <p:custDataLst>
              <p:tags r:id="rId7"/>
            </p:custDataLst>
          </p:nvPr>
        </p:nvSpPr>
        <p:spPr bwMode="auto">
          <a:xfrm>
            <a:off x="9456738" y="5959475"/>
            <a:ext cx="7937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Country’s GDP/</a:t>
            </a:r>
          </a:p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capita($)</a:t>
            </a:r>
          </a:p>
        </p:txBody>
      </p:sp>
      <p:sp>
        <p:nvSpPr>
          <p:cNvPr id="8193" name="Rectangle 8192">
            <a:extLst>
              <a:ext uri="{FF2B5EF4-FFF2-40B4-BE49-F238E27FC236}">
                <a16:creationId xmlns:a16="http://schemas.microsoft.com/office/drawing/2014/main" id="{FA37D7FF-49CC-41B6-B62A-9E1238062FC2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2365375" y="5064125"/>
            <a:ext cx="1809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D4D7047-087E-431A-9DA2-59DD426ACE1A}" type="datetime'''''''''''''''''''G''''''''''R'''''''''''''">
              <a:rPr lang="en-US" altLang="en-US" sz="800" smtClean="0">
                <a:solidFill>
                  <a:schemeClr val="tx1"/>
                </a:solidFill>
              </a:rPr>
              <a:pPr/>
              <a:t>GR</a:t>
            </a:fld>
            <a:endParaRPr lang="en-US" sz="8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00" name="Rectangle 8199">
            <a:extLst>
              <a:ext uri="{FF2B5EF4-FFF2-40B4-BE49-F238E27FC236}">
                <a16:creationId xmlns:a16="http://schemas.microsoft.com/office/drawing/2014/main" id="{97584274-F386-461E-8E15-9AAD8EF246B8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2686050" y="4757738"/>
            <a:ext cx="17462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B41B544-1D7E-459E-BCEE-B7409B44821F}" type="datetime'H''''''''''''''''U'''''''''''''''''''''''''''''''''''''">
              <a:rPr lang="en-US" altLang="en-US" sz="800" smtClean="0">
                <a:solidFill>
                  <a:schemeClr val="tx1"/>
                </a:solidFill>
                <a:effectLst/>
              </a:rPr>
              <a:pPr/>
              <a:t>HU</a:t>
            </a:fld>
            <a:endParaRPr lang="en-US" sz="8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195" name="Rectangle 8194">
            <a:extLst>
              <a:ext uri="{FF2B5EF4-FFF2-40B4-BE49-F238E27FC236}">
                <a16:creationId xmlns:a16="http://schemas.microsoft.com/office/drawing/2014/main" id="{25966587-7736-4232-9BC8-6ECD8DF1A73D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3633788" y="5268913"/>
            <a:ext cx="1190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1195A11-EC5B-40B3-B275-6D6D2325099D}" type="datetime'''''''''''I''''''''''''''T'''">
              <a:rPr lang="en-US" altLang="en-US" sz="800" smtClean="0">
                <a:solidFill>
                  <a:schemeClr val="tx1"/>
                </a:solidFill>
              </a:rPr>
              <a:pPr/>
              <a:t>IT</a:t>
            </a:fld>
            <a:endParaRPr lang="en-US" sz="8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198" name="Rectangle 8197">
            <a:extLst>
              <a:ext uri="{FF2B5EF4-FFF2-40B4-BE49-F238E27FC236}">
                <a16:creationId xmlns:a16="http://schemas.microsoft.com/office/drawing/2014/main" id="{CA08F86E-11FA-46E4-A875-FEF121BFD40C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3030538" y="5032375"/>
            <a:ext cx="1651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EFE6C8F-B811-4F02-A695-98EB3AB0B999}" type="datetime'''E''''''''''''''''S'''''''''''''">
              <a:rPr lang="en-US" altLang="en-US" sz="800" smtClean="0">
                <a:solidFill>
                  <a:schemeClr val="tx1"/>
                </a:solidFill>
              </a:rPr>
              <a:pPr/>
              <a:t>ES</a:t>
            </a:fld>
            <a:endParaRPr lang="en-US" sz="8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01" name="Rectangle 8200">
            <a:extLst>
              <a:ext uri="{FF2B5EF4-FFF2-40B4-BE49-F238E27FC236}">
                <a16:creationId xmlns:a16="http://schemas.microsoft.com/office/drawing/2014/main" id="{0C614BCC-EEFD-4A3B-B0D0-1464D202A37A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2825750" y="5121275"/>
            <a:ext cx="1539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3545C1A-E0C8-4912-9CEE-FABE29856757}" type="datetime'''''''''''''''''''''''''P''''''''L'''''''''''''''''''">
              <a:rPr lang="en-US" altLang="en-US" sz="800" smtClean="0">
                <a:solidFill>
                  <a:schemeClr val="tx1"/>
                </a:solidFill>
              </a:rPr>
              <a:pPr/>
              <a:t>PL</a:t>
            </a:fld>
            <a:endParaRPr lang="en-US" sz="8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199" name="Rectangle 8198">
            <a:extLst>
              <a:ext uri="{FF2B5EF4-FFF2-40B4-BE49-F238E27FC236}">
                <a16:creationId xmlns:a16="http://schemas.microsoft.com/office/drawing/2014/main" id="{5DFF6020-BB02-4613-ACBC-ACF40254E88B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3298825" y="5027613"/>
            <a:ext cx="16351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E3DECCE-BEE9-4824-B9B4-C99185F6F286}" type="datetime'''''''''''C''''''Z'''''''''''''''''">
              <a:rPr lang="en-US" altLang="en-US" sz="800" smtClean="0">
                <a:solidFill>
                  <a:schemeClr val="tx1"/>
                </a:solidFill>
              </a:rPr>
              <a:pPr/>
              <a:t>CZ</a:t>
            </a:fld>
            <a:endParaRPr lang="en-US" sz="8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02" name="Rectangle 8201">
            <a:extLst>
              <a:ext uri="{FF2B5EF4-FFF2-40B4-BE49-F238E27FC236}">
                <a16:creationId xmlns:a16="http://schemas.microsoft.com/office/drawing/2014/main" id="{FC69095A-325C-470B-BDC4-043CF0A74C9C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2376488" y="4273550"/>
            <a:ext cx="1651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56E257B-822D-4BFB-8A16-6E016E691FC6}" type="datetime'''''''''''''''''''''''''''''''''S''''''K'''''''''''''''''''''">
              <a:rPr lang="en-US" altLang="en-US" sz="800" smtClean="0">
                <a:solidFill>
                  <a:schemeClr val="tx1"/>
                </a:solidFill>
              </a:rPr>
              <a:pPr/>
              <a:t>SK</a:t>
            </a:fld>
            <a:endParaRPr lang="en-US" sz="8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05" name="Rectangle 8204">
            <a:extLst>
              <a:ext uri="{FF2B5EF4-FFF2-40B4-BE49-F238E27FC236}">
                <a16:creationId xmlns:a16="http://schemas.microsoft.com/office/drawing/2014/main" id="{CEF55C4D-D5DF-4CB6-9FF9-E6B1B7EE9911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3903663" y="3814763"/>
            <a:ext cx="16351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1A890D1-F274-4537-AE67-D53863D5DE8D}" type="datetime'''''''''''''''''''''''''''''''''''''''F''''''R'''''''''">
              <a:rPr lang="en-US" altLang="en-US" sz="800" smtClean="0">
                <a:solidFill>
                  <a:schemeClr val="tx1"/>
                </a:solidFill>
              </a:rPr>
              <a:pPr/>
              <a:t>FR</a:t>
            </a:fld>
            <a:endParaRPr lang="en-US" sz="8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03" name="Rectangle 8202">
            <a:extLst>
              <a:ext uri="{FF2B5EF4-FFF2-40B4-BE49-F238E27FC236}">
                <a16:creationId xmlns:a16="http://schemas.microsoft.com/office/drawing/2014/main" id="{F5F225AE-FF39-41A6-822C-CFDAE3C540AA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4992688" y="3262313"/>
            <a:ext cx="1587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9C9FE53-911E-4EA0-9FF5-C801E5700880}" type="datetime'''''''''''''''''''''''''''A''T'''''''''''''''''''">
              <a:rPr lang="en-US" altLang="en-US" sz="800" smtClean="0">
                <a:solidFill>
                  <a:schemeClr val="tx1"/>
                </a:solidFill>
              </a:rPr>
              <a:pPr/>
              <a:t>AT</a:t>
            </a:fld>
            <a:endParaRPr lang="en-US" sz="8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04" name="Rectangle 8203">
            <a:extLst>
              <a:ext uri="{FF2B5EF4-FFF2-40B4-BE49-F238E27FC236}">
                <a16:creationId xmlns:a16="http://schemas.microsoft.com/office/drawing/2014/main" id="{9E9E8C59-C173-4C11-9431-BC93211C305F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4746625" y="4232275"/>
            <a:ext cx="1651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6CFA57D-9C64-473F-9FC9-384108A21484}" type="datetime'B''''''''''''''''''''''''''''''''''''''E'''''''''''">
              <a:rPr lang="en-US" altLang="en-US" sz="800" smtClean="0">
                <a:solidFill>
                  <a:schemeClr val="tx1"/>
                </a:solidFill>
                <a:effectLst/>
              </a:rPr>
              <a:pPr/>
              <a:t>BE</a:t>
            </a:fld>
            <a:endParaRPr lang="en-US" sz="8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06" name="Rectangle 8205">
            <a:extLst>
              <a:ext uri="{FF2B5EF4-FFF2-40B4-BE49-F238E27FC236}">
                <a16:creationId xmlns:a16="http://schemas.microsoft.com/office/drawing/2014/main" id="{8CCD5DF6-CE95-47AC-8D84-5554402B4B40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4603750" y="2973388"/>
            <a:ext cx="1698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BAA3254-D3FC-49DE-ACA5-11D7EFDD2313}" type="datetime'''''''D''''''''''''''''E'''">
              <a:rPr lang="en-US" altLang="en-US" sz="800" smtClean="0">
                <a:solidFill>
                  <a:schemeClr val="tx1"/>
                </a:solidFill>
              </a:rPr>
              <a:pPr/>
              <a:t>DE</a:t>
            </a:fld>
            <a:endParaRPr lang="en-US" sz="8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07" name="Rectangle 8206">
            <a:extLst>
              <a:ext uri="{FF2B5EF4-FFF2-40B4-BE49-F238E27FC236}">
                <a16:creationId xmlns:a16="http://schemas.microsoft.com/office/drawing/2014/main" id="{07CD1FAC-1C3B-48C3-BA06-15C5C83781E2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5175250" y="4700588"/>
            <a:ext cx="1587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00F5897-A4C6-47FD-ADF1-184EF431C842}" type="datetime'''''''''''''''''''''''''''''''N''''''''L'''''''''">
              <a:rPr lang="en-US" altLang="en-US" sz="800" smtClean="0">
                <a:solidFill>
                  <a:schemeClr val="tx1"/>
                </a:solidFill>
              </a:rPr>
              <a:pPr/>
              <a:t>NL</a:t>
            </a:fld>
            <a:endParaRPr lang="en-US" sz="8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08" name="Rectangle 8207">
            <a:extLst>
              <a:ext uri="{FF2B5EF4-FFF2-40B4-BE49-F238E27FC236}">
                <a16:creationId xmlns:a16="http://schemas.microsoft.com/office/drawing/2014/main" id="{CB004DC9-46DB-4031-B58B-DE1D28E53149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9844088" y="4030663"/>
            <a:ext cx="12541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E276712-5E4B-4A9D-8885-B6B78F363554}" type="datetime'''''''''''''''''''I''''''''''''''''E'''''''''''''''''''''''''">
              <a:rPr lang="en-US" altLang="en-US" sz="800" smtClean="0">
                <a:solidFill>
                  <a:schemeClr val="tx1"/>
                </a:solidFill>
              </a:rPr>
              <a:pPr/>
              <a:t>IE</a:t>
            </a:fld>
            <a:endParaRPr lang="en-US" sz="8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09" name="Rectangle 8208">
            <a:extLst>
              <a:ext uri="{FF2B5EF4-FFF2-40B4-BE49-F238E27FC236}">
                <a16:creationId xmlns:a16="http://schemas.microsoft.com/office/drawing/2014/main" id="{1721246D-248D-4393-9634-08D9A4B87292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3876675" y="5105400"/>
            <a:ext cx="1698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9D39258-72DD-45A8-B23F-91FC9F9035BE}" type="datetime'''''''''''''''''''''''''''''''''''''''''''''''''''''''UK'''">
              <a:rPr lang="en-US" altLang="en-US" sz="800" smtClean="0">
                <a:solidFill>
                  <a:schemeClr val="tx1"/>
                </a:solidFill>
              </a:rPr>
              <a:pPr/>
              <a:t>UK</a:t>
            </a:fld>
            <a:endParaRPr lang="en-US" sz="8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8210" name="Rectangle 8209">
            <a:extLst>
              <a:ext uri="{FF2B5EF4-FFF2-40B4-BE49-F238E27FC236}">
                <a16:creationId xmlns:a16="http://schemas.microsoft.com/office/drawing/2014/main" id="{493F331B-FF6C-4AEC-8BFD-9EB00906E0B0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4246563" y="4525963"/>
            <a:ext cx="119063" cy="10953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4C92679-1A08-4671-8891-A6BA9383283C}" type="datetime'''''''''''''''''''''''''''''''''''''''''''''F''''''''''''''I'">
              <a:rPr lang="en-US" altLang="en-US" sz="800" smtClean="0">
                <a:solidFill>
                  <a:schemeClr val="tx1"/>
                </a:solidFill>
                <a:effectLst/>
              </a:rPr>
              <a:pPr/>
              <a:t>FI</a:t>
            </a:fld>
            <a:endParaRPr lang="en-US" sz="8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12" name="Rectangle 8211">
            <a:extLst>
              <a:ext uri="{FF2B5EF4-FFF2-40B4-BE49-F238E27FC236}">
                <a16:creationId xmlns:a16="http://schemas.microsoft.com/office/drawing/2014/main" id="{0C6B60C8-8943-473A-9C0C-D8A8986EC154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4567238" y="4130675"/>
            <a:ext cx="1651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63C3FCB-C638-4E6B-AA94-73822B13EFCF}" type="datetime'''''''''''''''''''''''''''''''''''''''''''''S''''E'''''''''">
              <a:rPr lang="en-US" altLang="en-US" sz="800" smtClean="0">
                <a:solidFill>
                  <a:schemeClr val="tx1"/>
                </a:solidFill>
              </a:rPr>
              <a:pPr/>
              <a:t>SE</a:t>
            </a:fld>
            <a:endParaRPr lang="en-US" sz="8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11" name="Rectangle 8210">
            <a:extLst>
              <a:ext uri="{FF2B5EF4-FFF2-40B4-BE49-F238E27FC236}">
                <a16:creationId xmlns:a16="http://schemas.microsoft.com/office/drawing/2014/main" id="{07AAC755-520D-49AD-9B72-BE5AF446A54D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7178675" y="4573588"/>
            <a:ext cx="1809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FC2633C-7DFB-4C56-AD54-8D207D869AC1}" type="datetime'''''''''N''O'''''''''''''''''''''''''''''''''''''''''''''">
              <a:rPr lang="en-US" altLang="en-US" sz="800" smtClean="0">
                <a:solidFill>
                  <a:schemeClr val="tx1"/>
                </a:solidFill>
                <a:effectLst/>
              </a:rPr>
              <a:pPr/>
              <a:t>NO</a:t>
            </a:fld>
            <a:endParaRPr lang="en-US" sz="8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67" name="Picture 4" descr="C:\Users\KMastorakis\Desktop\IRELAND.jpg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9777826" y="3920176"/>
            <a:ext cx="252000" cy="252000"/>
          </a:xfrm>
          <a:prstGeom prst="ellipse">
            <a:avLst/>
          </a:prstGeom>
        </p:spPr>
      </p:pic>
      <p:sp>
        <p:nvSpPr>
          <p:cNvPr id="126" name="Text Placeholder 8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GDPs and On-patent prices in EU</a:t>
            </a:r>
          </a:p>
        </p:txBody>
      </p:sp>
      <p:sp>
        <p:nvSpPr>
          <p:cNvPr id="223" name="Title 22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+mj-lt"/>
              </a:rPr>
              <a:t>On-patent drugs in Greece have one of the lowest average prices, compared to other EU countries with similar GDP per capita</a:t>
            </a:r>
            <a:endParaRPr lang="en-US" dirty="0"/>
          </a:p>
        </p:txBody>
      </p:sp>
      <p:grpSp>
        <p:nvGrpSpPr>
          <p:cNvPr id="2" name="Group 181"/>
          <p:cNvGrpSpPr/>
          <p:nvPr/>
        </p:nvGrpSpPr>
        <p:grpSpPr>
          <a:xfrm>
            <a:off x="10541486" y="1707055"/>
            <a:ext cx="1189261" cy="4454033"/>
            <a:chOff x="7949989" y="1275965"/>
            <a:chExt cx="1189261" cy="4454033"/>
          </a:xfrm>
        </p:grpSpPr>
        <p:pic>
          <p:nvPicPr>
            <p:cNvPr id="183" name="Picture 4" descr="C:\Users\KMastorakis\Desktop\IRELAND.jpg"/>
            <p:cNvPicPr>
              <a:picLocks noChangeAspect="1" noChangeArrowheads="1"/>
            </p:cNvPicPr>
            <p:nvPr/>
          </p:nvPicPr>
          <p:blipFill>
            <a:blip r:embed="rId29" cstate="print"/>
            <a:srcRect/>
            <a:stretch>
              <a:fillRect/>
            </a:stretch>
          </p:blipFill>
          <p:spPr bwMode="auto">
            <a:xfrm>
              <a:off x="7967956" y="3265264"/>
              <a:ext cx="252000" cy="252000"/>
            </a:xfrm>
            <a:prstGeom prst="rect">
              <a:avLst/>
            </a:prstGeom>
          </p:spPr>
        </p:pic>
        <p:pic>
          <p:nvPicPr>
            <p:cNvPr id="221" name="Picture 220" descr="Italy.jpg"/>
            <p:cNvPicPr>
              <a:picLocks noChangeAspect="1"/>
            </p:cNvPicPr>
            <p:nvPr/>
          </p:nvPicPr>
          <p:blipFill>
            <a:blip r:embed="rId30" cstate="print"/>
            <a:stretch>
              <a:fillRect/>
            </a:stretch>
          </p:blipFill>
          <p:spPr>
            <a:xfrm>
              <a:off x="7967956" y="3517264"/>
              <a:ext cx="252000" cy="252000"/>
            </a:xfrm>
            <a:prstGeom prst="rect">
              <a:avLst/>
            </a:prstGeom>
          </p:spPr>
        </p:pic>
        <p:pic>
          <p:nvPicPr>
            <p:cNvPr id="222" name="Picture 221" descr="Portugal.jpg"/>
            <p:cNvPicPr>
              <a:picLocks noChangeAspect="1"/>
            </p:cNvPicPr>
            <p:nvPr/>
          </p:nvPicPr>
          <p:blipFill>
            <a:blip r:embed="rId31" cstate="print"/>
            <a:stretch>
              <a:fillRect/>
            </a:stretch>
          </p:blipFill>
          <p:spPr>
            <a:xfrm>
              <a:off x="7967956" y="4455406"/>
              <a:ext cx="252000" cy="252000"/>
            </a:xfrm>
            <a:prstGeom prst="rect">
              <a:avLst/>
            </a:prstGeom>
          </p:spPr>
        </p:pic>
        <p:pic>
          <p:nvPicPr>
            <p:cNvPr id="224" name="Picture 223" descr="Spain.jpg"/>
            <p:cNvPicPr>
              <a:picLocks noChangeAspect="1"/>
            </p:cNvPicPr>
            <p:nvPr/>
          </p:nvPicPr>
          <p:blipFill>
            <a:blip r:embed="rId32" cstate="print"/>
            <a:stretch>
              <a:fillRect/>
            </a:stretch>
          </p:blipFill>
          <p:spPr>
            <a:xfrm>
              <a:off x="7967956" y="4707406"/>
              <a:ext cx="252000" cy="249305"/>
            </a:xfrm>
            <a:prstGeom prst="rect">
              <a:avLst/>
            </a:prstGeom>
          </p:spPr>
        </p:pic>
        <p:pic>
          <p:nvPicPr>
            <p:cNvPr id="225" name="Picture 224" descr="Austria.jpg"/>
            <p:cNvPicPr>
              <a:picLocks noChangeAspect="1"/>
            </p:cNvPicPr>
            <p:nvPr/>
          </p:nvPicPr>
          <p:blipFill>
            <a:blip r:embed="rId33" cstate="print"/>
            <a:stretch>
              <a:fillRect/>
            </a:stretch>
          </p:blipFill>
          <p:spPr>
            <a:xfrm>
              <a:off x="7967956" y="1275965"/>
              <a:ext cx="252000" cy="252000"/>
            </a:xfrm>
            <a:prstGeom prst="rect">
              <a:avLst/>
            </a:prstGeom>
          </p:spPr>
        </p:pic>
        <p:pic>
          <p:nvPicPr>
            <p:cNvPr id="226" name="Picture 225" descr="Belgium.jpg"/>
            <p:cNvPicPr>
              <a:picLocks noChangeAspect="1"/>
            </p:cNvPicPr>
            <p:nvPr/>
          </p:nvPicPr>
          <p:blipFill>
            <a:blip r:embed="rId34" cstate="print"/>
            <a:stretch>
              <a:fillRect/>
            </a:stretch>
          </p:blipFill>
          <p:spPr>
            <a:xfrm>
              <a:off x="7967956" y="1528286"/>
              <a:ext cx="252000" cy="252000"/>
            </a:xfrm>
            <a:prstGeom prst="rect">
              <a:avLst/>
            </a:prstGeom>
          </p:spPr>
        </p:pic>
        <p:pic>
          <p:nvPicPr>
            <p:cNvPr id="228" name="Picture 227" descr="France.jpg"/>
            <p:cNvPicPr>
              <a:picLocks noChangeAspect="1"/>
            </p:cNvPicPr>
            <p:nvPr/>
          </p:nvPicPr>
          <p:blipFill>
            <a:blip r:embed="rId35" cstate="print"/>
            <a:stretch>
              <a:fillRect/>
            </a:stretch>
          </p:blipFill>
          <p:spPr>
            <a:xfrm>
              <a:off x="7967956" y="2264701"/>
              <a:ext cx="252000" cy="252000"/>
            </a:xfrm>
            <a:prstGeom prst="rect">
              <a:avLst/>
            </a:prstGeom>
          </p:spPr>
        </p:pic>
        <p:pic>
          <p:nvPicPr>
            <p:cNvPr id="229" name="Picture 228" descr="Germany.jpg"/>
            <p:cNvPicPr>
              <a:picLocks noChangeAspect="1"/>
            </p:cNvPicPr>
            <p:nvPr/>
          </p:nvPicPr>
          <p:blipFill>
            <a:blip r:embed="rId36" cstate="print"/>
            <a:stretch>
              <a:fillRect/>
            </a:stretch>
          </p:blipFill>
          <p:spPr>
            <a:xfrm>
              <a:off x="7967956" y="2517022"/>
              <a:ext cx="252000" cy="252000"/>
            </a:xfrm>
            <a:prstGeom prst="rect">
              <a:avLst/>
            </a:prstGeom>
          </p:spPr>
        </p:pic>
        <p:pic>
          <p:nvPicPr>
            <p:cNvPr id="230" name="Picture 229" descr="Netherlands.jpg"/>
            <p:cNvPicPr>
              <a:picLocks noChangeAspect="1"/>
            </p:cNvPicPr>
            <p:nvPr/>
          </p:nvPicPr>
          <p:blipFill>
            <a:blip r:embed="rId37" cstate="print"/>
            <a:stretch>
              <a:fillRect/>
            </a:stretch>
          </p:blipFill>
          <p:spPr>
            <a:xfrm>
              <a:off x="7967956" y="3759505"/>
              <a:ext cx="252000" cy="252000"/>
            </a:xfrm>
            <a:prstGeom prst="rect">
              <a:avLst/>
            </a:prstGeom>
          </p:spPr>
        </p:pic>
        <p:pic>
          <p:nvPicPr>
            <p:cNvPr id="231" name="Picture 7" descr="C:\Users\KMastorakis\Desktop\UK.jpg"/>
            <p:cNvPicPr>
              <a:picLocks noChangeAspect="1" noChangeArrowheads="1"/>
            </p:cNvPicPr>
            <p:nvPr/>
          </p:nvPicPr>
          <p:blipFill>
            <a:blip r:embed="rId38" cstate="print"/>
            <a:srcRect/>
            <a:stretch>
              <a:fillRect/>
            </a:stretch>
          </p:blipFill>
          <p:spPr bwMode="auto">
            <a:xfrm>
              <a:off x="7967956" y="5464954"/>
              <a:ext cx="252000" cy="252000"/>
            </a:xfrm>
            <a:prstGeom prst="rect">
              <a:avLst/>
            </a:prstGeom>
            <a:noFill/>
          </p:spPr>
        </p:pic>
        <p:pic>
          <p:nvPicPr>
            <p:cNvPr id="232" name="Picture 8" descr="C:\Users\KMastorakis\Desktop\FINLAND.jpg"/>
            <p:cNvPicPr>
              <a:picLocks noChangeAspect="1" noChangeArrowheads="1"/>
            </p:cNvPicPr>
            <p:nvPr/>
          </p:nvPicPr>
          <p:blipFill>
            <a:blip r:embed="rId39" cstate="print"/>
            <a:srcRect/>
            <a:stretch>
              <a:fillRect/>
            </a:stretch>
          </p:blipFill>
          <p:spPr bwMode="auto">
            <a:xfrm>
              <a:off x="7967956" y="2022654"/>
              <a:ext cx="252000" cy="252000"/>
            </a:xfrm>
            <a:prstGeom prst="rect">
              <a:avLst/>
            </a:prstGeom>
            <a:noFill/>
          </p:spPr>
        </p:pic>
        <p:pic>
          <p:nvPicPr>
            <p:cNvPr id="233" name="Picture 9" descr="C:\Users\KMastorakis\Desktop\NORWAY.jpg"/>
            <p:cNvPicPr>
              <a:picLocks noChangeAspect="1" noChangeArrowheads="1"/>
            </p:cNvPicPr>
            <p:nvPr/>
          </p:nvPicPr>
          <p:blipFill>
            <a:blip r:embed="rId40" cstate="print"/>
            <a:srcRect/>
            <a:stretch>
              <a:fillRect/>
            </a:stretch>
          </p:blipFill>
          <p:spPr bwMode="auto">
            <a:xfrm>
              <a:off x="7967956" y="3991472"/>
              <a:ext cx="252000" cy="252000"/>
            </a:xfrm>
            <a:prstGeom prst="rect">
              <a:avLst/>
            </a:prstGeom>
            <a:noFill/>
          </p:spPr>
        </p:pic>
        <p:pic>
          <p:nvPicPr>
            <p:cNvPr id="234" name="Picture 233" descr="Sweden.jpg"/>
            <p:cNvPicPr>
              <a:picLocks noChangeAspect="1"/>
            </p:cNvPicPr>
            <p:nvPr/>
          </p:nvPicPr>
          <p:blipFill>
            <a:blip r:embed="rId41" cstate="print"/>
            <a:stretch>
              <a:fillRect/>
            </a:stretch>
          </p:blipFill>
          <p:spPr>
            <a:xfrm>
              <a:off x="7967956" y="4959923"/>
              <a:ext cx="252000" cy="252000"/>
            </a:xfrm>
            <a:prstGeom prst="rect">
              <a:avLst/>
            </a:prstGeom>
          </p:spPr>
        </p:pic>
        <p:pic>
          <p:nvPicPr>
            <p:cNvPr id="235" name="Picture 234" descr="Czech republic.jpg"/>
            <p:cNvPicPr>
              <a:picLocks noChangeAspect="1"/>
            </p:cNvPicPr>
            <p:nvPr/>
          </p:nvPicPr>
          <p:blipFill>
            <a:blip r:embed="rId42" cstate="print"/>
            <a:stretch>
              <a:fillRect/>
            </a:stretch>
          </p:blipFill>
          <p:spPr>
            <a:xfrm>
              <a:off x="7967956" y="1780604"/>
              <a:ext cx="252000" cy="254849"/>
            </a:xfrm>
            <a:prstGeom prst="rect">
              <a:avLst/>
            </a:prstGeom>
          </p:spPr>
        </p:pic>
        <p:pic>
          <p:nvPicPr>
            <p:cNvPr id="236" name="Picture 235" descr="Hungary.jpg"/>
            <p:cNvPicPr>
              <a:picLocks noChangeAspect="1"/>
            </p:cNvPicPr>
            <p:nvPr/>
          </p:nvPicPr>
          <p:blipFill>
            <a:blip r:embed="rId43" cstate="print"/>
            <a:stretch>
              <a:fillRect/>
            </a:stretch>
          </p:blipFill>
          <p:spPr>
            <a:xfrm>
              <a:off x="7967956" y="3001116"/>
              <a:ext cx="252000" cy="253358"/>
            </a:xfrm>
            <a:prstGeom prst="rect">
              <a:avLst/>
            </a:prstGeom>
          </p:spPr>
        </p:pic>
        <p:pic>
          <p:nvPicPr>
            <p:cNvPr id="237" name="Picture 11" descr="https://encrypted-tbn1.gstatic.com/images?q=tbn:ANd9GcTONKpwE8WEyeUCYX7ekfahvZ3m-YAZSoMksyBgT4ieMShN0GKY"/>
            <p:cNvPicPr>
              <a:picLocks noChangeAspect="1" noChangeArrowheads="1"/>
            </p:cNvPicPr>
            <p:nvPr/>
          </p:nvPicPr>
          <p:blipFill>
            <a:blip r:embed="rId44" cstate="print"/>
            <a:srcRect/>
            <a:stretch>
              <a:fillRect/>
            </a:stretch>
          </p:blipFill>
          <p:spPr bwMode="auto">
            <a:xfrm>
              <a:off x="7967956" y="4223439"/>
              <a:ext cx="252000" cy="252000"/>
            </a:xfrm>
            <a:prstGeom prst="rect">
              <a:avLst/>
            </a:prstGeom>
            <a:noFill/>
          </p:spPr>
        </p:pic>
        <p:pic>
          <p:nvPicPr>
            <p:cNvPr id="238" name="Picture 13" descr="http://www.veryicon.com/icon/png/Flag/Rounded%20World%20Flags/Slovakia%20Flag.png"/>
            <p:cNvPicPr>
              <a:picLocks noChangeAspect="1" noChangeArrowheads="1"/>
            </p:cNvPicPr>
            <p:nvPr/>
          </p:nvPicPr>
          <p:blipFill>
            <a:blip r:embed="rId45" cstate="print"/>
            <a:srcRect/>
            <a:stretch>
              <a:fillRect/>
            </a:stretch>
          </p:blipFill>
          <p:spPr bwMode="auto">
            <a:xfrm>
              <a:off x="7967956" y="5202164"/>
              <a:ext cx="252000" cy="252000"/>
            </a:xfrm>
            <a:prstGeom prst="rect">
              <a:avLst/>
            </a:prstGeom>
            <a:noFill/>
          </p:spPr>
        </p:pic>
        <p:sp>
          <p:nvSpPr>
            <p:cNvPr id="239" name="TextBox 238"/>
            <p:cNvSpPr txBox="1">
              <a:spLocks/>
            </p:cNvSpPr>
            <p:nvPr/>
          </p:nvSpPr>
          <p:spPr>
            <a:xfrm>
              <a:off x="8287901" y="1318626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Austria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0" name="TextBox 239"/>
            <p:cNvSpPr txBox="1">
              <a:spLocks/>
            </p:cNvSpPr>
            <p:nvPr/>
          </p:nvSpPr>
          <p:spPr>
            <a:xfrm>
              <a:off x="8287901" y="1564393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Belgium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1" name="TextBox 240"/>
            <p:cNvSpPr txBox="1">
              <a:spLocks/>
            </p:cNvSpPr>
            <p:nvPr/>
          </p:nvSpPr>
          <p:spPr>
            <a:xfrm>
              <a:off x="8287901" y="1767266"/>
              <a:ext cx="828000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Czech Republic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2" name="TextBox 241"/>
            <p:cNvSpPr txBox="1">
              <a:spLocks/>
            </p:cNvSpPr>
            <p:nvPr/>
          </p:nvSpPr>
          <p:spPr>
            <a:xfrm>
              <a:off x="8287901" y="2074078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Finland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3" name="TextBox 242"/>
            <p:cNvSpPr txBox="1">
              <a:spLocks/>
            </p:cNvSpPr>
            <p:nvPr/>
          </p:nvSpPr>
          <p:spPr>
            <a:xfrm>
              <a:off x="8287901" y="2301694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France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4" name="TextBox 243"/>
            <p:cNvSpPr txBox="1">
              <a:spLocks/>
            </p:cNvSpPr>
            <p:nvPr/>
          </p:nvSpPr>
          <p:spPr>
            <a:xfrm>
              <a:off x="8287901" y="2547461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Germany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5" name="TextBox 244"/>
            <p:cNvSpPr txBox="1">
              <a:spLocks/>
            </p:cNvSpPr>
            <p:nvPr/>
          </p:nvSpPr>
          <p:spPr>
            <a:xfrm>
              <a:off x="8287901" y="2793228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Greece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6" name="TextBox 245"/>
            <p:cNvSpPr txBox="1">
              <a:spLocks/>
            </p:cNvSpPr>
            <p:nvPr/>
          </p:nvSpPr>
          <p:spPr>
            <a:xfrm>
              <a:off x="8287901" y="3038995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Hungary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7" name="TextBox 246"/>
            <p:cNvSpPr txBox="1">
              <a:spLocks/>
            </p:cNvSpPr>
            <p:nvPr/>
          </p:nvSpPr>
          <p:spPr>
            <a:xfrm>
              <a:off x="8287901" y="3284762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Ireland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8" name="TextBox 247"/>
            <p:cNvSpPr txBox="1">
              <a:spLocks/>
            </p:cNvSpPr>
            <p:nvPr/>
          </p:nvSpPr>
          <p:spPr>
            <a:xfrm>
              <a:off x="8311250" y="3530529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Italy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9" name="TextBox 248"/>
            <p:cNvSpPr txBox="1">
              <a:spLocks/>
            </p:cNvSpPr>
            <p:nvPr/>
          </p:nvSpPr>
          <p:spPr>
            <a:xfrm>
              <a:off x="8291874" y="3776296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Netherlands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0" name="TextBox 249"/>
            <p:cNvSpPr txBox="1">
              <a:spLocks/>
            </p:cNvSpPr>
            <p:nvPr/>
          </p:nvSpPr>
          <p:spPr>
            <a:xfrm>
              <a:off x="8291874" y="4022063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Norway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1" name="TextBox 250"/>
            <p:cNvSpPr txBox="1">
              <a:spLocks/>
            </p:cNvSpPr>
            <p:nvPr/>
          </p:nvSpPr>
          <p:spPr>
            <a:xfrm>
              <a:off x="8291874" y="4267830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Poland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2" name="TextBox 251"/>
            <p:cNvSpPr txBox="1">
              <a:spLocks/>
            </p:cNvSpPr>
            <p:nvPr/>
          </p:nvSpPr>
          <p:spPr>
            <a:xfrm>
              <a:off x="8291874" y="4513597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Portugal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3" name="TextBox 252"/>
            <p:cNvSpPr txBox="1">
              <a:spLocks/>
            </p:cNvSpPr>
            <p:nvPr/>
          </p:nvSpPr>
          <p:spPr>
            <a:xfrm>
              <a:off x="8291874" y="4759364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Spain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4" name="TextBox 253"/>
            <p:cNvSpPr txBox="1">
              <a:spLocks/>
            </p:cNvSpPr>
            <p:nvPr/>
          </p:nvSpPr>
          <p:spPr>
            <a:xfrm>
              <a:off x="8291874" y="5005131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Sweden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5" name="TextBox 254"/>
            <p:cNvSpPr txBox="1">
              <a:spLocks/>
            </p:cNvSpPr>
            <p:nvPr/>
          </p:nvSpPr>
          <p:spPr>
            <a:xfrm>
              <a:off x="8291874" y="5250890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Slovakia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6" name="TextBox 255"/>
            <p:cNvSpPr txBox="1">
              <a:spLocks/>
            </p:cNvSpPr>
            <p:nvPr/>
          </p:nvSpPr>
          <p:spPr>
            <a:xfrm>
              <a:off x="8291874" y="5452999"/>
              <a:ext cx="828000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United Kingdom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7" name="Oval 256"/>
            <p:cNvSpPr/>
            <p:nvPr/>
          </p:nvSpPr>
          <p:spPr bwMode="auto">
            <a:xfrm>
              <a:off x="7975156" y="4223439"/>
              <a:ext cx="244800" cy="244800"/>
            </a:xfrm>
            <a:prstGeom prst="ellipse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l-GR" sz="1000">
                <a:latin typeface="+mj-lt"/>
              </a:endParaRPr>
            </a:p>
          </p:txBody>
        </p:sp>
        <p:pic>
          <p:nvPicPr>
            <p:cNvPr id="258" name="Picture 257" descr="Greece.png"/>
            <p:cNvPicPr>
              <a:picLocks noChangeAspect="1"/>
            </p:cNvPicPr>
            <p:nvPr/>
          </p:nvPicPr>
          <p:blipFill>
            <a:blip r:embed="rId46" cstate="print"/>
            <a:stretch>
              <a:fillRect/>
            </a:stretch>
          </p:blipFill>
          <p:spPr>
            <a:xfrm>
              <a:off x="7949989" y="2739986"/>
              <a:ext cx="288000" cy="288000"/>
            </a:xfrm>
            <a:prstGeom prst="rect">
              <a:avLst/>
            </a:prstGeom>
          </p:spPr>
        </p:pic>
      </p:grpSp>
      <p:pic>
        <p:nvPicPr>
          <p:cNvPr id="260" name="Picture 259" descr="Austria.jpg"/>
          <p:cNvPicPr>
            <a:picLocks noChangeAspect="1"/>
          </p:cNvPicPr>
          <p:nvPr/>
        </p:nvPicPr>
        <p:blipFill>
          <a:blip r:embed="rId33" cstate="print"/>
          <a:stretch>
            <a:fillRect/>
          </a:stretch>
        </p:blipFill>
        <p:spPr>
          <a:xfrm>
            <a:off x="4899025" y="3171215"/>
            <a:ext cx="252000" cy="252000"/>
          </a:xfrm>
          <a:prstGeom prst="ellipse">
            <a:avLst/>
          </a:prstGeom>
        </p:spPr>
      </p:pic>
      <p:pic>
        <p:nvPicPr>
          <p:cNvPr id="262" name="Picture 261" descr="Belgium.jpg"/>
          <p:cNvPicPr>
            <a:picLocks noChangeAspect="1"/>
          </p:cNvPicPr>
          <p:nvPr/>
        </p:nvPicPr>
        <p:blipFill>
          <a:blip r:embed="rId34" cstate="print"/>
          <a:stretch>
            <a:fillRect/>
          </a:stretch>
        </p:blipFill>
        <p:spPr>
          <a:xfrm>
            <a:off x="4669870" y="4153645"/>
            <a:ext cx="252000" cy="252000"/>
          </a:xfrm>
          <a:prstGeom prst="ellipse">
            <a:avLst/>
          </a:prstGeom>
        </p:spPr>
      </p:pic>
      <p:pic>
        <p:nvPicPr>
          <p:cNvPr id="263" name="Picture 262" descr="Czech republic.jpg"/>
          <p:cNvPicPr>
            <a:picLocks noChangeAspect="1"/>
          </p:cNvPicPr>
          <p:nvPr/>
        </p:nvPicPr>
        <p:blipFill>
          <a:blip r:embed="rId42" cstate="print"/>
          <a:stretch>
            <a:fillRect/>
          </a:stretch>
        </p:blipFill>
        <p:spPr>
          <a:xfrm>
            <a:off x="3271193" y="4885724"/>
            <a:ext cx="252000" cy="254849"/>
          </a:xfrm>
          <a:prstGeom prst="ellipse">
            <a:avLst/>
          </a:prstGeom>
        </p:spPr>
      </p:pic>
      <p:pic>
        <p:nvPicPr>
          <p:cNvPr id="264" name="Picture 8" descr="C:\Users\KMastorakis\Desktop\FINLAND.jpg"/>
          <p:cNvPicPr>
            <a:picLocks noChangeAspect="1" noChangeArrowheads="1"/>
          </p:cNvPicPr>
          <p:nvPr/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4165612" y="4429119"/>
            <a:ext cx="280963" cy="252000"/>
          </a:xfrm>
          <a:prstGeom prst="ellipse">
            <a:avLst/>
          </a:prstGeom>
          <a:noFill/>
        </p:spPr>
      </p:pic>
      <p:pic>
        <p:nvPicPr>
          <p:cNvPr id="265" name="Picture 264" descr="France.jpg"/>
          <p:cNvPicPr>
            <a:picLocks noChangeAspect="1"/>
          </p:cNvPicPr>
          <p:nvPr/>
        </p:nvPicPr>
        <p:blipFill>
          <a:blip r:embed="rId35" cstate="print"/>
          <a:stretch>
            <a:fillRect/>
          </a:stretch>
        </p:blipFill>
        <p:spPr>
          <a:xfrm>
            <a:off x="3815176" y="3739258"/>
            <a:ext cx="252000" cy="252000"/>
          </a:xfrm>
          <a:prstGeom prst="ellipse">
            <a:avLst/>
          </a:prstGeom>
        </p:spPr>
      </p:pic>
      <p:pic>
        <p:nvPicPr>
          <p:cNvPr id="266" name="Picture 265" descr="Hungary.jpg"/>
          <p:cNvPicPr>
            <a:picLocks noChangeAspect="1"/>
          </p:cNvPicPr>
          <p:nvPr/>
        </p:nvPicPr>
        <p:blipFill>
          <a:blip r:embed="rId43" cstate="print"/>
          <a:stretch>
            <a:fillRect/>
          </a:stretch>
        </p:blipFill>
        <p:spPr>
          <a:xfrm>
            <a:off x="2668046" y="4665538"/>
            <a:ext cx="252000" cy="253358"/>
          </a:xfrm>
          <a:prstGeom prst="ellipse">
            <a:avLst/>
          </a:prstGeom>
        </p:spPr>
      </p:pic>
      <p:pic>
        <p:nvPicPr>
          <p:cNvPr id="268" name="Picture 267" descr="Italy.jpg"/>
          <p:cNvPicPr>
            <a:picLocks noChangeAspect="1"/>
          </p:cNvPicPr>
          <p:nvPr/>
        </p:nvPicPr>
        <p:blipFill>
          <a:blip r:embed="rId30" cstate="print"/>
          <a:stretch>
            <a:fillRect/>
          </a:stretch>
        </p:blipFill>
        <p:spPr>
          <a:xfrm>
            <a:off x="3532718" y="5188251"/>
            <a:ext cx="252000" cy="252000"/>
          </a:xfrm>
          <a:prstGeom prst="ellipse">
            <a:avLst/>
          </a:prstGeom>
        </p:spPr>
      </p:pic>
      <p:pic>
        <p:nvPicPr>
          <p:cNvPr id="269" name="Picture 268" descr="Netherlands.jpg"/>
          <p:cNvPicPr>
            <a:picLocks noChangeAspect="1"/>
          </p:cNvPicPr>
          <p:nvPr/>
        </p:nvPicPr>
        <p:blipFill>
          <a:blip r:embed="rId37" cstate="print"/>
          <a:stretch>
            <a:fillRect/>
          </a:stretch>
        </p:blipFill>
        <p:spPr>
          <a:xfrm>
            <a:off x="5124260" y="4565350"/>
            <a:ext cx="252000" cy="252000"/>
          </a:xfrm>
          <a:prstGeom prst="ellipse">
            <a:avLst/>
          </a:prstGeom>
        </p:spPr>
      </p:pic>
      <p:pic>
        <p:nvPicPr>
          <p:cNvPr id="270" name="Picture 9" descr="C:\Users\KMastorakis\Desktop\NORWAY.jpg"/>
          <p:cNvPicPr>
            <a:picLocks noChangeAspect="1" noChangeArrowheads="1"/>
          </p:cNvPicPr>
          <p:nvPr/>
        </p:nvPicPr>
        <p:blipFill>
          <a:blip r:embed="rId40" cstate="print"/>
          <a:srcRect/>
          <a:stretch>
            <a:fillRect/>
          </a:stretch>
        </p:blipFill>
        <p:spPr bwMode="auto">
          <a:xfrm>
            <a:off x="7095651" y="4502357"/>
            <a:ext cx="252000" cy="252000"/>
          </a:xfrm>
          <a:prstGeom prst="ellipse">
            <a:avLst/>
          </a:prstGeom>
          <a:noFill/>
        </p:spPr>
      </p:pic>
      <p:grpSp>
        <p:nvGrpSpPr>
          <p:cNvPr id="3" name="Group 276"/>
          <p:cNvGrpSpPr/>
          <p:nvPr/>
        </p:nvGrpSpPr>
        <p:grpSpPr>
          <a:xfrm>
            <a:off x="2775996" y="5050044"/>
            <a:ext cx="252000" cy="252000"/>
            <a:chOff x="5090048" y="4630604"/>
            <a:chExt cx="252000" cy="252000"/>
          </a:xfrm>
        </p:grpSpPr>
        <p:pic>
          <p:nvPicPr>
            <p:cNvPr id="272" name="Picture 11" descr="https://encrypted-tbn1.gstatic.com/images?q=tbn:ANd9GcTONKpwE8WEyeUCYX7ekfahvZ3m-YAZSoMksyBgT4ieMShN0GKY"/>
            <p:cNvPicPr>
              <a:picLocks noChangeAspect="1" noChangeArrowheads="1"/>
            </p:cNvPicPr>
            <p:nvPr/>
          </p:nvPicPr>
          <p:blipFill>
            <a:blip r:embed="rId44" cstate="print"/>
            <a:srcRect/>
            <a:stretch>
              <a:fillRect/>
            </a:stretch>
          </p:blipFill>
          <p:spPr bwMode="auto">
            <a:xfrm>
              <a:off x="5090048" y="4630604"/>
              <a:ext cx="252000" cy="252000"/>
            </a:xfrm>
            <a:prstGeom prst="ellipse">
              <a:avLst/>
            </a:prstGeom>
            <a:noFill/>
          </p:spPr>
        </p:pic>
        <p:sp>
          <p:nvSpPr>
            <p:cNvPr id="276" name="Oval 275"/>
            <p:cNvSpPr/>
            <p:nvPr/>
          </p:nvSpPr>
          <p:spPr bwMode="auto">
            <a:xfrm>
              <a:off x="5090048" y="4634204"/>
              <a:ext cx="244800" cy="244800"/>
            </a:xfrm>
            <a:prstGeom prst="ellipse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l-GR" sz="1000">
                <a:solidFill>
                  <a:schemeClr val="accent2"/>
                </a:solidFill>
                <a:latin typeface="+mj-lt"/>
              </a:endParaRPr>
            </a:p>
          </p:txBody>
        </p:sp>
      </p:grpSp>
      <p:pic>
        <p:nvPicPr>
          <p:cNvPr id="279" name="Picture 278" descr="Spain.jpg"/>
          <p:cNvPicPr>
            <a:picLocks noChangeAspect="1"/>
          </p:cNvPicPr>
          <p:nvPr/>
        </p:nvPicPr>
        <p:blipFill>
          <a:blip r:embed="rId32" cstate="print"/>
          <a:stretch>
            <a:fillRect/>
          </a:stretch>
        </p:blipFill>
        <p:spPr>
          <a:xfrm>
            <a:off x="2981118" y="4879751"/>
            <a:ext cx="252000" cy="249305"/>
          </a:xfrm>
          <a:prstGeom prst="ellipse">
            <a:avLst/>
          </a:prstGeom>
        </p:spPr>
      </p:pic>
      <p:pic>
        <p:nvPicPr>
          <p:cNvPr id="281" name="Picture 13" descr="http://www.veryicon.com/icon/png/Flag/Rounded%20World%20Flags/Slovakia%20Flag.png"/>
          <p:cNvPicPr>
            <a:picLocks noChangeAspect="1" noChangeArrowheads="1"/>
          </p:cNvPicPr>
          <p:nvPr/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2292769" y="4191046"/>
            <a:ext cx="252000" cy="252000"/>
          </a:xfrm>
          <a:prstGeom prst="rect">
            <a:avLst/>
          </a:prstGeom>
          <a:noFill/>
        </p:spPr>
      </p:pic>
      <p:pic>
        <p:nvPicPr>
          <p:cNvPr id="92" name="Picture 91" descr="Germany.jpg"/>
          <p:cNvPicPr>
            <a:picLocks noChangeAspect="1"/>
          </p:cNvPicPr>
          <p:nvPr/>
        </p:nvPicPr>
        <p:blipFill>
          <a:blip r:embed="rId36" cstate="print"/>
          <a:stretch>
            <a:fillRect/>
          </a:stretch>
        </p:blipFill>
        <p:spPr>
          <a:xfrm>
            <a:off x="4570413" y="2866852"/>
            <a:ext cx="252000" cy="252000"/>
          </a:xfrm>
          <a:prstGeom prst="ellipse">
            <a:avLst/>
          </a:prstGeom>
        </p:spPr>
      </p:pic>
      <p:pic>
        <p:nvPicPr>
          <p:cNvPr id="282" name="Picture 7" descr="C:\Users\KMastorakis\Desktop\UK.jpg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3788640" y="5032788"/>
            <a:ext cx="252000" cy="252000"/>
          </a:xfrm>
          <a:prstGeom prst="ellipse">
            <a:avLst/>
          </a:prstGeom>
          <a:noFill/>
        </p:spPr>
      </p:pic>
      <p:pic>
        <p:nvPicPr>
          <p:cNvPr id="259" name="Picture 258" descr="Greece.png"/>
          <p:cNvPicPr>
            <a:picLocks noChangeAspect="1"/>
          </p:cNvPicPr>
          <p:nvPr/>
        </p:nvPicPr>
        <p:blipFill>
          <a:blip r:embed="rId46" cstate="print"/>
          <a:stretch>
            <a:fillRect/>
          </a:stretch>
        </p:blipFill>
        <p:spPr>
          <a:xfrm>
            <a:off x="2264136" y="4985675"/>
            <a:ext cx="288000" cy="288000"/>
          </a:xfrm>
          <a:prstGeom prst="rect">
            <a:avLst/>
          </a:prstGeom>
        </p:spPr>
      </p:pic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604FDB2A-F0F1-48CA-BE64-CF78B17C04E3}"/>
              </a:ext>
            </a:extLst>
          </p:cNvPr>
          <p:cNvCxnSpPr>
            <a:cxnSpLocks/>
          </p:cNvCxnSpPr>
          <p:nvPr/>
        </p:nvCxnSpPr>
        <p:spPr>
          <a:xfrm>
            <a:off x="468748" y="1648910"/>
            <a:ext cx="11254499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ktangel 76">
            <a:extLst>
              <a:ext uri="{FF2B5EF4-FFF2-40B4-BE49-F238E27FC236}">
                <a16:creationId xmlns:a16="http://schemas.microsoft.com/office/drawing/2014/main" id="{F3D8C4E2-7F9E-4BBC-84B1-C516DF9AD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747" y="1659797"/>
            <a:ext cx="9515703" cy="318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72000" rIns="0" bIns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1600" b="1" noProof="1">
                <a:solidFill>
                  <a:schemeClr val="accent1"/>
                </a:solidFill>
                <a:cs typeface="Arial" charset="0"/>
              </a:rPr>
              <a:t>Price per SU (in €/SU) and country GDP – (MAT/03/23)</a:t>
            </a:r>
          </a:p>
        </p:txBody>
      </p:sp>
      <p:sp>
        <p:nvSpPr>
          <p:cNvPr id="134" name="TextBox 133"/>
          <p:cNvSpPr txBox="1">
            <a:spLocks/>
          </p:cNvSpPr>
          <p:nvPr/>
        </p:nvSpPr>
        <p:spPr>
          <a:xfrm>
            <a:off x="9170089" y="4243411"/>
            <a:ext cx="864000" cy="289441"/>
          </a:xfrm>
          <a:prstGeom prst="roundRect">
            <a:avLst/>
          </a:prstGeom>
          <a:solidFill>
            <a:srgbClr val="00B6F6"/>
          </a:solidFill>
          <a:ln w="19050">
            <a:solidFill>
              <a:srgbClr val="0099CC"/>
            </a:solidFill>
            <a:prstDash val="solid"/>
          </a:ln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900" b="1" i="1" dirty="0">
                <a:solidFill>
                  <a:schemeClr val="bg1"/>
                </a:solidFill>
                <a:latin typeface="+mj-lt"/>
              </a:rPr>
              <a:t>Av</a:t>
            </a:r>
            <a:r>
              <a:rPr lang="en-US" sz="800" b="1" i="1" dirty="0">
                <a:solidFill>
                  <a:schemeClr val="bg1"/>
                </a:solidFill>
                <a:latin typeface="+mj-lt"/>
              </a:rPr>
              <a:t>erage price per SU 2.11 </a:t>
            </a:r>
            <a:r>
              <a:rPr lang="el-GR" sz="800" b="1" i="1" dirty="0">
                <a:solidFill>
                  <a:schemeClr val="bg1"/>
                </a:solidFill>
                <a:latin typeface="+mj-lt"/>
              </a:rPr>
              <a:t>€</a:t>
            </a:r>
          </a:p>
        </p:txBody>
      </p:sp>
      <p:sp>
        <p:nvSpPr>
          <p:cNvPr id="113" name="Oval 112"/>
          <p:cNvSpPr/>
          <p:nvPr/>
        </p:nvSpPr>
        <p:spPr>
          <a:xfrm>
            <a:off x="11606368" y="58982"/>
            <a:ext cx="216000" cy="216000"/>
          </a:xfrm>
          <a:prstGeom prst="ellipse">
            <a:avLst/>
          </a:prstGeom>
          <a:solidFill>
            <a:srgbClr val="00B0F0"/>
          </a:solidFill>
          <a:ln w="1905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en-US" sz="1600" b="1" kern="0" dirty="0">
                <a:solidFill>
                  <a:srgbClr val="FFFFFF"/>
                </a:solidFill>
                <a:latin typeface="+mj-lt"/>
              </a:rPr>
              <a:t>B</a:t>
            </a:r>
          </a:p>
        </p:txBody>
      </p:sp>
      <p:sp>
        <p:nvSpPr>
          <p:cNvPr id="114" name="Oval 113"/>
          <p:cNvSpPr/>
          <p:nvPr/>
        </p:nvSpPr>
        <p:spPr>
          <a:xfrm>
            <a:off x="11332356" y="58982"/>
            <a:ext cx="216000" cy="216000"/>
          </a:xfrm>
          <a:prstGeom prst="ellipse">
            <a:avLst/>
          </a:prstGeom>
          <a:solidFill>
            <a:srgbClr val="F2F2F2"/>
          </a:solidFill>
          <a:ln w="19050" cap="flat" cmpd="sng" algn="ctr">
            <a:solidFill>
              <a:srgbClr val="E9E9E9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en-US" sz="1600" b="1" kern="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A</a:t>
            </a:r>
          </a:p>
        </p:txBody>
      </p:sp>
      <p:sp>
        <p:nvSpPr>
          <p:cNvPr id="115" name="Oval 114"/>
          <p:cNvSpPr/>
          <p:nvPr/>
        </p:nvSpPr>
        <p:spPr>
          <a:xfrm>
            <a:off x="11880381" y="58982"/>
            <a:ext cx="216000" cy="216000"/>
          </a:xfrm>
          <a:prstGeom prst="ellipse">
            <a:avLst/>
          </a:prstGeom>
          <a:solidFill>
            <a:srgbClr val="F2F2F2"/>
          </a:solidFill>
          <a:ln w="19050" cap="flat" cmpd="sng" algn="ctr">
            <a:solidFill>
              <a:srgbClr val="E9E9E9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en-US" sz="1600" b="1" kern="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C</a:t>
            </a:r>
          </a:p>
        </p:txBody>
      </p:sp>
      <p:pic>
        <p:nvPicPr>
          <p:cNvPr id="280" name="Picture 279" descr="Sweden.jpg"/>
          <p:cNvPicPr>
            <a:picLocks noChangeAspect="1"/>
          </p:cNvPicPr>
          <p:nvPr/>
        </p:nvPicPr>
        <p:blipFill>
          <a:blip r:embed="rId41" cstate="print"/>
          <a:stretch>
            <a:fillRect/>
          </a:stretch>
        </p:blipFill>
        <p:spPr>
          <a:xfrm>
            <a:off x="4494625" y="4032615"/>
            <a:ext cx="252000" cy="252000"/>
          </a:xfrm>
          <a:prstGeom prst="ellipse">
            <a:avLst/>
          </a:prstGeom>
        </p:spPr>
      </p:pic>
      <p:pic>
        <p:nvPicPr>
          <p:cNvPr id="278" name="Picture 277" descr="Portugal.jpg"/>
          <p:cNvPicPr>
            <a:picLocks noChangeAspect="1"/>
          </p:cNvPicPr>
          <p:nvPr/>
        </p:nvPicPr>
        <p:blipFill>
          <a:blip r:embed="rId31" cstate="print"/>
          <a:stretch>
            <a:fillRect/>
          </a:stretch>
        </p:blipFill>
        <p:spPr>
          <a:xfrm>
            <a:off x="2599196" y="4926124"/>
            <a:ext cx="252000" cy="252000"/>
          </a:xfrm>
          <a:prstGeom prst="ellipse">
            <a:avLst/>
          </a:prstGeom>
        </p:spPr>
      </p:pic>
      <p:sp>
        <p:nvSpPr>
          <p:cNvPr id="97" name="Text Placeholder 66">
            <a:extLst>
              <a:ext uri="{FF2B5EF4-FFF2-40B4-BE49-F238E27FC236}">
                <a16:creationId xmlns:a16="http://schemas.microsoft.com/office/drawing/2014/main" id="{14891B11-AE5A-4940-BEB4-BA10EB761878}"/>
              </a:ext>
            </a:extLst>
          </p:cNvPr>
          <p:cNvSpPr txBox="1">
            <a:spLocks/>
          </p:cNvSpPr>
          <p:nvPr/>
        </p:nvSpPr>
        <p:spPr>
          <a:xfrm>
            <a:off x="477013" y="6397157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ource: IQVIA data (MAT/03/23); IQVIA analysis; GDP rates as per OECD data - US dollars/capita, 2022 or latest available</a:t>
            </a:r>
          </a:p>
        </p:txBody>
      </p:sp>
      <p:sp>
        <p:nvSpPr>
          <p:cNvPr id="4" name="Text Placeholder 67">
            <a:extLst>
              <a:ext uri="{FF2B5EF4-FFF2-40B4-BE49-F238E27FC236}">
                <a16:creationId xmlns:a16="http://schemas.microsoft.com/office/drawing/2014/main" id="{39CEF036-7A5B-60DE-7610-9D74EF60625E}"/>
              </a:ext>
            </a:extLst>
          </p:cNvPr>
          <p:cNvSpPr txBox="1">
            <a:spLocks/>
          </p:cNvSpPr>
          <p:nvPr/>
        </p:nvSpPr>
        <p:spPr>
          <a:xfrm>
            <a:off x="477012" y="6118280"/>
            <a:ext cx="11246241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Note 1: </a:t>
            </a:r>
            <a:r>
              <a:rPr lang="en-US" dirty="0"/>
              <a:t>Based on Pharmacy-Purchase-Prices (PPPs); </a:t>
            </a:r>
            <a:r>
              <a:rPr lang="en-US" b="1" dirty="0"/>
              <a:t>Note 2: </a:t>
            </a:r>
            <a:r>
              <a:rPr lang="en-US" dirty="0"/>
              <a:t>Numbers through the retail-pharmacy channel and for prescription-bound drugs only for all countries;</a:t>
            </a:r>
          </a:p>
        </p:txBody>
      </p:sp>
    </p:spTree>
    <p:extLst>
      <p:ext uri="{BB962C8B-B14F-4D97-AF65-F5344CB8AC3E}">
        <p14:creationId xmlns:p14="http://schemas.microsoft.com/office/powerpoint/2010/main" val="1491099134"/>
      </p:ext>
    </p:extLst>
  </p:cSld>
  <p:clrMapOvr>
    <a:masterClrMapping/>
  </p:clrMapOvr>
  <p:transition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Rectangle 45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759021"/>
              </p:ext>
            </p:ext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0" imgH="0" progId="TCLayout.ActiveDocument.1">
                  <p:embed/>
                </p:oleObj>
              </mc:Choice>
              <mc:Fallback>
                <p:oleObj name="think-cell Slide" r:id="rId55" imgW="0" imgH="0" progId="TCLayout.ActiveDocument.1">
                  <p:embed/>
                  <p:pic>
                    <p:nvPicPr>
                      <p:cNvPr id="8194" name="Rectangle 4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6" name="Rectangle 46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48D5088B-48C5-E3E5-0648-ECF4E948F34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5683935"/>
              </p:ext>
            </p:extLst>
          </p:nvPr>
        </p:nvGraphicFramePr>
        <p:xfrm>
          <a:off x="741363" y="2813050"/>
          <a:ext cx="10731500" cy="1870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52E406DD-2F30-F39E-2B87-5519F1F9BE02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550863" y="3168650"/>
            <a:ext cx="158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0097611-B58F-4903-B1E9-5108DC2819C6}" type="datetime'''''''''''''''''''''''''''''0''''''''''''''''''''''''''.''''8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.8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C8CC10E-14BE-109C-EB01-3DAB73276D1B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550863" y="2827338"/>
            <a:ext cx="158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73208A8-32B1-4C88-8005-C780FE190682}" type="datetime'1''''''''''''''''''''.''0''''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627DB26-7C62-0362-8D11-652C9F877E8B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550863" y="3849688"/>
            <a:ext cx="158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5C09E00-F84F-4A81-909F-14F3B8598925}" type="datetime'''0''''''''''''''''''''''''''''''''.4''''''''''''''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.4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5DC0F74-66AA-BE7A-52C9-299427215E40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550863" y="4532314"/>
            <a:ext cx="158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77AB1FC-92C5-4CA6-BA21-67862C4D2398}" type="datetime'''0''''''''.''''''''''''''''''''0''''''''''''''''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.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525AD51-123D-C573-35F4-FAB8A1CC1090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550863" y="4191000"/>
            <a:ext cx="158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F48213C-40E1-4D58-98BC-96E09FF41A12}" type="datetime'''''''''''''''0''''''''''''''''''''.''''''2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.2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C294792-C519-35C3-FBD1-688C228D37B7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550863" y="3509963"/>
            <a:ext cx="158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9FE0FF3-1D9A-43F8-A215-67F70CD841D7}" type="datetime'''''''0''''''''''''.''''''6''''''''''''''''''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.6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28" name="Straight Connector 27"/>
          <p:cNvCxnSpPr/>
          <p:nvPr>
            <p:custDataLst>
              <p:tags r:id="rId9"/>
            </p:custDataLst>
          </p:nvPr>
        </p:nvCxnSpPr>
        <p:spPr bwMode="auto">
          <a:xfrm>
            <a:off x="10645775" y="3917950"/>
            <a:ext cx="744538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ight Arrow 89"/>
          <p:cNvSpPr/>
          <p:nvPr>
            <p:custDataLst>
              <p:tags r:id="rId10"/>
            </p:custDataLst>
          </p:nvPr>
        </p:nvSpPr>
        <p:spPr bwMode="auto">
          <a:xfrm rot="10800000">
            <a:off x="11441113" y="3841750"/>
            <a:ext cx="128588" cy="152400"/>
          </a:xfrm>
          <a:prstGeom prst="rightArrow">
            <a:avLst>
              <a:gd name="adj1" fmla="val 100000"/>
              <a:gd name="adj2" fmla="val 84545"/>
            </a:avLst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l-GR" sz="1000">
              <a:latin typeface="Verdana" pitchFamily="34" charset="0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E9CDAE2-F5DE-192F-8A56-3D1051F31BA8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0058400" y="3917950"/>
            <a:ext cx="3143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" name="Straight Connector 1"/>
          <p:cNvCxnSpPr/>
          <p:nvPr>
            <p:custDataLst>
              <p:tags r:id="rId12"/>
            </p:custDataLst>
          </p:nvPr>
        </p:nvCxnSpPr>
        <p:spPr bwMode="auto">
          <a:xfrm>
            <a:off x="3602038" y="3917950"/>
            <a:ext cx="2662238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>
            <p:custDataLst>
              <p:tags r:id="rId13"/>
            </p:custDataLst>
          </p:nvPr>
        </p:nvCxnSpPr>
        <p:spPr bwMode="auto">
          <a:xfrm>
            <a:off x="823914" y="3917950"/>
            <a:ext cx="2505075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9AD5C0F-045D-3962-6A94-62797A44681B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537325" y="3917950"/>
            <a:ext cx="26622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0E1DA33-58A9-5EA2-D46A-D60085D03FD0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9472613" y="3917950"/>
            <a:ext cx="312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206" name="Rectangle 34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647825" y="4638675"/>
            <a:ext cx="1143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>
            <a:noAutofit/>
          </a:bodyPr>
          <a:lstStyle/>
          <a:p>
            <a:pPr algn="ctr"/>
            <a:fld id="{9E72FABD-B17C-455C-B0F7-CFAF62605316}" type="datetime'''''''''''''''''I''''''''''''''''''''''''''T'''''''''''''">
              <a:rPr lang="en-US" altLang="en-US" sz="900" smtClean="0">
                <a:cs typeface="Arial" panose="020B0604020202020204" pitchFamily="34" charset="0"/>
              </a:rPr>
              <a:pPr/>
              <a:t>IT</a:t>
            </a:fld>
            <a:endParaRPr lang="en-US" sz="9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8202" name="Rectangle 3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211388" y="4638675"/>
            <a:ext cx="15875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>
            <a:noAutofit/>
          </a:bodyPr>
          <a:lstStyle/>
          <a:p>
            <a:pPr algn="ctr"/>
            <a:fld id="{AD26903A-1BE6-4F22-AE63-8E102FDB331F}" type="datetime'''''''''''''''''''''''''''P''''''''''''''''''T'''''''''''''">
              <a:rPr lang="en-US" altLang="en-US" sz="900" smtClean="0">
                <a:cs typeface="Arial" panose="020B0604020202020204" pitchFamily="34" charset="0"/>
              </a:rPr>
              <a:pPr/>
              <a:t>PT</a:t>
            </a:fld>
            <a:endParaRPr lang="en-US" sz="9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8198" name="Rectangle 107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795588" y="4638675"/>
            <a:ext cx="16510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>
            <a:noAutofit/>
          </a:bodyPr>
          <a:lstStyle/>
          <a:p>
            <a:pPr algn="ctr"/>
            <a:fld id="{EF431255-EAAB-4EC2-8024-4A1DD34CB493}" type="datetime'''''''E''''''''S'''''''''''''''''''">
              <a:rPr lang="en-US" altLang="en-US" sz="900" smtClean="0">
                <a:cs typeface="Arial" panose="020B0604020202020204" pitchFamily="34" charset="0"/>
              </a:rPr>
              <a:pPr/>
              <a:t>ES</a:t>
            </a:fld>
            <a:endParaRPr lang="en-US" sz="9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0" name="Rectangle 49"/>
          <p:cNvSpPr/>
          <p:nvPr>
            <p:custDataLst>
              <p:tags r:id="rId19"/>
            </p:custDataLst>
          </p:nvPr>
        </p:nvSpPr>
        <p:spPr bwMode="auto">
          <a:xfrm>
            <a:off x="3382963" y="4638675"/>
            <a:ext cx="165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D4401CEE-D231-430D-ADBC-4A7BF76CEB51}" type="datetime'''''''''''''''''''''''''''''''''CZ'''''''''''">
              <a:rPr lang="en-US" altLang="en-US" sz="900" smtClean="0">
                <a:cs typeface="Arial" panose="020B0604020202020204" pitchFamily="34" charset="0"/>
              </a:rPr>
              <a:pPr/>
              <a:t>CZ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6" name="Rectangle 55"/>
          <p:cNvSpPr/>
          <p:nvPr>
            <p:custDataLst>
              <p:tags r:id="rId20"/>
            </p:custDataLst>
          </p:nvPr>
        </p:nvSpPr>
        <p:spPr bwMode="auto">
          <a:xfrm>
            <a:off x="3963988" y="4638675"/>
            <a:ext cx="1778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F228AFFA-FE8E-4142-A501-1AA6B780E7B0}" type="datetime'''''''''''''H''U'''''''''''''''''''''''''''''">
              <a:rPr lang="en-US" altLang="en-US" sz="900" smtClean="0">
                <a:cs typeface="Arial" panose="020B0604020202020204" pitchFamily="34" charset="0"/>
              </a:rPr>
              <a:pPr/>
              <a:t>HU</a:t>
            </a:fld>
            <a:endParaRPr lang="el-GR" sz="9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7" name="Rectangle 56"/>
          <p:cNvSpPr/>
          <p:nvPr>
            <p:custDataLst>
              <p:tags r:id="rId21"/>
            </p:custDataLst>
          </p:nvPr>
        </p:nvSpPr>
        <p:spPr bwMode="auto">
          <a:xfrm>
            <a:off x="4562475" y="4638675"/>
            <a:ext cx="1524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C261C0FA-B036-415F-9B21-F32A2A19BF39}" type="datetime'''''''''''''P''''''''''''''''''''''''''''''''L'''''''''">
              <a:rPr lang="en-US" altLang="en-US" sz="900" smtClean="0">
                <a:cs typeface="Arial" panose="020B0604020202020204" pitchFamily="34" charset="0"/>
              </a:rPr>
              <a:pPr/>
              <a:t>PL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8" name="Rectangle 57"/>
          <p:cNvSpPr/>
          <p:nvPr>
            <p:custDataLst>
              <p:tags r:id="rId22"/>
            </p:custDataLst>
          </p:nvPr>
        </p:nvSpPr>
        <p:spPr bwMode="auto">
          <a:xfrm>
            <a:off x="5143500" y="4638675"/>
            <a:ext cx="165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41A15D45-1933-434C-995B-DA2F37269329}" type="datetime'''''''''''''''''''''''''''''''''''S''''''''K'''''''''''''''''">
              <a:rPr lang="en-US" altLang="en-US" sz="900" smtClean="0">
                <a:cs typeface="Arial" panose="020B0604020202020204" pitchFamily="34" charset="0"/>
              </a:rPr>
              <a:pPr/>
              <a:t>SK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A451636-B76F-0837-7F93-E3E02F90D580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5686425" y="368776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9EB565E-E614-442B-A485-3C60F4BAA776}" type="datetime'''''0''.''''''''''''''''''''''''4''''''''''''''''''4'''''''">
              <a:rPr lang="en-US" altLang="en-US" sz="900" smtClean="0">
                <a:solidFill>
                  <a:schemeClr val="tx1"/>
                </a:solidFill>
              </a:rPr>
              <a:pPr/>
              <a:t>0.44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1" name="Rectangle 60"/>
          <p:cNvSpPr/>
          <p:nvPr>
            <p:custDataLst>
              <p:tags r:id="rId24"/>
            </p:custDataLst>
          </p:nvPr>
        </p:nvSpPr>
        <p:spPr bwMode="auto">
          <a:xfrm>
            <a:off x="6905625" y="4638675"/>
            <a:ext cx="165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0DEBD1AD-6A45-4E2B-9ED6-4097BCD933D6}" type="datetime'''F''''''''''''R'''''''''''''">
              <a:rPr lang="en-US" altLang="en-US" sz="900" smtClean="0">
                <a:cs typeface="Arial" panose="020B0604020202020204" pitchFamily="34" charset="0"/>
              </a:rPr>
              <a:pPr/>
              <a:t>FR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62" name="Rectangle 61"/>
          <p:cNvSpPr/>
          <p:nvPr>
            <p:custDataLst>
              <p:tags r:id="rId25"/>
            </p:custDataLst>
          </p:nvPr>
        </p:nvSpPr>
        <p:spPr bwMode="auto">
          <a:xfrm>
            <a:off x="7488238" y="4638675"/>
            <a:ext cx="1714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DD14A479-092E-47BC-9C4E-ABAAC67A4881}" type="datetime'''''''''''''''''''D''E'''''''''''''''''''''''''''''''''''''">
              <a:rPr lang="en-US" altLang="en-US" sz="900" smtClean="0">
                <a:cs typeface="Arial" panose="020B0604020202020204" pitchFamily="34" charset="0"/>
              </a:rPr>
              <a:pPr/>
              <a:t>DE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4D3BA1-58A2-35C2-EFAA-67393CE16EF4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4511675" y="397827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EEBF318-C2D8-41D6-95B8-17474398AEEE}" type="datetime'0''''''''''''''''''''.''''''''''''''''''''''27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7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76" name="Rectangle 75"/>
          <p:cNvSpPr/>
          <p:nvPr>
            <p:custDataLst>
              <p:tags r:id="rId27"/>
            </p:custDataLst>
          </p:nvPr>
        </p:nvSpPr>
        <p:spPr bwMode="auto">
          <a:xfrm>
            <a:off x="8688388" y="4638675"/>
            <a:ext cx="1206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2560229A-36F4-47ED-91B3-3BAD65618C27}" type="datetime'''''''''''I''''''''''''''E'''''''''''''''''">
              <a:rPr lang="en-US" altLang="en-US" sz="900" smtClean="0">
                <a:cs typeface="Arial" panose="020B0604020202020204" pitchFamily="34" charset="0"/>
              </a:rPr>
              <a:pPr/>
              <a:t>IE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8197" name="Rectangle 19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500063" y="2462213"/>
            <a:ext cx="647700" cy="2730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anchor="b">
            <a:noAutofit/>
          </a:bodyPr>
          <a:lstStyle/>
          <a:p>
            <a:pPr algn="ctr"/>
            <a:r>
              <a:rPr lang="en-US" sz="900" dirty="0">
                <a:cs typeface="Arial"/>
                <a:sym typeface="Arial"/>
              </a:rPr>
              <a:t>Price per SU</a:t>
            </a:r>
            <a:endParaRPr lang="el-GR" sz="900" dirty="0">
              <a:cs typeface="Arial"/>
              <a:sym typeface="Arial"/>
            </a:endParaRPr>
          </a:p>
          <a:p>
            <a:pPr algn="ctr"/>
            <a:r>
              <a:rPr lang="el-GR" sz="900" dirty="0">
                <a:cs typeface="Arial"/>
                <a:sym typeface="Arial"/>
              </a:rPr>
              <a:t>(€/</a:t>
            </a:r>
            <a:r>
              <a:rPr lang="en-US" sz="900" dirty="0">
                <a:cs typeface="Arial"/>
                <a:sym typeface="Arial"/>
              </a:rPr>
              <a:t>SU</a:t>
            </a:r>
            <a:r>
              <a:rPr lang="el-GR" sz="900" dirty="0">
                <a:cs typeface="Arial"/>
                <a:sym typeface="Arial"/>
              </a:rPr>
              <a:t>)</a:t>
            </a:r>
            <a:endParaRPr lang="en-US" sz="900" dirty="0">
              <a:cs typeface="Arial"/>
              <a:sym typeface="Arial"/>
            </a:endParaRPr>
          </a:p>
        </p:txBody>
      </p:sp>
      <p:sp>
        <p:nvSpPr>
          <p:cNvPr id="78" name="Rectangle 77"/>
          <p:cNvSpPr/>
          <p:nvPr>
            <p:custDataLst>
              <p:tags r:id="rId29"/>
            </p:custDataLst>
          </p:nvPr>
        </p:nvSpPr>
        <p:spPr bwMode="auto">
          <a:xfrm>
            <a:off x="9250363" y="4638675"/>
            <a:ext cx="1714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25D1E51F-32FA-4412-9B59-66ABBCD992EB}" type="datetime'''''''''''''''''''''U''''''''''''''''''''''K'''''''''''''''">
              <a:rPr lang="en-US" altLang="en-US" sz="900" smtClean="0">
                <a:cs typeface="Arial" panose="020B0604020202020204" pitchFamily="34" charset="0"/>
              </a:rPr>
              <a:pPr/>
              <a:t>UK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79" name="Rectangle 78"/>
          <p:cNvSpPr/>
          <p:nvPr>
            <p:custDataLst>
              <p:tags r:id="rId30"/>
            </p:custDataLst>
          </p:nvPr>
        </p:nvSpPr>
        <p:spPr bwMode="auto">
          <a:xfrm>
            <a:off x="9864725" y="4638675"/>
            <a:ext cx="1143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F9E508C9-0964-44CF-AAAC-182AA39F5130}" type="datetime'''F''''''''I'''''''''''''''''''''''''''''''''''">
              <a:rPr lang="en-US" altLang="en-US" sz="900" smtClean="0">
                <a:cs typeface="Arial" panose="020B0604020202020204" pitchFamily="34" charset="0"/>
              </a:rPr>
              <a:pPr/>
              <a:t>FI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80" name="Rectangle 79"/>
          <p:cNvSpPr/>
          <p:nvPr>
            <p:custDataLst>
              <p:tags r:id="rId31"/>
            </p:custDataLst>
          </p:nvPr>
        </p:nvSpPr>
        <p:spPr bwMode="auto">
          <a:xfrm>
            <a:off x="10417175" y="4638675"/>
            <a:ext cx="1841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81CF5713-49C6-4135-9A14-70F02F5697B1}" type="datetime'''''''''''''''''''''''''''''N''''''O'''''''''''''''''''''''''">
              <a:rPr lang="en-US" altLang="en-US" sz="900" smtClean="0">
                <a:cs typeface="Arial" panose="020B0604020202020204" pitchFamily="34" charset="0"/>
              </a:rPr>
              <a:pPr/>
              <a:t>NO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81" name="Rectangle 80"/>
          <p:cNvSpPr/>
          <p:nvPr>
            <p:custDataLst>
              <p:tags r:id="rId32"/>
            </p:custDataLst>
          </p:nvPr>
        </p:nvSpPr>
        <p:spPr bwMode="auto">
          <a:xfrm>
            <a:off x="11014075" y="4638675"/>
            <a:ext cx="165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169A7C03-46BB-4186-AE3B-787418530D95}" type="datetime'S''E'''''''''''''''''''">
              <a:rPr lang="en-US" altLang="en-US" sz="900" smtClean="0">
                <a:cs typeface="Arial" panose="020B0604020202020204" pitchFamily="34" charset="0"/>
              </a:rPr>
              <a:pPr/>
              <a:t>SE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89" name="Rectangle 88"/>
          <p:cNvSpPr/>
          <p:nvPr>
            <p:custDataLst>
              <p:tags r:id="rId33"/>
            </p:custDataLst>
          </p:nvPr>
        </p:nvSpPr>
        <p:spPr bwMode="auto">
          <a:xfrm>
            <a:off x="11620500" y="3849688"/>
            <a:ext cx="2222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en-US" sz="900" dirty="0">
                <a:effectLst/>
              </a:rPr>
              <a:t>0.40</a:t>
            </a:r>
            <a:endParaRPr lang="el-GR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59" name="Rectangle 58"/>
          <p:cNvSpPr/>
          <p:nvPr>
            <p:custDataLst>
              <p:tags r:id="rId34"/>
            </p:custDataLst>
          </p:nvPr>
        </p:nvSpPr>
        <p:spPr bwMode="auto">
          <a:xfrm>
            <a:off x="5734050" y="4638675"/>
            <a:ext cx="1587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14B82003-2FF7-4BD0-B2FD-D40BCDD48E23}" type="datetime'''''''''A''''''''''''''''''''''T'''''''''''">
              <a:rPr lang="en-US" altLang="en-US" sz="900" smtClean="0">
                <a:cs typeface="Arial" panose="020B0604020202020204" pitchFamily="34" charset="0"/>
              </a:rPr>
              <a:pPr/>
              <a:t>AT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31EE469-1901-B5C6-7BD5-30231A39F8A1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10382250" y="39100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D9A2786-A399-46B5-BB73-E6B7027CEA70}" type="datetime'''''0''''''''''''''''.3''''1'''''''''''''''''''''''''''''''">
              <a:rPr lang="en-US" altLang="en-US" sz="900" smtClean="0">
                <a:solidFill>
                  <a:schemeClr val="tx1"/>
                </a:solidFill>
              </a:rPr>
              <a:pPr/>
              <a:t>0.31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4C25CC1-9E72-CA59-083A-9B405E9968F0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8034338" y="3568700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9EDC5F0-1648-4BAF-82A9-B82008E1767F}" type="datetime'''''''0''''''''''''.''''''''''''''''''''''''5''1'''''''">
              <a:rPr lang="en-US" altLang="en-US" sz="900" smtClean="0">
                <a:solidFill>
                  <a:schemeClr val="tx1"/>
                </a:solidFill>
              </a:rPr>
              <a:pPr/>
              <a:t>0.51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82EDACD-F649-BDFB-11E2-599365CC2BD8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2163763" y="402907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7B6E39D-8F41-4DE1-A525-EED7C5059642}" type="datetime'''''''''''0''''''''''''''''''''''''''''''.''''2''4'''''''">
              <a:rPr lang="en-US" altLang="en-US" sz="900" smtClean="0">
                <a:solidFill>
                  <a:schemeClr val="tx1"/>
                </a:solidFill>
              </a:rPr>
              <a:pPr/>
              <a:t>0.24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664879-25EB-E51B-DD8E-132128573EAB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990600" y="397827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010D2BB-E1F9-45A2-8E56-758FB2A688FC}" type="datetime'''''''''0''''''''''.''''2''''''''''''''''''7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7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D7C184-6031-96B5-8CEA-EDB1C22D070A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1577975" y="394493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BCF74DA-D84E-4156-8290-02F132F1C238}" type="datetime'''''''0''''''''''''''.''''''''''''''''''''2''''''''''''''9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9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C148CB8-44B7-1E63-B80B-0F44E93AA3DB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2751138" y="39608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282383E-751F-42C6-BF6D-62FF77C34057}" type="datetime'''''''''''''''0''''.''''''''''''''''''''''''''''2''''8'''''">
              <a:rPr lang="en-US" altLang="en-US" sz="900" smtClean="0">
                <a:solidFill>
                  <a:schemeClr val="tx1"/>
                </a:solidFill>
              </a:rPr>
              <a:pPr/>
              <a:t>0.28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0" name="Rectangle 59"/>
          <p:cNvSpPr/>
          <p:nvPr>
            <p:custDataLst>
              <p:tags r:id="rId41"/>
            </p:custDataLst>
          </p:nvPr>
        </p:nvSpPr>
        <p:spPr bwMode="auto">
          <a:xfrm>
            <a:off x="6318250" y="4638675"/>
            <a:ext cx="165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9C1E43F8-CF2D-449B-9849-EF38E6661673}" type="datetime'''''''''''''''''''''''''B''''''''''''''''E'''''''''''">
              <a:rPr lang="en-US" altLang="en-US" sz="900" smtClean="0">
                <a:cs typeface="Arial" panose="020B0604020202020204" pitchFamily="34" charset="0"/>
              </a:rPr>
              <a:pPr/>
              <a:t>BE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162CFBA-979C-96FF-EC8A-C372C3453C96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3338513" y="39100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0F2BA6E-195F-47CF-8DC1-6DC9C07F0886}" type="datetime'0''''''''''''''''.''''3''''''''''''''1'''''''''''">
              <a:rPr lang="en-US" altLang="en-US" sz="900" smtClean="0">
                <a:solidFill>
                  <a:schemeClr val="tx1"/>
                </a:solidFill>
              </a:rPr>
              <a:pPr/>
              <a:t>0.31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0CB23F0-AC9F-742C-3303-06C96D68E198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3925888" y="402907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46B77A6-C115-4DC1-B43F-AFC21145DEE4}" type="datetime'''''''0''''''''''''''.''''''''''''2''4'''''''''''''''''">
              <a:rPr lang="en-US" altLang="en-US" sz="900" smtClean="0">
                <a:solidFill>
                  <a:schemeClr val="tx1"/>
                </a:solidFill>
              </a:rPr>
              <a:pPr/>
              <a:t>0.24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3D33A89-357F-37F5-8EBC-3051F8D78BFD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9209088" y="3790950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27D3455-B9C4-4BB2-8631-06A89F8C4A1F}" type="datetime'''0''''.''''''''''''''''''''''''''''''''''38'''''''''''">
              <a:rPr lang="en-US" altLang="en-US" sz="900" smtClean="0">
                <a:solidFill>
                  <a:schemeClr val="tx1"/>
                </a:solidFill>
              </a:rPr>
              <a:pPr/>
              <a:t>0.38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DBC7F87-E72D-278F-6FBA-410FB40D0852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7446963" y="2819400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2B0F8B4-AFFD-4850-B060-58B811A4267E}" type="datetime'''''0.''9''''''''''''''''''''''''''''5'''''">
              <a:rPr lang="en-US" altLang="en-US" sz="900" smtClean="0">
                <a:solidFill>
                  <a:schemeClr val="tx1"/>
                </a:solidFill>
              </a:rPr>
              <a:pPr/>
              <a:t>0.95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E35A654-F357-82A4-3F48-1F7AD4E00F7C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5099050" y="333057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6617EE-E5AE-4FCA-BFB7-84AC6386653A}" type="datetime'''''0''''''.''''''''''''''''''6''''''''5'''''''''''''''''">
              <a:rPr lang="en-US" altLang="en-US" sz="900" smtClean="0">
                <a:solidFill>
                  <a:schemeClr val="tx1"/>
                </a:solidFill>
              </a:rPr>
              <a:pPr/>
              <a:t>0.65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C856237-1312-959B-69DB-06A4565A00B5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8621713" y="367188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3F2ABCE-53EB-46F4-AD20-F7F53EAEC4CB}" type="datetime'''''''''0''''''''''''.''''''4''''''''5'">
              <a:rPr lang="en-US" altLang="en-US" sz="900" smtClean="0">
                <a:solidFill>
                  <a:schemeClr val="tx1"/>
                </a:solidFill>
              </a:rPr>
              <a:pPr/>
              <a:t>0.45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AD8BDD0-9104-AFE1-41D4-3359EC8977CC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6861175" y="358616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C927411-A80D-4B16-BA04-A97C1422FFA4}" type="datetime'''''''''''''''0''.''''''''''''''''''5''''''''''0'''">
              <a:rPr lang="en-US" altLang="en-US" sz="900" smtClean="0">
                <a:solidFill>
                  <a:schemeClr val="tx1"/>
                </a:solidFill>
              </a:rPr>
              <a:pPr/>
              <a:t>0.5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2F322BF-3A4F-1267-CB0B-005A50A59B5D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9794875" y="38084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ABE8B15-22A8-4754-B799-3394D5749610}" type="datetime'''''''''0''''''.''3''''''''''''7'''''''''''''">
              <a:rPr lang="en-US" altLang="en-US" sz="900" smtClean="0">
                <a:solidFill>
                  <a:schemeClr val="tx1"/>
                </a:solidFill>
              </a:rPr>
              <a:pPr/>
              <a:t>0.37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57CEBEE-8CB7-91AC-193A-164C0FD9D624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10969625" y="367188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C9507E8-9587-4E70-92D4-E98742D8C6F6}" type="datetime'''''''''''0''''''''.''''''''''''''''''4''''''''''5'''''''">
              <a:rPr lang="en-US" altLang="en-US" sz="900" smtClean="0">
                <a:solidFill>
                  <a:schemeClr val="tx1"/>
                </a:solidFill>
              </a:rPr>
              <a:pPr/>
              <a:t>0.45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74" name="Rectangle 73"/>
          <p:cNvSpPr/>
          <p:nvPr>
            <p:custDataLst>
              <p:tags r:id="rId51"/>
            </p:custDataLst>
          </p:nvPr>
        </p:nvSpPr>
        <p:spPr bwMode="auto">
          <a:xfrm>
            <a:off x="8081963" y="4638675"/>
            <a:ext cx="1587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674AD7D9-0373-4B23-87D1-3B8D490B20A2}" type="datetime'''''''''''''''N''''''''L'''''''''''''''''''''">
              <a:rPr lang="en-US" altLang="en-US" sz="900" smtClean="0">
                <a:cs typeface="Arial" panose="020B0604020202020204" pitchFamily="34" charset="0"/>
              </a:rPr>
              <a:pPr/>
              <a:t>NL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88" name="Rectangle 87"/>
          <p:cNvSpPr/>
          <p:nvPr>
            <p:custDataLst>
              <p:tags r:id="rId52"/>
            </p:custDataLst>
          </p:nvPr>
        </p:nvSpPr>
        <p:spPr bwMode="auto">
          <a:xfrm>
            <a:off x="1025525" y="4638675"/>
            <a:ext cx="1841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387BA570-1770-4974-84FE-150E4D5F167A}" type="datetime'''G''''''''''''''''''''''''''''''''''''''''''''R'">
              <a:rPr lang="en-US" sz="900" b="1" smtClean="0">
                <a:latin typeface="Arial"/>
                <a:cs typeface="Arial"/>
                <a:sym typeface="Arial"/>
              </a:rPr>
              <a:pPr algn="ctr"/>
              <a:t>GR</a:t>
            </a:fld>
            <a:endParaRPr lang="el-GR" sz="900" b="1" dirty="0">
              <a:latin typeface="Arial"/>
              <a:cs typeface="Arial"/>
              <a:sym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7159236-D32F-B308-577F-703232CF5319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6273800" y="39100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3F6A776-01B0-414B-805C-66A158150282}" type="datetime'''''''''''''''''0.''''''''''3''''''''''''''''''''1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31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99" name="TextBox 98"/>
          <p:cNvSpPr txBox="1">
            <a:spLocks/>
          </p:cNvSpPr>
          <p:nvPr/>
        </p:nvSpPr>
        <p:spPr>
          <a:xfrm>
            <a:off x="11464064" y="3584773"/>
            <a:ext cx="549112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GB" sz="900" b="1" i="1" dirty="0"/>
              <a:t>Average</a:t>
            </a:r>
            <a:endParaRPr lang="en-US" sz="900" b="1" i="1" baseline="30000" dirty="0"/>
          </a:p>
        </p:txBody>
      </p:sp>
      <p:sp>
        <p:nvSpPr>
          <p:cNvPr id="139" name="Text Placeholder 138"/>
          <p:cNvSpPr>
            <a:spLocks noGrp="1"/>
          </p:cNvSpPr>
          <p:nvPr>
            <p:ph type="body" sz="quarter" idx="18"/>
          </p:nvPr>
        </p:nvSpPr>
        <p:spPr>
          <a:xfrm>
            <a:off x="477012" y="5982859"/>
            <a:ext cx="11246241" cy="246221"/>
          </a:xfrm>
        </p:spPr>
        <p:txBody>
          <a:bodyPr/>
          <a:lstStyle/>
          <a:p>
            <a:pPr eaLnBrk="0" hangingPunct="0">
              <a:lnSpc>
                <a:spcPct val="100000"/>
              </a:lnSpc>
              <a:spcBef>
                <a:spcPts val="100"/>
              </a:spcBef>
            </a:pPr>
            <a:r>
              <a:rPr lang="en-US" b="1" dirty="0"/>
              <a:t>Note 1: </a:t>
            </a:r>
            <a:r>
              <a:rPr lang="en-US" dirty="0"/>
              <a:t>Based on Pharmacy-Purchase-Prices (PPPs); </a:t>
            </a:r>
            <a:r>
              <a:rPr lang="en-US" b="1" dirty="0"/>
              <a:t>Note 2: </a:t>
            </a:r>
            <a:r>
              <a:rPr lang="en-US" dirty="0"/>
              <a:t>Numbers through the retail-pharmacy channel and for prescription-bound drugs only for all countries;; </a:t>
            </a:r>
            <a:r>
              <a:rPr lang="en-US" b="1" dirty="0"/>
              <a:t>Note </a:t>
            </a:r>
            <a:r>
              <a:rPr lang="en-GB" b="1" dirty="0"/>
              <a:t>3: AT</a:t>
            </a:r>
            <a:r>
              <a:rPr lang="en-GB" dirty="0"/>
              <a:t>=Austria; </a:t>
            </a:r>
            <a:r>
              <a:rPr lang="en-GB" b="1" dirty="0"/>
              <a:t>BE</a:t>
            </a:r>
            <a:r>
              <a:rPr lang="en-GB" dirty="0"/>
              <a:t>=Belgium; </a:t>
            </a:r>
            <a:r>
              <a:rPr lang="en-GB" b="1" dirty="0"/>
              <a:t>CZ</a:t>
            </a:r>
            <a:r>
              <a:rPr lang="en-GB" dirty="0"/>
              <a:t>=Czech Republic;</a:t>
            </a:r>
            <a:r>
              <a:rPr lang="en-GB" b="1" dirty="0"/>
              <a:t> F</a:t>
            </a:r>
            <a:r>
              <a:rPr lang="el-GR" b="1" dirty="0"/>
              <a:t>Ι</a:t>
            </a:r>
            <a:r>
              <a:rPr lang="en-GB" dirty="0"/>
              <a:t>=Finland; </a:t>
            </a:r>
            <a:r>
              <a:rPr lang="en-GB" b="1" dirty="0"/>
              <a:t>FR</a:t>
            </a:r>
            <a:r>
              <a:rPr lang="en-GB" dirty="0"/>
              <a:t>=France; </a:t>
            </a:r>
            <a:r>
              <a:rPr lang="en-GB" b="1" dirty="0"/>
              <a:t>DE</a:t>
            </a:r>
            <a:r>
              <a:rPr lang="en-GB" dirty="0"/>
              <a:t>=Germany; </a:t>
            </a:r>
            <a:r>
              <a:rPr lang="en-GB" b="1" dirty="0"/>
              <a:t>GR</a:t>
            </a:r>
            <a:r>
              <a:rPr lang="en-GB" dirty="0"/>
              <a:t>=Greece; </a:t>
            </a:r>
            <a:r>
              <a:rPr lang="en-GB" b="1" dirty="0"/>
              <a:t>HU</a:t>
            </a:r>
            <a:r>
              <a:rPr lang="en-GB" dirty="0"/>
              <a:t>=Hungary;</a:t>
            </a:r>
            <a:r>
              <a:rPr lang="en-GB" b="1" dirty="0"/>
              <a:t> I</a:t>
            </a:r>
            <a:r>
              <a:rPr lang="el-GR" b="1" dirty="0"/>
              <a:t>Ε</a:t>
            </a:r>
            <a:r>
              <a:rPr lang="en-GB" dirty="0"/>
              <a:t>=Ireland; </a:t>
            </a:r>
            <a:r>
              <a:rPr lang="en-GB" b="1" dirty="0"/>
              <a:t>IT</a:t>
            </a:r>
            <a:r>
              <a:rPr lang="en-GB" dirty="0"/>
              <a:t>=Italy; </a:t>
            </a:r>
            <a:r>
              <a:rPr lang="en-GB" b="1" dirty="0"/>
              <a:t>NL</a:t>
            </a:r>
            <a:r>
              <a:rPr lang="en-GB" dirty="0"/>
              <a:t>=Netherlands; </a:t>
            </a:r>
            <a:r>
              <a:rPr lang="en-GB" b="1" dirty="0"/>
              <a:t>N</a:t>
            </a:r>
            <a:r>
              <a:rPr lang="el-GR" b="1" dirty="0"/>
              <a:t>Ο</a:t>
            </a:r>
            <a:r>
              <a:rPr lang="en-GB" dirty="0"/>
              <a:t>=Norway; </a:t>
            </a:r>
            <a:r>
              <a:rPr lang="en-GB" b="1" dirty="0"/>
              <a:t>PL</a:t>
            </a:r>
            <a:r>
              <a:rPr lang="en-GB" dirty="0"/>
              <a:t>=Poland;</a:t>
            </a:r>
            <a:r>
              <a:rPr lang="en-GB" b="1" dirty="0"/>
              <a:t> PT</a:t>
            </a:r>
            <a:r>
              <a:rPr lang="en-GB" dirty="0"/>
              <a:t>=Portugal; </a:t>
            </a:r>
            <a:r>
              <a:rPr lang="en-GB" b="1" dirty="0"/>
              <a:t>ES</a:t>
            </a:r>
            <a:r>
              <a:rPr lang="en-GB" dirty="0"/>
              <a:t>=Spain;</a:t>
            </a:r>
            <a:r>
              <a:rPr lang="en-GB" b="1" dirty="0"/>
              <a:t> SE</a:t>
            </a:r>
            <a:r>
              <a:rPr lang="en-GB" dirty="0"/>
              <a:t>=Sweden; </a:t>
            </a:r>
            <a:r>
              <a:rPr lang="en-GB" b="1" dirty="0"/>
              <a:t>S</a:t>
            </a:r>
            <a:r>
              <a:rPr lang="el-GR" b="1" dirty="0"/>
              <a:t>Κ</a:t>
            </a:r>
            <a:r>
              <a:rPr lang="en-GB" dirty="0"/>
              <a:t>=Slovakia; </a:t>
            </a:r>
            <a:r>
              <a:rPr lang="en-GB" b="1" dirty="0"/>
              <a:t>UK</a:t>
            </a:r>
            <a:r>
              <a:rPr lang="en-GB" dirty="0"/>
              <a:t>=United Kingdom;</a:t>
            </a:r>
            <a:r>
              <a:rPr lang="en-US" dirty="0"/>
              <a:t> </a:t>
            </a:r>
            <a:endParaRPr lang="el-GR" dirty="0"/>
          </a:p>
        </p:txBody>
      </p:sp>
      <p:sp>
        <p:nvSpPr>
          <p:cNvPr id="136" name="Text Placeholder 13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Off patent Prices in EU</a:t>
            </a:r>
            <a:endParaRPr lang="el-GR" dirty="0"/>
          </a:p>
        </p:txBody>
      </p:sp>
      <p:sp>
        <p:nvSpPr>
          <p:cNvPr id="97" name="Title 9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ff-patent products in Greece have the 4</a:t>
            </a:r>
            <a:r>
              <a:rPr lang="en-US" baseline="30000" dirty="0"/>
              <a:t>th</a:t>
            </a:r>
            <a:r>
              <a:rPr lang="en-US" dirty="0"/>
              <a:t> lowest average price in EU</a:t>
            </a:r>
            <a:endParaRPr lang="el-GR" dirty="0">
              <a:latin typeface="+mn-lt"/>
            </a:endParaRP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604FDB2A-F0F1-48CA-BE64-CF78B17C04E3}"/>
              </a:ext>
            </a:extLst>
          </p:cNvPr>
          <p:cNvCxnSpPr>
            <a:cxnSpLocks/>
          </p:cNvCxnSpPr>
          <p:nvPr/>
        </p:nvCxnSpPr>
        <p:spPr>
          <a:xfrm>
            <a:off x="468748" y="1648910"/>
            <a:ext cx="11254499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ktangel 76">
            <a:extLst>
              <a:ext uri="{FF2B5EF4-FFF2-40B4-BE49-F238E27FC236}">
                <a16:creationId xmlns:a16="http://schemas.microsoft.com/office/drawing/2014/main" id="{F3D8C4E2-7F9E-4BBC-84B1-C516DF9AD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747" y="1659797"/>
            <a:ext cx="9515703" cy="318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72000" rIns="0" bIns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1600" b="1" noProof="1">
                <a:solidFill>
                  <a:schemeClr val="accent1"/>
                </a:solidFill>
                <a:cs typeface="Arial" charset="0"/>
              </a:rPr>
              <a:t>Price per SU (in €/SU) for Off-patent (MAT/03/23) – Greece vs. European countries</a:t>
            </a:r>
          </a:p>
        </p:txBody>
      </p:sp>
      <p:sp>
        <p:nvSpPr>
          <p:cNvPr id="103" name="Oval 102"/>
          <p:cNvSpPr/>
          <p:nvPr/>
        </p:nvSpPr>
        <p:spPr>
          <a:xfrm>
            <a:off x="11606368" y="58982"/>
            <a:ext cx="216000" cy="216000"/>
          </a:xfrm>
          <a:prstGeom prst="ellipse">
            <a:avLst/>
          </a:prstGeom>
          <a:solidFill>
            <a:srgbClr val="00B0F0"/>
          </a:solidFill>
          <a:ln w="1905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en-US" sz="1600" b="1" kern="0" dirty="0">
                <a:solidFill>
                  <a:srgbClr val="FFFFFF"/>
                </a:solidFill>
                <a:latin typeface="+mj-lt"/>
              </a:rPr>
              <a:t>B</a:t>
            </a:r>
          </a:p>
        </p:txBody>
      </p:sp>
      <p:sp>
        <p:nvSpPr>
          <p:cNvPr id="104" name="Oval 103"/>
          <p:cNvSpPr/>
          <p:nvPr/>
        </p:nvSpPr>
        <p:spPr>
          <a:xfrm>
            <a:off x="11332356" y="58982"/>
            <a:ext cx="216000" cy="216000"/>
          </a:xfrm>
          <a:prstGeom prst="ellipse">
            <a:avLst/>
          </a:prstGeom>
          <a:solidFill>
            <a:srgbClr val="F2F2F2"/>
          </a:solidFill>
          <a:ln w="19050" cap="flat" cmpd="sng" algn="ctr">
            <a:solidFill>
              <a:srgbClr val="E9E9E9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en-US" sz="1600" b="1" kern="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A</a:t>
            </a:r>
          </a:p>
        </p:txBody>
      </p:sp>
      <p:sp>
        <p:nvSpPr>
          <p:cNvPr id="105" name="Oval 104"/>
          <p:cNvSpPr/>
          <p:nvPr/>
        </p:nvSpPr>
        <p:spPr>
          <a:xfrm>
            <a:off x="11880381" y="58982"/>
            <a:ext cx="216000" cy="216000"/>
          </a:xfrm>
          <a:prstGeom prst="ellipse">
            <a:avLst/>
          </a:prstGeom>
          <a:solidFill>
            <a:srgbClr val="F2F2F2"/>
          </a:solidFill>
          <a:ln w="19050" cap="flat" cmpd="sng" algn="ctr">
            <a:solidFill>
              <a:srgbClr val="E9E9E9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en-US" sz="1600" b="1" kern="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C</a:t>
            </a:r>
          </a:p>
        </p:txBody>
      </p:sp>
      <p:sp>
        <p:nvSpPr>
          <p:cNvPr id="82" name="Rounded Rectangle 136">
            <a:extLst>
              <a:ext uri="{FF2B5EF4-FFF2-40B4-BE49-F238E27FC236}">
                <a16:creationId xmlns:a16="http://schemas.microsoft.com/office/drawing/2014/main" id="{D9BA6D68-A8A2-4CB4-B84C-B43EA6F3248A}"/>
              </a:ext>
            </a:extLst>
          </p:cNvPr>
          <p:cNvSpPr>
            <a:spLocks/>
          </p:cNvSpPr>
          <p:nvPr/>
        </p:nvSpPr>
        <p:spPr bwMode="auto">
          <a:xfrm>
            <a:off x="1497465" y="2224087"/>
            <a:ext cx="983411" cy="521148"/>
          </a:xfrm>
          <a:prstGeom prst="roundRect">
            <a:avLst/>
          </a:prstGeom>
          <a:noFill/>
          <a:ln w="12700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i="1" dirty="0"/>
              <a:t>Off-patent:</a:t>
            </a:r>
          </a:p>
          <a:p>
            <a:pPr algn="ctr"/>
            <a:r>
              <a:rPr lang="en-US" sz="1000" b="1" i="1" dirty="0"/>
              <a:t>Price per SU</a:t>
            </a:r>
            <a:endParaRPr lang="el-GR" sz="1000" b="1" i="1" dirty="0"/>
          </a:p>
          <a:p>
            <a:pPr algn="ctr"/>
            <a:r>
              <a:rPr lang="en-US" sz="1000" b="1" i="1" dirty="0">
                <a:solidFill>
                  <a:schemeClr val="accent1"/>
                </a:solidFill>
              </a:rPr>
              <a:t>0.28</a:t>
            </a:r>
            <a:r>
              <a:rPr lang="el-GR" sz="1000" b="1" i="1" dirty="0">
                <a:solidFill>
                  <a:schemeClr val="accent1"/>
                </a:solidFill>
              </a:rPr>
              <a:t>€</a:t>
            </a:r>
            <a:endParaRPr lang="en-US" sz="1000" b="1" i="1" dirty="0">
              <a:solidFill>
                <a:schemeClr val="accent1"/>
              </a:solidFill>
            </a:endParaRPr>
          </a:p>
        </p:txBody>
      </p:sp>
      <p:sp>
        <p:nvSpPr>
          <p:cNvPr id="98" name="Rounded Rectangle 141">
            <a:extLst>
              <a:ext uri="{FF2B5EF4-FFF2-40B4-BE49-F238E27FC236}">
                <a16:creationId xmlns:a16="http://schemas.microsoft.com/office/drawing/2014/main" id="{F39EB1DB-7426-4886-B299-6A66F68AC2DA}"/>
              </a:ext>
            </a:extLst>
          </p:cNvPr>
          <p:cNvSpPr>
            <a:spLocks/>
          </p:cNvSpPr>
          <p:nvPr/>
        </p:nvSpPr>
        <p:spPr bwMode="auto">
          <a:xfrm>
            <a:off x="3861510" y="2224087"/>
            <a:ext cx="983411" cy="521148"/>
          </a:xfrm>
          <a:prstGeom prst="roundRect">
            <a:avLst/>
          </a:prstGeom>
          <a:noFill/>
          <a:ln w="12700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i="1" dirty="0"/>
              <a:t>Off-patent:</a:t>
            </a:r>
          </a:p>
          <a:p>
            <a:pPr algn="ctr"/>
            <a:r>
              <a:rPr lang="en-US" sz="1000" b="1" i="1" dirty="0"/>
              <a:t>Price per SU</a:t>
            </a:r>
            <a:endParaRPr lang="el-GR" sz="1000" b="1" i="1" dirty="0"/>
          </a:p>
          <a:p>
            <a:pPr algn="ctr"/>
            <a:r>
              <a:rPr lang="en-US" sz="1000" b="1" i="1" dirty="0">
                <a:solidFill>
                  <a:schemeClr val="accent1"/>
                </a:solidFill>
              </a:rPr>
              <a:t>0.30</a:t>
            </a:r>
            <a:r>
              <a:rPr lang="el-GR" sz="1000" b="1" i="1" dirty="0">
                <a:solidFill>
                  <a:schemeClr val="accent1"/>
                </a:solidFill>
              </a:rPr>
              <a:t>€</a:t>
            </a:r>
            <a:endParaRPr lang="en-US" sz="1000" b="1" i="1" dirty="0">
              <a:solidFill>
                <a:schemeClr val="accent1"/>
              </a:solidFill>
            </a:endParaRPr>
          </a:p>
        </p:txBody>
      </p:sp>
      <p:sp>
        <p:nvSpPr>
          <p:cNvPr id="101" name="Rounded Rectangle 142">
            <a:extLst>
              <a:ext uri="{FF2B5EF4-FFF2-40B4-BE49-F238E27FC236}">
                <a16:creationId xmlns:a16="http://schemas.microsoft.com/office/drawing/2014/main" id="{D7433E75-AE38-4400-9AAB-112151BAF87E}"/>
              </a:ext>
            </a:extLst>
          </p:cNvPr>
          <p:cNvSpPr>
            <a:spLocks/>
          </p:cNvSpPr>
          <p:nvPr/>
        </p:nvSpPr>
        <p:spPr bwMode="auto">
          <a:xfrm>
            <a:off x="6484734" y="2224087"/>
            <a:ext cx="960120" cy="521148"/>
          </a:xfrm>
          <a:prstGeom prst="roundRect">
            <a:avLst/>
          </a:prstGeom>
          <a:noFill/>
          <a:ln w="12700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i="1" dirty="0"/>
              <a:t>Off-patent:</a:t>
            </a:r>
          </a:p>
          <a:p>
            <a:pPr algn="ctr"/>
            <a:r>
              <a:rPr lang="en-US" sz="1000" b="1" i="1" dirty="0"/>
              <a:t>Price per SU</a:t>
            </a:r>
            <a:endParaRPr lang="el-GR" sz="1000" b="1" i="1" dirty="0"/>
          </a:p>
          <a:p>
            <a:pPr algn="ctr"/>
            <a:r>
              <a:rPr lang="en-US" sz="1000" b="1" i="1" dirty="0">
                <a:solidFill>
                  <a:schemeClr val="accent1"/>
                </a:solidFill>
              </a:rPr>
              <a:t>0.61</a:t>
            </a:r>
            <a:r>
              <a:rPr lang="el-GR" sz="1000" b="1" i="1" dirty="0">
                <a:solidFill>
                  <a:schemeClr val="accent1"/>
                </a:solidFill>
              </a:rPr>
              <a:t>€</a:t>
            </a:r>
            <a:endParaRPr lang="en-US" sz="1000" b="1" i="1" dirty="0">
              <a:solidFill>
                <a:schemeClr val="accent1"/>
              </a:solidFill>
            </a:endParaRPr>
          </a:p>
        </p:txBody>
      </p:sp>
      <p:sp>
        <p:nvSpPr>
          <p:cNvPr id="106" name="Rounded Rectangle 143">
            <a:extLst>
              <a:ext uri="{FF2B5EF4-FFF2-40B4-BE49-F238E27FC236}">
                <a16:creationId xmlns:a16="http://schemas.microsoft.com/office/drawing/2014/main" id="{00F63A00-B32D-45C5-9B50-8D4A5F7166D2}"/>
              </a:ext>
            </a:extLst>
          </p:cNvPr>
          <p:cNvSpPr>
            <a:spLocks/>
          </p:cNvSpPr>
          <p:nvPr/>
        </p:nvSpPr>
        <p:spPr bwMode="auto">
          <a:xfrm>
            <a:off x="10031654" y="2224087"/>
            <a:ext cx="983411" cy="521148"/>
          </a:xfrm>
          <a:prstGeom prst="roundRect">
            <a:avLst/>
          </a:prstGeom>
          <a:noFill/>
          <a:ln w="12700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i="1" dirty="0"/>
              <a:t>Off-patent:</a:t>
            </a:r>
          </a:p>
          <a:p>
            <a:pPr algn="ctr"/>
            <a:r>
              <a:rPr lang="en-US" sz="1000" b="1" i="1" dirty="0"/>
              <a:t>Price per SU</a:t>
            </a:r>
            <a:endParaRPr lang="el-GR" sz="1000" b="1" i="1" dirty="0"/>
          </a:p>
          <a:p>
            <a:pPr algn="ctr"/>
            <a:r>
              <a:rPr lang="en-US" sz="1000" b="1" i="1" dirty="0">
                <a:solidFill>
                  <a:schemeClr val="accent1"/>
                </a:solidFill>
              </a:rPr>
              <a:t>0.37</a:t>
            </a:r>
            <a:r>
              <a:rPr lang="el-GR" sz="1000" b="1" i="1" dirty="0">
                <a:solidFill>
                  <a:schemeClr val="accent1"/>
                </a:solidFill>
              </a:rPr>
              <a:t>€</a:t>
            </a:r>
            <a:endParaRPr lang="en-US" sz="1000" b="1" i="1" dirty="0">
              <a:solidFill>
                <a:schemeClr val="accent1"/>
              </a:solidFill>
            </a:endParaRP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F0D94A86-5E28-4C31-915E-73CED67E7121}"/>
              </a:ext>
            </a:extLst>
          </p:cNvPr>
          <p:cNvCxnSpPr>
            <a:cxnSpLocks/>
          </p:cNvCxnSpPr>
          <p:nvPr/>
        </p:nvCxnSpPr>
        <p:spPr bwMode="auto">
          <a:xfrm>
            <a:off x="8463108" y="2217738"/>
            <a:ext cx="0" cy="3151216"/>
          </a:xfrm>
          <a:prstGeom prst="line">
            <a:avLst/>
          </a:prstGeom>
          <a:noFill/>
          <a:ln w="19050" cap="flat" cmpd="sng" algn="ctr">
            <a:solidFill>
              <a:srgbClr val="00518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3C2F01DC-CB98-4E17-BFA7-FDEA6A4B30E7}"/>
              </a:ext>
            </a:extLst>
          </p:cNvPr>
          <p:cNvCxnSpPr>
            <a:cxnSpLocks/>
          </p:cNvCxnSpPr>
          <p:nvPr/>
        </p:nvCxnSpPr>
        <p:spPr bwMode="auto">
          <a:xfrm>
            <a:off x="3196686" y="2217738"/>
            <a:ext cx="0" cy="3142827"/>
          </a:xfrm>
          <a:prstGeom prst="line">
            <a:avLst/>
          </a:prstGeom>
          <a:noFill/>
          <a:ln w="19050" cap="flat" cmpd="sng" algn="ctr">
            <a:solidFill>
              <a:srgbClr val="00518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B1B88C3F-C1FB-4318-AEF3-0D1490FD8476}"/>
              </a:ext>
            </a:extLst>
          </p:cNvPr>
          <p:cNvCxnSpPr>
            <a:cxnSpLocks/>
          </p:cNvCxnSpPr>
          <p:nvPr/>
        </p:nvCxnSpPr>
        <p:spPr bwMode="auto">
          <a:xfrm>
            <a:off x="5543303" y="2217738"/>
            <a:ext cx="0" cy="3159605"/>
          </a:xfrm>
          <a:prstGeom prst="line">
            <a:avLst/>
          </a:prstGeom>
          <a:noFill/>
          <a:ln w="19050" cap="flat" cmpd="sng" algn="ctr">
            <a:solidFill>
              <a:srgbClr val="00518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114" name="Picture 4" descr="C:\Users\KMastorakis\Desktop\IRELAND.jpg">
            <a:extLst>
              <a:ext uri="{FF2B5EF4-FFF2-40B4-BE49-F238E27FC236}">
                <a16:creationId xmlns:a16="http://schemas.microsoft.com/office/drawing/2014/main" id="{285C7023-FB28-4B62-B590-95DF47B7FF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7" cstate="print"/>
          <a:srcRect/>
          <a:stretch>
            <a:fillRect/>
          </a:stretch>
        </p:blipFill>
        <p:spPr bwMode="auto">
          <a:xfrm>
            <a:off x="8619254" y="4933950"/>
            <a:ext cx="288000" cy="288000"/>
          </a:xfrm>
          <a:prstGeom prst="rect">
            <a:avLst/>
          </a:prstGeom>
        </p:spPr>
      </p:pic>
      <p:pic>
        <p:nvPicPr>
          <p:cNvPr id="115" name="Picture 114" descr="Italy.jpg">
            <a:extLst>
              <a:ext uri="{FF2B5EF4-FFF2-40B4-BE49-F238E27FC236}">
                <a16:creationId xmlns:a16="http://schemas.microsoft.com/office/drawing/2014/main" id="{50A7F559-BD1D-4D6D-9317-DC6EFC3FE04E}"/>
              </a:ext>
            </a:extLst>
          </p:cNvPr>
          <p:cNvPicPr>
            <a:picLocks noChangeAspect="1"/>
          </p:cNvPicPr>
          <p:nvPr/>
        </p:nvPicPr>
        <p:blipFill>
          <a:blip r:embed="rId58" cstate="print"/>
          <a:stretch>
            <a:fillRect/>
          </a:stretch>
        </p:blipFill>
        <p:spPr>
          <a:xfrm>
            <a:off x="1549189" y="4933950"/>
            <a:ext cx="288000" cy="288000"/>
          </a:xfrm>
          <a:prstGeom prst="rect">
            <a:avLst/>
          </a:prstGeom>
        </p:spPr>
      </p:pic>
      <p:pic>
        <p:nvPicPr>
          <p:cNvPr id="116" name="Picture 115" descr="Portugal.jpg">
            <a:extLst>
              <a:ext uri="{FF2B5EF4-FFF2-40B4-BE49-F238E27FC236}">
                <a16:creationId xmlns:a16="http://schemas.microsoft.com/office/drawing/2014/main" id="{8C78481F-C11E-4354-82DF-049D19ECC75E}"/>
              </a:ext>
            </a:extLst>
          </p:cNvPr>
          <p:cNvPicPr>
            <a:picLocks noChangeAspect="1"/>
          </p:cNvPicPr>
          <p:nvPr/>
        </p:nvPicPr>
        <p:blipFill>
          <a:blip r:embed="rId59" cstate="print"/>
          <a:stretch>
            <a:fillRect/>
          </a:stretch>
        </p:blipFill>
        <p:spPr>
          <a:xfrm>
            <a:off x="2138370" y="4933950"/>
            <a:ext cx="288000" cy="288000"/>
          </a:xfrm>
          <a:prstGeom prst="rect">
            <a:avLst/>
          </a:prstGeom>
        </p:spPr>
      </p:pic>
      <p:pic>
        <p:nvPicPr>
          <p:cNvPr id="117" name="Picture 116" descr="Spain.jpg">
            <a:extLst>
              <a:ext uri="{FF2B5EF4-FFF2-40B4-BE49-F238E27FC236}">
                <a16:creationId xmlns:a16="http://schemas.microsoft.com/office/drawing/2014/main" id="{F1FC8153-CBC6-4ADE-BB78-E8220A5E4566}"/>
              </a:ext>
            </a:extLst>
          </p:cNvPr>
          <p:cNvPicPr>
            <a:picLocks noChangeAspect="1"/>
          </p:cNvPicPr>
          <p:nvPr/>
        </p:nvPicPr>
        <p:blipFill>
          <a:blip r:embed="rId60" cstate="print"/>
          <a:stretch>
            <a:fillRect/>
          </a:stretch>
        </p:blipFill>
        <p:spPr>
          <a:xfrm>
            <a:off x="2727551" y="4933950"/>
            <a:ext cx="291113" cy="288000"/>
          </a:xfrm>
          <a:prstGeom prst="rect">
            <a:avLst/>
          </a:prstGeom>
        </p:spPr>
      </p:pic>
      <p:pic>
        <p:nvPicPr>
          <p:cNvPr id="118" name="Picture 117" descr="Austria.jpg">
            <a:extLst>
              <a:ext uri="{FF2B5EF4-FFF2-40B4-BE49-F238E27FC236}">
                <a16:creationId xmlns:a16="http://schemas.microsoft.com/office/drawing/2014/main" id="{9395EDA2-54E9-4D81-BC4A-9C1A3785EFBB}"/>
              </a:ext>
            </a:extLst>
          </p:cNvPr>
          <p:cNvPicPr>
            <a:picLocks noChangeAspect="1"/>
          </p:cNvPicPr>
          <p:nvPr/>
        </p:nvPicPr>
        <p:blipFill>
          <a:blip r:embed="rId61" cstate="print"/>
          <a:stretch>
            <a:fillRect/>
          </a:stretch>
        </p:blipFill>
        <p:spPr>
          <a:xfrm>
            <a:off x="5673349" y="4933950"/>
            <a:ext cx="288000" cy="288000"/>
          </a:xfrm>
          <a:prstGeom prst="rect">
            <a:avLst/>
          </a:prstGeom>
        </p:spPr>
      </p:pic>
      <p:pic>
        <p:nvPicPr>
          <p:cNvPr id="119" name="Picture 118" descr="Belgium.jpg">
            <a:extLst>
              <a:ext uri="{FF2B5EF4-FFF2-40B4-BE49-F238E27FC236}">
                <a16:creationId xmlns:a16="http://schemas.microsoft.com/office/drawing/2014/main" id="{5B44BFAE-E928-411B-B19A-42901EBF34A1}"/>
              </a:ext>
            </a:extLst>
          </p:cNvPr>
          <p:cNvPicPr>
            <a:picLocks noChangeAspect="1"/>
          </p:cNvPicPr>
          <p:nvPr/>
        </p:nvPicPr>
        <p:blipFill>
          <a:blip r:embed="rId62" cstate="print"/>
          <a:stretch>
            <a:fillRect/>
          </a:stretch>
        </p:blipFill>
        <p:spPr>
          <a:xfrm>
            <a:off x="6262530" y="4933950"/>
            <a:ext cx="288000" cy="288000"/>
          </a:xfrm>
          <a:prstGeom prst="rect">
            <a:avLst/>
          </a:prstGeom>
        </p:spPr>
      </p:pic>
      <p:pic>
        <p:nvPicPr>
          <p:cNvPr id="121" name="Picture 120" descr="France.jpg">
            <a:extLst>
              <a:ext uri="{FF2B5EF4-FFF2-40B4-BE49-F238E27FC236}">
                <a16:creationId xmlns:a16="http://schemas.microsoft.com/office/drawing/2014/main" id="{3957B283-F369-4486-9DFA-7183633F958D}"/>
              </a:ext>
            </a:extLst>
          </p:cNvPr>
          <p:cNvPicPr>
            <a:picLocks noChangeAspect="1"/>
          </p:cNvPicPr>
          <p:nvPr/>
        </p:nvPicPr>
        <p:blipFill>
          <a:blip r:embed="rId63" cstate="print"/>
          <a:stretch>
            <a:fillRect/>
          </a:stretch>
        </p:blipFill>
        <p:spPr>
          <a:xfrm>
            <a:off x="6851711" y="4933950"/>
            <a:ext cx="288000" cy="288000"/>
          </a:xfrm>
          <a:prstGeom prst="rect">
            <a:avLst/>
          </a:prstGeom>
        </p:spPr>
      </p:pic>
      <p:pic>
        <p:nvPicPr>
          <p:cNvPr id="123" name="Picture 122" descr="Germany.jpg">
            <a:extLst>
              <a:ext uri="{FF2B5EF4-FFF2-40B4-BE49-F238E27FC236}">
                <a16:creationId xmlns:a16="http://schemas.microsoft.com/office/drawing/2014/main" id="{1AC82DE9-7675-4AEA-8372-C4E9D1708D06}"/>
              </a:ext>
            </a:extLst>
          </p:cNvPr>
          <p:cNvPicPr>
            <a:picLocks noChangeAspect="1"/>
          </p:cNvPicPr>
          <p:nvPr/>
        </p:nvPicPr>
        <p:blipFill>
          <a:blip r:embed="rId64" cstate="print"/>
          <a:stretch>
            <a:fillRect/>
          </a:stretch>
        </p:blipFill>
        <p:spPr>
          <a:xfrm>
            <a:off x="7440892" y="4933950"/>
            <a:ext cx="288000" cy="288000"/>
          </a:xfrm>
          <a:prstGeom prst="rect">
            <a:avLst/>
          </a:prstGeom>
        </p:spPr>
      </p:pic>
      <p:pic>
        <p:nvPicPr>
          <p:cNvPr id="124" name="Picture 123" descr="Netherlands.jpg">
            <a:extLst>
              <a:ext uri="{FF2B5EF4-FFF2-40B4-BE49-F238E27FC236}">
                <a16:creationId xmlns:a16="http://schemas.microsoft.com/office/drawing/2014/main" id="{2CC7480C-13DA-4091-BC52-DDBA582BADB9}"/>
              </a:ext>
            </a:extLst>
          </p:cNvPr>
          <p:cNvPicPr>
            <a:picLocks noChangeAspect="1"/>
          </p:cNvPicPr>
          <p:nvPr/>
        </p:nvPicPr>
        <p:blipFill>
          <a:blip r:embed="rId65" cstate="print"/>
          <a:stretch>
            <a:fillRect/>
          </a:stretch>
        </p:blipFill>
        <p:spPr>
          <a:xfrm>
            <a:off x="8030073" y="4933950"/>
            <a:ext cx="288000" cy="288000"/>
          </a:xfrm>
          <a:prstGeom prst="rect">
            <a:avLst/>
          </a:prstGeom>
        </p:spPr>
      </p:pic>
      <p:pic>
        <p:nvPicPr>
          <p:cNvPr id="127" name="Picture 7" descr="C:\Users\KMastorakis\Desktop\UK.jpg">
            <a:extLst>
              <a:ext uri="{FF2B5EF4-FFF2-40B4-BE49-F238E27FC236}">
                <a16:creationId xmlns:a16="http://schemas.microsoft.com/office/drawing/2014/main" id="{418964E2-47DE-45B6-8528-BECC2ACDB8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6" cstate="print"/>
          <a:srcRect/>
          <a:stretch>
            <a:fillRect/>
          </a:stretch>
        </p:blipFill>
        <p:spPr bwMode="auto">
          <a:xfrm>
            <a:off x="9208435" y="4933950"/>
            <a:ext cx="288000" cy="288000"/>
          </a:xfrm>
          <a:prstGeom prst="rect">
            <a:avLst/>
          </a:prstGeom>
          <a:noFill/>
        </p:spPr>
      </p:pic>
      <p:pic>
        <p:nvPicPr>
          <p:cNvPr id="128" name="Picture 8" descr="C:\Users\KMastorakis\Desktop\FINLAND.jpg">
            <a:extLst>
              <a:ext uri="{FF2B5EF4-FFF2-40B4-BE49-F238E27FC236}">
                <a16:creationId xmlns:a16="http://schemas.microsoft.com/office/drawing/2014/main" id="{1374FA67-DFD9-444E-8873-414FCD3479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7" cstate="print"/>
          <a:srcRect/>
          <a:stretch>
            <a:fillRect/>
          </a:stretch>
        </p:blipFill>
        <p:spPr bwMode="auto">
          <a:xfrm>
            <a:off x="9797616" y="4933950"/>
            <a:ext cx="288000" cy="288000"/>
          </a:xfrm>
          <a:prstGeom prst="rect">
            <a:avLst/>
          </a:prstGeom>
          <a:noFill/>
        </p:spPr>
      </p:pic>
      <p:pic>
        <p:nvPicPr>
          <p:cNvPr id="129" name="Picture 9" descr="C:\Users\KMastorakis\Desktop\NORWAY.jpg">
            <a:extLst>
              <a:ext uri="{FF2B5EF4-FFF2-40B4-BE49-F238E27FC236}">
                <a16:creationId xmlns:a16="http://schemas.microsoft.com/office/drawing/2014/main" id="{32197974-7AE6-41EA-8F17-3FC0B0F3DA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8" cstate="print"/>
          <a:srcRect/>
          <a:stretch>
            <a:fillRect/>
          </a:stretch>
        </p:blipFill>
        <p:spPr bwMode="auto">
          <a:xfrm>
            <a:off x="10386797" y="4933950"/>
            <a:ext cx="288000" cy="288000"/>
          </a:xfrm>
          <a:prstGeom prst="rect">
            <a:avLst/>
          </a:prstGeom>
          <a:noFill/>
        </p:spPr>
      </p:pic>
      <p:pic>
        <p:nvPicPr>
          <p:cNvPr id="130" name="Picture 129" descr="Sweden.jpg">
            <a:extLst>
              <a:ext uri="{FF2B5EF4-FFF2-40B4-BE49-F238E27FC236}">
                <a16:creationId xmlns:a16="http://schemas.microsoft.com/office/drawing/2014/main" id="{61CC7DDD-A960-4E10-8E7B-27233AA2A68F}"/>
              </a:ext>
            </a:extLst>
          </p:cNvPr>
          <p:cNvPicPr>
            <a:picLocks noChangeAspect="1"/>
          </p:cNvPicPr>
          <p:nvPr/>
        </p:nvPicPr>
        <p:blipFill>
          <a:blip r:embed="rId69" cstate="print"/>
          <a:stretch>
            <a:fillRect/>
          </a:stretch>
        </p:blipFill>
        <p:spPr>
          <a:xfrm>
            <a:off x="10975984" y="4933950"/>
            <a:ext cx="288000" cy="288000"/>
          </a:xfrm>
          <a:prstGeom prst="rect">
            <a:avLst/>
          </a:prstGeom>
        </p:spPr>
      </p:pic>
      <p:pic>
        <p:nvPicPr>
          <p:cNvPr id="135" name="Picture 134" descr="Czech republic.jpg">
            <a:extLst>
              <a:ext uri="{FF2B5EF4-FFF2-40B4-BE49-F238E27FC236}">
                <a16:creationId xmlns:a16="http://schemas.microsoft.com/office/drawing/2014/main" id="{06682A6B-D5CD-43E0-B553-2AE4F3CF5154}"/>
              </a:ext>
            </a:extLst>
          </p:cNvPr>
          <p:cNvPicPr>
            <a:picLocks noChangeAspect="1"/>
          </p:cNvPicPr>
          <p:nvPr/>
        </p:nvPicPr>
        <p:blipFill>
          <a:blip r:embed="rId70" cstate="print"/>
          <a:stretch>
            <a:fillRect/>
          </a:stretch>
        </p:blipFill>
        <p:spPr>
          <a:xfrm>
            <a:off x="3319845" y="4933950"/>
            <a:ext cx="284780" cy="288000"/>
          </a:xfrm>
          <a:prstGeom prst="rect">
            <a:avLst/>
          </a:prstGeom>
        </p:spPr>
      </p:pic>
      <p:pic>
        <p:nvPicPr>
          <p:cNvPr id="140" name="Picture 139" descr="Hungary.jpg">
            <a:extLst>
              <a:ext uri="{FF2B5EF4-FFF2-40B4-BE49-F238E27FC236}">
                <a16:creationId xmlns:a16="http://schemas.microsoft.com/office/drawing/2014/main" id="{67E546BE-A832-4F44-B317-66E8E7E5827D}"/>
              </a:ext>
            </a:extLst>
          </p:cNvPr>
          <p:cNvPicPr>
            <a:picLocks noChangeAspect="1"/>
          </p:cNvPicPr>
          <p:nvPr/>
        </p:nvPicPr>
        <p:blipFill>
          <a:blip r:embed="rId71" cstate="print"/>
          <a:stretch>
            <a:fillRect/>
          </a:stretch>
        </p:blipFill>
        <p:spPr>
          <a:xfrm>
            <a:off x="3905806" y="4933950"/>
            <a:ext cx="288000" cy="289552"/>
          </a:xfrm>
          <a:prstGeom prst="rect">
            <a:avLst/>
          </a:prstGeom>
        </p:spPr>
      </p:pic>
      <p:pic>
        <p:nvPicPr>
          <p:cNvPr id="141" name="Picture 11" descr="https://encrypted-tbn1.gstatic.com/images?q=tbn:ANd9GcTONKpwE8WEyeUCYX7ekfahvZ3m-YAZSoMksyBgT4ieMShN0GKY">
            <a:extLst>
              <a:ext uri="{FF2B5EF4-FFF2-40B4-BE49-F238E27FC236}">
                <a16:creationId xmlns:a16="http://schemas.microsoft.com/office/drawing/2014/main" id="{6790808E-AE5A-45F6-983F-CE1B281445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2" cstate="print"/>
          <a:srcRect/>
          <a:stretch>
            <a:fillRect/>
          </a:stretch>
        </p:blipFill>
        <p:spPr bwMode="auto">
          <a:xfrm>
            <a:off x="4494987" y="4933950"/>
            <a:ext cx="288000" cy="288000"/>
          </a:xfrm>
          <a:prstGeom prst="rect">
            <a:avLst/>
          </a:prstGeom>
          <a:noFill/>
        </p:spPr>
      </p:pic>
      <p:pic>
        <p:nvPicPr>
          <p:cNvPr id="145" name="Picture 13" descr="http://www.veryicon.com/icon/png/Flag/Rounded%20World%20Flags/Slovakia%20Flag.png">
            <a:extLst>
              <a:ext uri="{FF2B5EF4-FFF2-40B4-BE49-F238E27FC236}">
                <a16:creationId xmlns:a16="http://schemas.microsoft.com/office/drawing/2014/main" id="{C62E5393-E74D-45DF-B949-33403EFE4E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3" cstate="print"/>
          <a:srcRect/>
          <a:stretch>
            <a:fillRect/>
          </a:stretch>
        </p:blipFill>
        <p:spPr bwMode="auto">
          <a:xfrm>
            <a:off x="5084168" y="4933950"/>
            <a:ext cx="288000" cy="288000"/>
          </a:xfrm>
          <a:prstGeom prst="rect">
            <a:avLst/>
          </a:prstGeom>
          <a:noFill/>
        </p:spPr>
      </p:pic>
      <p:cxnSp>
        <p:nvCxnSpPr>
          <p:cNvPr id="147" name="Straight Arrow Connector 146">
            <a:extLst>
              <a:ext uri="{FF2B5EF4-FFF2-40B4-BE49-F238E27FC236}">
                <a16:creationId xmlns:a16="http://schemas.microsoft.com/office/drawing/2014/main" id="{9C94B1EA-3665-4477-A641-B39784FB46C7}"/>
              </a:ext>
            </a:extLst>
          </p:cNvPr>
          <p:cNvCxnSpPr>
            <a:cxnSpLocks/>
          </p:cNvCxnSpPr>
          <p:nvPr/>
        </p:nvCxnSpPr>
        <p:spPr bwMode="auto">
          <a:xfrm>
            <a:off x="830262" y="5319712"/>
            <a:ext cx="2307221" cy="0"/>
          </a:xfrm>
          <a:prstGeom prst="straightConnector1">
            <a:avLst/>
          </a:prstGeom>
          <a:noFill/>
          <a:ln w="25400" cap="flat" cmpd="sng" algn="ctr">
            <a:solidFill>
              <a:srgbClr val="005187"/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148" name="Straight Arrow Connector 147">
            <a:extLst>
              <a:ext uri="{FF2B5EF4-FFF2-40B4-BE49-F238E27FC236}">
                <a16:creationId xmlns:a16="http://schemas.microsoft.com/office/drawing/2014/main" id="{C2D0E993-5C87-4951-BAB3-6A25965CE32A}"/>
              </a:ext>
            </a:extLst>
          </p:cNvPr>
          <p:cNvCxnSpPr>
            <a:cxnSpLocks/>
          </p:cNvCxnSpPr>
          <p:nvPr/>
        </p:nvCxnSpPr>
        <p:spPr bwMode="auto">
          <a:xfrm>
            <a:off x="3238150" y="5319712"/>
            <a:ext cx="2256639" cy="0"/>
          </a:xfrm>
          <a:prstGeom prst="straightConnector1">
            <a:avLst/>
          </a:prstGeom>
          <a:noFill/>
          <a:ln w="25400" cap="flat" cmpd="sng" algn="ctr">
            <a:solidFill>
              <a:srgbClr val="005187"/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149" name="Straight Arrow Connector 148">
            <a:extLst>
              <a:ext uri="{FF2B5EF4-FFF2-40B4-BE49-F238E27FC236}">
                <a16:creationId xmlns:a16="http://schemas.microsoft.com/office/drawing/2014/main" id="{65C5A0FD-6111-4CF0-B5DD-4AF3DDF3621D}"/>
              </a:ext>
            </a:extLst>
          </p:cNvPr>
          <p:cNvCxnSpPr>
            <a:cxnSpLocks/>
          </p:cNvCxnSpPr>
          <p:nvPr/>
        </p:nvCxnSpPr>
        <p:spPr bwMode="auto">
          <a:xfrm>
            <a:off x="5587068" y="5319712"/>
            <a:ext cx="2827090" cy="0"/>
          </a:xfrm>
          <a:prstGeom prst="straightConnector1">
            <a:avLst/>
          </a:prstGeom>
          <a:noFill/>
          <a:ln w="25400" cap="flat" cmpd="sng" algn="ctr">
            <a:solidFill>
              <a:srgbClr val="005187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150" name="Rounded Rectangle 130">
            <a:extLst>
              <a:ext uri="{FF2B5EF4-FFF2-40B4-BE49-F238E27FC236}">
                <a16:creationId xmlns:a16="http://schemas.microsoft.com/office/drawing/2014/main" id="{1A104733-84DB-4981-BCA2-58E5B800C6E7}"/>
              </a:ext>
            </a:extLst>
          </p:cNvPr>
          <p:cNvSpPr/>
          <p:nvPr/>
        </p:nvSpPr>
        <p:spPr bwMode="auto">
          <a:xfrm>
            <a:off x="820738" y="5402262"/>
            <a:ext cx="2375468" cy="360000"/>
          </a:xfrm>
          <a:prstGeom prst="roundRect">
            <a:avLst/>
          </a:prstGeom>
          <a:noFill/>
          <a:ln w="9525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200" b="1" i="1" dirty="0"/>
              <a:t>PIIGS</a:t>
            </a:r>
            <a:endParaRPr lang="en-US" sz="1200" b="1" i="1" dirty="0"/>
          </a:p>
        </p:txBody>
      </p:sp>
      <p:sp>
        <p:nvSpPr>
          <p:cNvPr id="151" name="Rounded Rectangle 131">
            <a:extLst>
              <a:ext uri="{FF2B5EF4-FFF2-40B4-BE49-F238E27FC236}">
                <a16:creationId xmlns:a16="http://schemas.microsoft.com/office/drawing/2014/main" id="{14C0A25D-A876-4307-A163-AE24827D6CE1}"/>
              </a:ext>
            </a:extLst>
          </p:cNvPr>
          <p:cNvSpPr/>
          <p:nvPr/>
        </p:nvSpPr>
        <p:spPr bwMode="auto">
          <a:xfrm>
            <a:off x="5561902" y="5402262"/>
            <a:ext cx="2885812" cy="360000"/>
          </a:xfrm>
          <a:prstGeom prst="roundRect">
            <a:avLst/>
          </a:prstGeom>
          <a:noFill/>
          <a:ln w="9525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l-GR" sz="1200" b="1" i="1" dirty="0"/>
              <a:t>Ε</a:t>
            </a:r>
            <a:r>
              <a:rPr lang="en-US" sz="1200" b="1" i="1" dirty="0"/>
              <a:t>U Core</a:t>
            </a:r>
            <a:endParaRPr lang="en-US" sz="1200" b="1" i="1" baseline="30000" dirty="0"/>
          </a:p>
        </p:txBody>
      </p:sp>
      <p:sp>
        <p:nvSpPr>
          <p:cNvPr id="152" name="Rounded Rectangle 132">
            <a:extLst>
              <a:ext uri="{FF2B5EF4-FFF2-40B4-BE49-F238E27FC236}">
                <a16:creationId xmlns:a16="http://schemas.microsoft.com/office/drawing/2014/main" id="{0CDD3EBC-9A64-49E5-9B6E-C4D0212330B8}"/>
              </a:ext>
            </a:extLst>
          </p:cNvPr>
          <p:cNvSpPr/>
          <p:nvPr/>
        </p:nvSpPr>
        <p:spPr bwMode="auto">
          <a:xfrm>
            <a:off x="9647339" y="5401750"/>
            <a:ext cx="1811090" cy="360000"/>
          </a:xfrm>
          <a:prstGeom prst="roundRect">
            <a:avLst/>
          </a:prstGeom>
          <a:noFill/>
          <a:ln w="9525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200" b="1" i="1" dirty="0"/>
              <a:t>Nordics</a:t>
            </a:r>
            <a:endParaRPr lang="en-US" sz="1200" b="1" i="1" baseline="30000" dirty="0"/>
          </a:p>
        </p:txBody>
      </p:sp>
      <p:sp>
        <p:nvSpPr>
          <p:cNvPr id="153" name="Rounded Rectangle 133">
            <a:extLst>
              <a:ext uri="{FF2B5EF4-FFF2-40B4-BE49-F238E27FC236}">
                <a16:creationId xmlns:a16="http://schemas.microsoft.com/office/drawing/2014/main" id="{E9DCD04B-AFF2-4DFD-9A06-CE1B60B8DDF7}"/>
              </a:ext>
            </a:extLst>
          </p:cNvPr>
          <p:cNvSpPr/>
          <p:nvPr/>
        </p:nvSpPr>
        <p:spPr bwMode="auto">
          <a:xfrm>
            <a:off x="3212983" y="5402262"/>
            <a:ext cx="2332140" cy="360000"/>
          </a:xfrm>
          <a:prstGeom prst="roundRect">
            <a:avLst/>
          </a:prstGeom>
          <a:noFill/>
          <a:ln w="9525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200" b="1" i="1" dirty="0"/>
              <a:t>Eastern Europe</a:t>
            </a:r>
            <a:endParaRPr lang="en-US" sz="1200" b="1" i="1" baseline="30000" dirty="0"/>
          </a:p>
        </p:txBody>
      </p:sp>
      <p:cxnSp>
        <p:nvCxnSpPr>
          <p:cNvPr id="154" name="Straight Arrow Connector 153">
            <a:extLst>
              <a:ext uri="{FF2B5EF4-FFF2-40B4-BE49-F238E27FC236}">
                <a16:creationId xmlns:a16="http://schemas.microsoft.com/office/drawing/2014/main" id="{ED9F74BB-DBA6-42E7-ADAC-DE2956342106}"/>
              </a:ext>
            </a:extLst>
          </p:cNvPr>
          <p:cNvCxnSpPr>
            <a:cxnSpLocks/>
          </p:cNvCxnSpPr>
          <p:nvPr/>
        </p:nvCxnSpPr>
        <p:spPr bwMode="auto">
          <a:xfrm>
            <a:off x="9664117" y="5319712"/>
            <a:ext cx="1734134" cy="0"/>
          </a:xfrm>
          <a:prstGeom prst="straightConnector1">
            <a:avLst/>
          </a:prstGeom>
          <a:noFill/>
          <a:ln w="25400" cap="flat" cmpd="sng" algn="ctr">
            <a:solidFill>
              <a:srgbClr val="005187"/>
            </a:solidFill>
            <a:prstDash val="solid"/>
            <a:round/>
            <a:headEnd type="arrow"/>
            <a:tailEnd type="arrow"/>
          </a:ln>
          <a:effectLst/>
        </p:spPr>
      </p:cxnSp>
      <p:pic>
        <p:nvPicPr>
          <p:cNvPr id="155" name="Picture 154" descr="Greece.png">
            <a:extLst>
              <a:ext uri="{FF2B5EF4-FFF2-40B4-BE49-F238E27FC236}">
                <a16:creationId xmlns:a16="http://schemas.microsoft.com/office/drawing/2014/main" id="{80A18E47-1043-40EC-8F94-70FD86FBD29D}"/>
              </a:ext>
            </a:extLst>
          </p:cNvPr>
          <p:cNvPicPr>
            <a:picLocks noChangeAspect="1"/>
          </p:cNvPicPr>
          <p:nvPr/>
        </p:nvPicPr>
        <p:blipFill>
          <a:blip r:embed="rId74" cstate="print"/>
          <a:stretch>
            <a:fillRect/>
          </a:stretch>
        </p:blipFill>
        <p:spPr>
          <a:xfrm>
            <a:off x="960008" y="4933950"/>
            <a:ext cx="288000" cy="288000"/>
          </a:xfrm>
          <a:prstGeom prst="rect">
            <a:avLst/>
          </a:prstGeom>
        </p:spPr>
      </p:pic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0A70A658-EEC5-42E2-866B-D26B90DB185C}"/>
              </a:ext>
            </a:extLst>
          </p:cNvPr>
          <p:cNvCxnSpPr>
            <a:cxnSpLocks/>
          </p:cNvCxnSpPr>
          <p:nvPr/>
        </p:nvCxnSpPr>
        <p:spPr bwMode="auto">
          <a:xfrm>
            <a:off x="9622186" y="2217738"/>
            <a:ext cx="0" cy="3176383"/>
          </a:xfrm>
          <a:prstGeom prst="line">
            <a:avLst/>
          </a:prstGeom>
          <a:noFill/>
          <a:ln w="19050" cap="flat" cmpd="sng" algn="ctr">
            <a:solidFill>
              <a:srgbClr val="00518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7" name="Straight Arrow Connector 156">
            <a:extLst>
              <a:ext uri="{FF2B5EF4-FFF2-40B4-BE49-F238E27FC236}">
                <a16:creationId xmlns:a16="http://schemas.microsoft.com/office/drawing/2014/main" id="{455F9482-2C71-4E2F-A230-035689B0DDC8}"/>
              </a:ext>
            </a:extLst>
          </p:cNvPr>
          <p:cNvCxnSpPr>
            <a:cxnSpLocks/>
          </p:cNvCxnSpPr>
          <p:nvPr/>
        </p:nvCxnSpPr>
        <p:spPr bwMode="auto">
          <a:xfrm>
            <a:off x="8498048" y="5319712"/>
            <a:ext cx="1098958" cy="0"/>
          </a:xfrm>
          <a:prstGeom prst="straightConnector1">
            <a:avLst/>
          </a:prstGeom>
          <a:noFill/>
          <a:ln w="25400" cap="flat" cmpd="sng" algn="ctr">
            <a:solidFill>
              <a:srgbClr val="005187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158" name="Rounded Rectangle 132">
            <a:extLst>
              <a:ext uri="{FF2B5EF4-FFF2-40B4-BE49-F238E27FC236}">
                <a16:creationId xmlns:a16="http://schemas.microsoft.com/office/drawing/2014/main" id="{A65B16CA-9637-4426-9F6C-C64BC723F626}"/>
              </a:ext>
            </a:extLst>
          </p:cNvPr>
          <p:cNvSpPr/>
          <p:nvPr/>
        </p:nvSpPr>
        <p:spPr bwMode="auto">
          <a:xfrm>
            <a:off x="8472881" y="5401750"/>
            <a:ext cx="1157679" cy="360000"/>
          </a:xfrm>
          <a:prstGeom prst="roundRect">
            <a:avLst/>
          </a:prstGeom>
          <a:noFill/>
          <a:ln w="9525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i="1" dirty="0"/>
              <a:t>IE-UK</a:t>
            </a:r>
            <a:endParaRPr lang="en-US" sz="1200" b="1" i="1" baseline="30000" dirty="0"/>
          </a:p>
        </p:txBody>
      </p:sp>
      <p:sp>
        <p:nvSpPr>
          <p:cNvPr id="159" name="Rounded Rectangle 143">
            <a:extLst>
              <a:ext uri="{FF2B5EF4-FFF2-40B4-BE49-F238E27FC236}">
                <a16:creationId xmlns:a16="http://schemas.microsoft.com/office/drawing/2014/main" id="{C4259ABF-5490-4737-9201-CDE603D1DE62}"/>
              </a:ext>
            </a:extLst>
          </p:cNvPr>
          <p:cNvSpPr>
            <a:spLocks/>
          </p:cNvSpPr>
          <p:nvPr/>
        </p:nvSpPr>
        <p:spPr bwMode="auto">
          <a:xfrm>
            <a:off x="8545641" y="2224087"/>
            <a:ext cx="983411" cy="521148"/>
          </a:xfrm>
          <a:prstGeom prst="roundRect">
            <a:avLst/>
          </a:prstGeom>
          <a:noFill/>
          <a:ln w="12700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i="1" dirty="0"/>
              <a:t>Off-patent:</a:t>
            </a:r>
          </a:p>
          <a:p>
            <a:pPr algn="ctr"/>
            <a:r>
              <a:rPr lang="en-US" sz="1000" b="1" i="1" dirty="0"/>
              <a:t>Price per SU</a:t>
            </a:r>
            <a:endParaRPr lang="el-GR" sz="1000" b="1" i="1" dirty="0"/>
          </a:p>
          <a:p>
            <a:pPr algn="ctr"/>
            <a:r>
              <a:rPr lang="en-US" sz="1000" b="1" i="1" dirty="0">
                <a:solidFill>
                  <a:schemeClr val="accent1"/>
                </a:solidFill>
              </a:rPr>
              <a:t>0.38</a:t>
            </a:r>
            <a:r>
              <a:rPr lang="el-GR" sz="1000" b="1" i="1" dirty="0">
                <a:solidFill>
                  <a:schemeClr val="accent1"/>
                </a:solidFill>
              </a:rPr>
              <a:t>€</a:t>
            </a:r>
            <a:endParaRPr lang="en-US" sz="1000" b="1" i="1" dirty="0">
              <a:solidFill>
                <a:schemeClr val="accent1"/>
              </a:solidFill>
            </a:endParaRPr>
          </a:p>
        </p:txBody>
      </p:sp>
      <p:sp>
        <p:nvSpPr>
          <p:cNvPr id="84" name="Text Placeholder 14">
            <a:extLst>
              <a:ext uri="{FF2B5EF4-FFF2-40B4-BE49-F238E27FC236}">
                <a16:creationId xmlns:a16="http://schemas.microsoft.com/office/drawing/2014/main" id="{694F57E5-071B-442A-9AF1-C2004A8AA70C}"/>
              </a:ext>
            </a:extLst>
          </p:cNvPr>
          <p:cNvSpPr txBox="1">
            <a:spLocks/>
          </p:cNvSpPr>
          <p:nvPr/>
        </p:nvSpPr>
        <p:spPr>
          <a:xfrm>
            <a:off x="477013" y="6397157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ource: IQVIA data (MAT/03/23), IQVIA analysis</a:t>
            </a:r>
          </a:p>
        </p:txBody>
      </p:sp>
    </p:spTree>
    <p:extLst>
      <p:ext uri="{BB962C8B-B14F-4D97-AF65-F5344CB8AC3E}">
        <p14:creationId xmlns:p14="http://schemas.microsoft.com/office/powerpoint/2010/main" val="2028542427"/>
      </p:ext>
    </p:extLst>
  </p:cSld>
  <p:clrMapOvr>
    <a:masterClrMapping/>
  </p:clrMapOvr>
  <p:transition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Rectangle 45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72640405"/>
              </p:ext>
            </p:ext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0" imgH="0" progId="TCLayout.ActiveDocument.1">
                  <p:embed/>
                </p:oleObj>
              </mc:Choice>
              <mc:Fallback>
                <p:oleObj name="think-cell Slide" r:id="rId46" imgW="0" imgH="0" progId="TCLayout.ActiveDocument.1">
                  <p:embed/>
                  <p:pic>
                    <p:nvPicPr>
                      <p:cNvPr id="8194" name="Rectangle 4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6" name="Rectangle 46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graphicFrame>
        <p:nvGraphicFramePr>
          <p:cNvPr id="277" name="Chart 276">
            <a:extLst>
              <a:ext uri="{FF2B5EF4-FFF2-40B4-BE49-F238E27FC236}">
                <a16:creationId xmlns:a16="http://schemas.microsoft.com/office/drawing/2014/main" id="{6B42E0F2-0A7E-A6A8-08B1-53261A45959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6732751"/>
              </p:ext>
            </p:extLst>
          </p:nvPr>
        </p:nvGraphicFramePr>
        <p:xfrm>
          <a:off x="803275" y="2422525"/>
          <a:ext cx="9323388" cy="3325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F0F1A12C-1A7F-E6BC-2A22-7727217613DE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8172450" y="5751514"/>
            <a:ext cx="4127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9790969-7443-4AC4-AA34-4B69B4BE6497}" type="datetime'''''1''''1''''0'',''''''''00''''''''''''0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10,00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E8B56F8-BC91-7BB1-3C76-1B14CE924AD2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5707063" y="5751514"/>
            <a:ext cx="3492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B904EBC-678E-4634-87E7-B16443F01D92}" type="datetime'''''''8''0'',''''''''''''''0''''''0''''''''''''0''''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0,00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FB73C1B-8EC9-DEEC-31E0-C1F7D2540C3D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711200" y="5741989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0D1CC7D-08A2-467A-8987-9DDC984D5BB5}" type="datetime'''''20,''''''''''''0''''0''''''''0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,00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1F6D2C3C-9828-360A-5495-1A99EB81C75D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9837738" y="5751514"/>
            <a:ext cx="4127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5627D0C-CC48-4642-9AEA-6CCBA909D1B6}" type="datetime'1''3''''''''''''0'''',''''''''''''''0''''''''''''''''''00'">
              <a:rPr lang="en-US" altLang="en-US" sz="9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30,000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7E74615-0D2D-31DB-25EA-223368BB180D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4873625" y="5741989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B28F7E6-1926-45B1-9FAA-43A2CD44AD0D}" type="datetime'7''''''''0'',''''''''''''00''''''''''0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0,00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197AE48-90C4-FDC5-9134-727973675FEA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6538913" y="5751514"/>
            <a:ext cx="3492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A94849C-FE25-416A-A3BB-E48A5164B00A}" type="datetime'''90'',''''''''''''''''''''''''''''''0''''''''''''00''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0,00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3C8B146-E1E8-3F99-9231-0850709FA6F0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3208338" y="5741989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4690AC4-3B74-44B7-B958-283F28BC3B43}" type="datetime'''''''''''''''50'''''''',''''0''0''''''''''''''''''''''0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0,00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487C02B-2303-9253-B5C0-10E2F617E10F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612775" y="3068638"/>
            <a:ext cx="158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E075204-2B15-4B8F-954F-EBEADA0B4D27}" type="datetime'''''''''''''''''''''''''''''''''''''''''0''''.8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.8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8D6ADC8-4198-A975-1493-EC9F3173E7FD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1543050" y="5741989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CE2A80F-4BE5-43DD-8579-D5F922509080}" type="datetime'3''''''''''''''''0'''''''''''''''',''''''''000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0,00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D86535F-81D5-384D-FCAD-391F2EEA4A10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2376488" y="5741989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0037C60-5956-4809-B4BF-2A2C8413B024}" type="datetime'''4''''0'''''',''''''''''''''''''0''0''''''''''''0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0,00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DC59B9D-AC57-59BC-6F33-98D87FF2B2EE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612775" y="4965700"/>
            <a:ext cx="158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87B8CBF-88F8-4E3D-AFE4-710812820C17}" type="datetime'0''''''''''.''''''''''''''''2''''''''''''''''''''''''''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.2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165E457-8A91-640C-D6D6-E24F924929EA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4041775" y="5741989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5F15F21-A005-4001-B93B-F4C059B76A83}" type="datetime'''''60'''''''''''''',''00''''0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0,00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2B746D2-3507-57F2-81CA-8E48D223C290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612775" y="5597526"/>
            <a:ext cx="158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88FF7F4-7A84-45F6-BAE2-DE3F70D54D9E}" type="datetime'''''''''''0''''''''''''''''''''''''''.''''''0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.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D57EAD8-D101-16D4-37B1-C405B1983661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7340600" y="5751514"/>
            <a:ext cx="4127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AAD2503-BE6C-4BFF-A2D5-10FDD8D1E516}" type="datetime'''1''''''''0''''''0'''',0''''''''''''''''0''''''''''0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0,00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CEFD8D4A-01AC-759A-59F4-7CF43B107FD9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9005888" y="5751514"/>
            <a:ext cx="4127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49CF568-8591-4260-AB27-E91C4563803C}" type="datetime'''''''''''''''''12''''''0,0''''''''0''''''''0'''''''''''">
              <a:rPr lang="en-US" altLang="en-US" sz="9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0,000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50790DB-3925-5F51-0079-F0B466A665DB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612775" y="4333875"/>
            <a:ext cx="158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66C7C69-057C-4072-B97C-9841C618504B}" type="datetime'''''''''0''''.''''''''''''4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.4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9961BF9-BEA5-4E8D-D607-FA51FB458191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612775" y="3700463"/>
            <a:ext cx="158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705CC05-1462-48AF-B0A9-2E182422DF34}" type="datetime'''''''''''''''0''''''''''''''''.''6''''''''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.6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22B39C8-2C9F-5B37-B4E4-C63C220BEEFB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612775" y="2436813"/>
            <a:ext cx="158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E46500F-FE9D-4EDA-84C7-DEE84B64CD7B}" type="datetime'''''''''''''1''''''''''''''.''''''''''''0''''''''''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FFAA2A5-3D2B-4E46-8C68-EF5CFD6D7459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gray">
          <a:xfrm flipV="1">
            <a:off x="885824" y="4086225"/>
            <a:ext cx="9158288" cy="473075"/>
          </a:xfrm>
          <a:prstGeom prst="line">
            <a:avLst/>
          </a:prstGeom>
          <a:ln w="9525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>
            <p:custDataLst>
              <p:tags r:id="rId22"/>
            </p:custDataLst>
          </p:nvPr>
        </p:nvCxnSpPr>
        <p:spPr bwMode="gray">
          <a:xfrm>
            <a:off x="885825" y="4402138"/>
            <a:ext cx="9158288" cy="0"/>
          </a:xfrm>
          <a:prstGeom prst="line">
            <a:avLst/>
          </a:prstGeom>
          <a:ln w="19050">
            <a:solidFill>
              <a:srgbClr val="364D6E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Straight Connector 284">
            <a:extLst>
              <a:ext uri="{FF2B5EF4-FFF2-40B4-BE49-F238E27FC236}">
                <a16:creationId xmlns:a16="http://schemas.microsoft.com/office/drawing/2014/main" id="{C948EB15-5460-FD75-8F66-F1A499194BA6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H="1" flipV="1">
            <a:off x="2773363" y="4906963"/>
            <a:ext cx="26988" cy="2063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205" name="Rectangle 8204">
            <a:extLst>
              <a:ext uri="{FF2B5EF4-FFF2-40B4-BE49-F238E27FC236}">
                <a16:creationId xmlns:a16="http://schemas.microsoft.com/office/drawing/2014/main" id="{CEF55C4D-D5DF-4CB6-9FF9-E6B1B7EE9911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3903663" y="4032250"/>
            <a:ext cx="16351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0BBF2CF-8E72-4C24-B39D-6E3912BCE48C}" type="datetime'''''''''''''''''''''''''''F''''R''''''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FR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07" name="Rectangle 8206">
            <a:extLst>
              <a:ext uri="{FF2B5EF4-FFF2-40B4-BE49-F238E27FC236}">
                <a16:creationId xmlns:a16="http://schemas.microsoft.com/office/drawing/2014/main" id="{07CD1FAC-1C3B-48C3-BA06-15C5C83781E2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5175250" y="4000500"/>
            <a:ext cx="1587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8BF2117-A8DC-40AF-9611-157B1FC5578D}" type="datetime'''N''L''''''''''''''''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NL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10" name="Rectangle 8209">
            <a:extLst>
              <a:ext uri="{FF2B5EF4-FFF2-40B4-BE49-F238E27FC236}">
                <a16:creationId xmlns:a16="http://schemas.microsoft.com/office/drawing/2014/main" id="{493F331B-FF6C-4AEC-8BFD-9EB00906E0B0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4246563" y="4441825"/>
            <a:ext cx="1190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3A73CF5-DFFE-4C64-A496-932225AAF71E}" type="datetime'''''''''''''''FI''''''''''''''''''''''''''''''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FI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195" name="Rectangle 8194">
            <a:extLst>
              <a:ext uri="{FF2B5EF4-FFF2-40B4-BE49-F238E27FC236}">
                <a16:creationId xmlns:a16="http://schemas.microsoft.com/office/drawing/2014/main" id="{25966587-7736-4232-9BC8-6ECD8DF1A73D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3633788" y="4695825"/>
            <a:ext cx="1190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685B416-A22D-4686-B1F8-FC5B8F97F6D8}" type="datetime'''''I''''''''''''''''T''''''''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IT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11" name="Rectangle 8210">
            <a:extLst>
              <a:ext uri="{FF2B5EF4-FFF2-40B4-BE49-F238E27FC236}">
                <a16:creationId xmlns:a16="http://schemas.microsoft.com/office/drawing/2014/main" id="{07AAC755-520D-49AD-9B72-BE5AF446A54D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7178675" y="4632325"/>
            <a:ext cx="1809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DEE57CB-0119-4598-8B36-4DA6E12A126F}" type="datetime'''''''''''''''''''''''''''N''''''''''''''''O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NO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193" name="Rectangle 8192">
            <a:extLst>
              <a:ext uri="{FF2B5EF4-FFF2-40B4-BE49-F238E27FC236}">
                <a16:creationId xmlns:a16="http://schemas.microsoft.com/office/drawing/2014/main" id="{FA37D7FF-49CC-41B6-B62A-9E1238062FC2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2228850" y="4857750"/>
            <a:ext cx="1809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BA05A33-7BA5-4F15-974B-6DFAACB00D3D}" type="datetime'''G''''''''R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GR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Rectangle 109"/>
          <p:cNvSpPr/>
          <p:nvPr>
            <p:custDataLst>
              <p:tags r:id="rId30"/>
            </p:custDataLst>
          </p:nvPr>
        </p:nvSpPr>
        <p:spPr bwMode="auto">
          <a:xfrm>
            <a:off x="561975" y="2082800"/>
            <a:ext cx="64770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Price per SU</a:t>
            </a:r>
            <a:endParaRPr lang="el-GR" sz="900" dirty="0">
              <a:latin typeface="Arial"/>
              <a:cs typeface="Arial"/>
              <a:sym typeface="Arial"/>
            </a:endParaRPr>
          </a:p>
          <a:p>
            <a:pPr algn="ctr"/>
            <a:r>
              <a:rPr lang="el-GR" sz="900" dirty="0">
                <a:latin typeface="Arial"/>
                <a:cs typeface="Arial"/>
                <a:sym typeface="Arial"/>
              </a:rPr>
              <a:t>(€/</a:t>
            </a:r>
            <a:r>
              <a:rPr lang="en-US" sz="900" dirty="0">
                <a:latin typeface="Arial"/>
                <a:cs typeface="Arial"/>
                <a:sym typeface="Arial"/>
              </a:rPr>
              <a:t>SU</a:t>
            </a:r>
            <a:r>
              <a:rPr lang="el-GR" sz="900" dirty="0">
                <a:latin typeface="Arial"/>
                <a:cs typeface="Arial"/>
                <a:sym typeface="Arial"/>
              </a:rPr>
              <a:t>)</a:t>
            </a:r>
            <a:endParaRPr lang="en-US" sz="900" dirty="0">
              <a:latin typeface="Arial"/>
              <a:cs typeface="Arial"/>
              <a:sym typeface="Arial"/>
            </a:endParaRPr>
          </a:p>
        </p:txBody>
      </p:sp>
      <p:sp>
        <p:nvSpPr>
          <p:cNvPr id="8198" name="Rectangle 8197">
            <a:extLst>
              <a:ext uri="{FF2B5EF4-FFF2-40B4-BE49-F238E27FC236}">
                <a16:creationId xmlns:a16="http://schemas.microsoft.com/office/drawing/2014/main" id="{CA08F86E-11FA-46E4-A875-FEF121BFD40C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3030538" y="4727575"/>
            <a:ext cx="1651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1AA35A5-CAB7-478D-A748-1D58873E64B3}" type="datetime'''''''E''''''''''S''''''''''''''''''''''''''''''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ES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197" name="Rectangle 8196">
            <a:extLst>
              <a:ext uri="{FF2B5EF4-FFF2-40B4-BE49-F238E27FC236}">
                <a16:creationId xmlns:a16="http://schemas.microsoft.com/office/drawing/2014/main" id="{5FD260E0-19E1-4AD0-AF99-9925BB00B85C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2541588" y="4852988"/>
            <a:ext cx="1587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CE60183-F5A6-44BC-8E96-8031555A9A8C}" type="datetime'''''''''''''''P''''''''''''T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PT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09" name="Rectangle 8208">
            <a:extLst>
              <a:ext uri="{FF2B5EF4-FFF2-40B4-BE49-F238E27FC236}">
                <a16:creationId xmlns:a16="http://schemas.microsoft.com/office/drawing/2014/main" id="{1721246D-248D-4393-9634-08D9A4B87292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3876675" y="4410075"/>
            <a:ext cx="1698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4FA4450-7B60-4970-9CA7-308F4E43B0FC}" type="datetime'''''U''''''''''''''''''K''''''''''''''''''''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UK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199" name="Rectangle 8198">
            <a:extLst>
              <a:ext uri="{FF2B5EF4-FFF2-40B4-BE49-F238E27FC236}">
                <a16:creationId xmlns:a16="http://schemas.microsoft.com/office/drawing/2014/main" id="{5DFF6020-BB02-4613-ACBC-ACF40254E88B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3298825" y="4632325"/>
            <a:ext cx="16351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230E98D-0643-40D5-BA03-84A1223CD69D}" type="datetime'''''''''''''''''''''''''''''C''''''Z''''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CZ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00" name="Rectangle 8199">
            <a:extLst>
              <a:ext uri="{FF2B5EF4-FFF2-40B4-BE49-F238E27FC236}">
                <a16:creationId xmlns:a16="http://schemas.microsoft.com/office/drawing/2014/main" id="{97584274-F386-461E-8E15-9AAD8EF246B8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2787650" y="4927600"/>
            <a:ext cx="17462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33B116D-548E-4C36-B8E2-6B7064D0BD11}" type="datetime'''''''''''''''''H''''''''''''''''''''''U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HU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6" name="Rectangle 115"/>
          <p:cNvSpPr/>
          <p:nvPr>
            <p:custDataLst>
              <p:tags r:id="rId36"/>
            </p:custDataLst>
          </p:nvPr>
        </p:nvSpPr>
        <p:spPr bwMode="auto">
          <a:xfrm>
            <a:off x="9456738" y="5959475"/>
            <a:ext cx="7937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Country’s GDP/</a:t>
            </a:r>
          </a:p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capita($)</a:t>
            </a:r>
          </a:p>
        </p:txBody>
      </p:sp>
      <p:sp>
        <p:nvSpPr>
          <p:cNvPr id="8201" name="Rectangle 8200">
            <a:extLst>
              <a:ext uri="{FF2B5EF4-FFF2-40B4-BE49-F238E27FC236}">
                <a16:creationId xmlns:a16="http://schemas.microsoft.com/office/drawing/2014/main" id="{0C614BCC-EEFD-4A3B-B0D0-1464D202A37A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2774950" y="4757738"/>
            <a:ext cx="1539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57BCEE9-1C81-49EB-8108-9AC1FBD6632C}" type="datetime'''''''''''''''''''''''''''''''''P''''''''''''''''''''''L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PL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08" name="Rectangle 8207">
            <a:extLst>
              <a:ext uri="{FF2B5EF4-FFF2-40B4-BE49-F238E27FC236}">
                <a16:creationId xmlns:a16="http://schemas.microsoft.com/office/drawing/2014/main" id="{CB004DC9-46DB-4031-B58B-DE1D28E53149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9844088" y="4289425"/>
            <a:ext cx="12541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96F4A29-9729-4AAE-8274-102A5A3A80AA}" type="datetime'''''''''''''''''''I''''''''''''''''''''''''''''''''''''E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IE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04" name="Rectangle 8203">
            <a:extLst>
              <a:ext uri="{FF2B5EF4-FFF2-40B4-BE49-F238E27FC236}">
                <a16:creationId xmlns:a16="http://schemas.microsoft.com/office/drawing/2014/main" id="{9E9E8C59-C173-4C11-9431-BC93211C305F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4746625" y="4632325"/>
            <a:ext cx="1651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4017848-4A63-454E-9CBE-13835F6B44F0}" type="datetime'''''''B''''''E''''''''''''''''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BE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06" name="Rectangle 8205">
            <a:extLst>
              <a:ext uri="{FF2B5EF4-FFF2-40B4-BE49-F238E27FC236}">
                <a16:creationId xmlns:a16="http://schemas.microsoft.com/office/drawing/2014/main" id="{8CCD5DF6-CE95-47AC-8D84-5554402B4B40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4603750" y="2609850"/>
            <a:ext cx="1698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ED6A2F0-D683-4C25-AA5D-80C42AE8A49A}" type="datetime'''''D''''''''''''''''''''E''''''''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DE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12" name="Rectangle 8211">
            <a:extLst>
              <a:ext uri="{FF2B5EF4-FFF2-40B4-BE49-F238E27FC236}">
                <a16:creationId xmlns:a16="http://schemas.microsoft.com/office/drawing/2014/main" id="{0C6B60C8-8943-473A-9C0C-D8A8986EC154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4567238" y="4189413"/>
            <a:ext cx="1651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75071CD-F1FA-4329-B170-098DB6CF57A1}" type="datetime'''''''''''''''''''''''''''''''''''''''S''E''''''''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SE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02" name="Rectangle 8201">
            <a:extLst>
              <a:ext uri="{FF2B5EF4-FFF2-40B4-BE49-F238E27FC236}">
                <a16:creationId xmlns:a16="http://schemas.microsoft.com/office/drawing/2014/main" id="{FC69095A-325C-470B-BDC4-043CF0A74C9C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2376488" y="3557588"/>
            <a:ext cx="1651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95BC125-2789-425C-BBBF-3DC669C9A008}" type="datetime'''''''''''''''''''''''''''''''''''''''''''''''''''''S''''''K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SK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03" name="Rectangle 8202">
            <a:extLst>
              <a:ext uri="{FF2B5EF4-FFF2-40B4-BE49-F238E27FC236}">
                <a16:creationId xmlns:a16="http://schemas.microsoft.com/office/drawing/2014/main" id="{F5F225AE-FF39-41A6-822C-CFDAE3C540AA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4992688" y="4221163"/>
            <a:ext cx="1587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2882EDE-E822-4EB8-9B86-2B32A5165FDE}" type="datetime'''''A''''''''''''''''''''T''''''''''''''''''''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AT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67" name="Picture 4" descr="C:\Users\KMastorakis\Desktop\IRELAND.jpg"/>
          <p:cNvPicPr>
            <a:picLocks noChangeAspect="1" noChangeArrowheads="1"/>
          </p:cNvPicPr>
          <p:nvPr/>
        </p:nvPicPr>
        <p:blipFill>
          <a:blip r:embed="rId48" cstate="print"/>
          <a:srcRect/>
          <a:stretch>
            <a:fillRect/>
          </a:stretch>
        </p:blipFill>
        <p:spPr bwMode="auto">
          <a:xfrm>
            <a:off x="9746453" y="4137379"/>
            <a:ext cx="252000" cy="252000"/>
          </a:xfrm>
          <a:prstGeom prst="ellipse">
            <a:avLst/>
          </a:prstGeom>
        </p:spPr>
      </p:pic>
      <p:sp>
        <p:nvSpPr>
          <p:cNvPr id="126" name="Text Placeholder 8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GDPs and Off-patent prices in EU</a:t>
            </a:r>
          </a:p>
        </p:txBody>
      </p:sp>
      <p:sp>
        <p:nvSpPr>
          <p:cNvPr id="223" name="Title 22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prices of the off-patent drugs in Greece are close to other EU countries </a:t>
            </a:r>
            <a:r>
              <a:rPr lang="en-US" dirty="0">
                <a:latin typeface="+mj-lt"/>
              </a:rPr>
              <a:t>with similar GDP per capita </a:t>
            </a:r>
            <a:r>
              <a:rPr lang="en-US" dirty="0"/>
              <a:t>(apart from Slovakia)</a:t>
            </a:r>
          </a:p>
        </p:txBody>
      </p:sp>
      <p:grpSp>
        <p:nvGrpSpPr>
          <p:cNvPr id="2" name="Group 181"/>
          <p:cNvGrpSpPr/>
          <p:nvPr/>
        </p:nvGrpSpPr>
        <p:grpSpPr>
          <a:xfrm>
            <a:off x="10541486" y="1707055"/>
            <a:ext cx="1189261" cy="4454033"/>
            <a:chOff x="7949989" y="1275965"/>
            <a:chExt cx="1189261" cy="4454033"/>
          </a:xfrm>
        </p:grpSpPr>
        <p:pic>
          <p:nvPicPr>
            <p:cNvPr id="183" name="Picture 4" descr="C:\Users\KMastorakis\Desktop\IRELAND.jpg"/>
            <p:cNvPicPr>
              <a:picLocks noChangeAspect="1" noChangeArrowheads="1"/>
            </p:cNvPicPr>
            <p:nvPr/>
          </p:nvPicPr>
          <p:blipFill>
            <a:blip r:embed="rId48" cstate="print"/>
            <a:srcRect/>
            <a:stretch>
              <a:fillRect/>
            </a:stretch>
          </p:blipFill>
          <p:spPr bwMode="auto">
            <a:xfrm>
              <a:off x="7967956" y="3265264"/>
              <a:ext cx="252000" cy="252000"/>
            </a:xfrm>
            <a:prstGeom prst="rect">
              <a:avLst/>
            </a:prstGeom>
          </p:spPr>
        </p:pic>
        <p:pic>
          <p:nvPicPr>
            <p:cNvPr id="221" name="Picture 220" descr="Italy.jpg"/>
            <p:cNvPicPr>
              <a:picLocks noChangeAspect="1"/>
            </p:cNvPicPr>
            <p:nvPr/>
          </p:nvPicPr>
          <p:blipFill>
            <a:blip r:embed="rId49" cstate="print"/>
            <a:stretch>
              <a:fillRect/>
            </a:stretch>
          </p:blipFill>
          <p:spPr>
            <a:xfrm>
              <a:off x="7967956" y="3517264"/>
              <a:ext cx="252000" cy="252000"/>
            </a:xfrm>
            <a:prstGeom prst="rect">
              <a:avLst/>
            </a:prstGeom>
          </p:spPr>
        </p:pic>
        <p:pic>
          <p:nvPicPr>
            <p:cNvPr id="222" name="Picture 221" descr="Portugal.jpg"/>
            <p:cNvPicPr>
              <a:picLocks noChangeAspect="1"/>
            </p:cNvPicPr>
            <p:nvPr/>
          </p:nvPicPr>
          <p:blipFill>
            <a:blip r:embed="rId50" cstate="print"/>
            <a:stretch>
              <a:fillRect/>
            </a:stretch>
          </p:blipFill>
          <p:spPr>
            <a:xfrm>
              <a:off x="7967956" y="4455406"/>
              <a:ext cx="252000" cy="252000"/>
            </a:xfrm>
            <a:prstGeom prst="rect">
              <a:avLst/>
            </a:prstGeom>
          </p:spPr>
        </p:pic>
        <p:pic>
          <p:nvPicPr>
            <p:cNvPr id="224" name="Picture 223" descr="Spain.jpg"/>
            <p:cNvPicPr>
              <a:picLocks noChangeAspect="1"/>
            </p:cNvPicPr>
            <p:nvPr/>
          </p:nvPicPr>
          <p:blipFill>
            <a:blip r:embed="rId51" cstate="print"/>
            <a:stretch>
              <a:fillRect/>
            </a:stretch>
          </p:blipFill>
          <p:spPr>
            <a:xfrm>
              <a:off x="7967956" y="4707406"/>
              <a:ext cx="252000" cy="249305"/>
            </a:xfrm>
            <a:prstGeom prst="rect">
              <a:avLst/>
            </a:prstGeom>
          </p:spPr>
        </p:pic>
        <p:pic>
          <p:nvPicPr>
            <p:cNvPr id="225" name="Picture 224" descr="Austria.jpg"/>
            <p:cNvPicPr>
              <a:picLocks noChangeAspect="1"/>
            </p:cNvPicPr>
            <p:nvPr/>
          </p:nvPicPr>
          <p:blipFill>
            <a:blip r:embed="rId52" cstate="print"/>
            <a:stretch>
              <a:fillRect/>
            </a:stretch>
          </p:blipFill>
          <p:spPr>
            <a:xfrm>
              <a:off x="7967956" y="1275965"/>
              <a:ext cx="252000" cy="252000"/>
            </a:xfrm>
            <a:prstGeom prst="rect">
              <a:avLst/>
            </a:prstGeom>
          </p:spPr>
        </p:pic>
        <p:pic>
          <p:nvPicPr>
            <p:cNvPr id="226" name="Picture 225" descr="Belgium.jpg"/>
            <p:cNvPicPr>
              <a:picLocks noChangeAspect="1"/>
            </p:cNvPicPr>
            <p:nvPr/>
          </p:nvPicPr>
          <p:blipFill>
            <a:blip r:embed="rId53" cstate="print"/>
            <a:stretch>
              <a:fillRect/>
            </a:stretch>
          </p:blipFill>
          <p:spPr>
            <a:xfrm>
              <a:off x="7967956" y="1528286"/>
              <a:ext cx="252000" cy="252000"/>
            </a:xfrm>
            <a:prstGeom prst="rect">
              <a:avLst/>
            </a:prstGeom>
          </p:spPr>
        </p:pic>
        <p:pic>
          <p:nvPicPr>
            <p:cNvPr id="228" name="Picture 227" descr="France.jpg"/>
            <p:cNvPicPr>
              <a:picLocks noChangeAspect="1"/>
            </p:cNvPicPr>
            <p:nvPr/>
          </p:nvPicPr>
          <p:blipFill>
            <a:blip r:embed="rId54" cstate="print"/>
            <a:stretch>
              <a:fillRect/>
            </a:stretch>
          </p:blipFill>
          <p:spPr>
            <a:xfrm>
              <a:off x="7967956" y="2264701"/>
              <a:ext cx="252000" cy="252000"/>
            </a:xfrm>
            <a:prstGeom prst="rect">
              <a:avLst/>
            </a:prstGeom>
          </p:spPr>
        </p:pic>
        <p:pic>
          <p:nvPicPr>
            <p:cNvPr id="229" name="Picture 228" descr="Germany.jpg"/>
            <p:cNvPicPr>
              <a:picLocks noChangeAspect="1"/>
            </p:cNvPicPr>
            <p:nvPr/>
          </p:nvPicPr>
          <p:blipFill>
            <a:blip r:embed="rId55" cstate="print"/>
            <a:stretch>
              <a:fillRect/>
            </a:stretch>
          </p:blipFill>
          <p:spPr>
            <a:xfrm>
              <a:off x="7967956" y="2517022"/>
              <a:ext cx="252000" cy="252000"/>
            </a:xfrm>
            <a:prstGeom prst="rect">
              <a:avLst/>
            </a:prstGeom>
          </p:spPr>
        </p:pic>
        <p:pic>
          <p:nvPicPr>
            <p:cNvPr id="230" name="Picture 229" descr="Netherlands.jpg"/>
            <p:cNvPicPr>
              <a:picLocks noChangeAspect="1"/>
            </p:cNvPicPr>
            <p:nvPr/>
          </p:nvPicPr>
          <p:blipFill>
            <a:blip r:embed="rId56" cstate="print"/>
            <a:stretch>
              <a:fillRect/>
            </a:stretch>
          </p:blipFill>
          <p:spPr>
            <a:xfrm>
              <a:off x="7967956" y="3759505"/>
              <a:ext cx="252000" cy="252000"/>
            </a:xfrm>
            <a:prstGeom prst="rect">
              <a:avLst/>
            </a:prstGeom>
          </p:spPr>
        </p:pic>
        <p:pic>
          <p:nvPicPr>
            <p:cNvPr id="231" name="Picture 7" descr="C:\Users\KMastorakis\Desktop\UK.jpg"/>
            <p:cNvPicPr>
              <a:picLocks noChangeAspect="1" noChangeArrowheads="1"/>
            </p:cNvPicPr>
            <p:nvPr/>
          </p:nvPicPr>
          <p:blipFill>
            <a:blip r:embed="rId57" cstate="print"/>
            <a:srcRect/>
            <a:stretch>
              <a:fillRect/>
            </a:stretch>
          </p:blipFill>
          <p:spPr bwMode="auto">
            <a:xfrm>
              <a:off x="7967956" y="5464954"/>
              <a:ext cx="252000" cy="252000"/>
            </a:xfrm>
            <a:prstGeom prst="rect">
              <a:avLst/>
            </a:prstGeom>
            <a:noFill/>
          </p:spPr>
        </p:pic>
        <p:pic>
          <p:nvPicPr>
            <p:cNvPr id="232" name="Picture 8" descr="C:\Users\KMastorakis\Desktop\FINLAND.jpg"/>
            <p:cNvPicPr>
              <a:picLocks noChangeAspect="1" noChangeArrowheads="1"/>
            </p:cNvPicPr>
            <p:nvPr/>
          </p:nvPicPr>
          <p:blipFill>
            <a:blip r:embed="rId58" cstate="print"/>
            <a:srcRect/>
            <a:stretch>
              <a:fillRect/>
            </a:stretch>
          </p:blipFill>
          <p:spPr bwMode="auto">
            <a:xfrm>
              <a:off x="7967956" y="2022654"/>
              <a:ext cx="252000" cy="252000"/>
            </a:xfrm>
            <a:prstGeom prst="rect">
              <a:avLst/>
            </a:prstGeom>
            <a:noFill/>
          </p:spPr>
        </p:pic>
        <p:pic>
          <p:nvPicPr>
            <p:cNvPr id="233" name="Picture 9" descr="C:\Users\KMastorakis\Desktop\NORWAY.jpg"/>
            <p:cNvPicPr>
              <a:picLocks noChangeAspect="1" noChangeArrowheads="1"/>
            </p:cNvPicPr>
            <p:nvPr/>
          </p:nvPicPr>
          <p:blipFill>
            <a:blip r:embed="rId59" cstate="print"/>
            <a:srcRect/>
            <a:stretch>
              <a:fillRect/>
            </a:stretch>
          </p:blipFill>
          <p:spPr bwMode="auto">
            <a:xfrm>
              <a:off x="7967956" y="3991472"/>
              <a:ext cx="252000" cy="252000"/>
            </a:xfrm>
            <a:prstGeom prst="rect">
              <a:avLst/>
            </a:prstGeom>
            <a:noFill/>
          </p:spPr>
        </p:pic>
        <p:pic>
          <p:nvPicPr>
            <p:cNvPr id="234" name="Picture 233" descr="Sweden.jpg"/>
            <p:cNvPicPr>
              <a:picLocks noChangeAspect="1"/>
            </p:cNvPicPr>
            <p:nvPr/>
          </p:nvPicPr>
          <p:blipFill>
            <a:blip r:embed="rId60" cstate="print"/>
            <a:stretch>
              <a:fillRect/>
            </a:stretch>
          </p:blipFill>
          <p:spPr>
            <a:xfrm>
              <a:off x="7967956" y="4959923"/>
              <a:ext cx="252000" cy="252000"/>
            </a:xfrm>
            <a:prstGeom prst="rect">
              <a:avLst/>
            </a:prstGeom>
          </p:spPr>
        </p:pic>
        <p:pic>
          <p:nvPicPr>
            <p:cNvPr id="235" name="Picture 234" descr="Czech republic.jpg"/>
            <p:cNvPicPr>
              <a:picLocks noChangeAspect="1"/>
            </p:cNvPicPr>
            <p:nvPr/>
          </p:nvPicPr>
          <p:blipFill>
            <a:blip r:embed="rId61" cstate="print"/>
            <a:stretch>
              <a:fillRect/>
            </a:stretch>
          </p:blipFill>
          <p:spPr>
            <a:xfrm>
              <a:off x="7967956" y="1780604"/>
              <a:ext cx="252000" cy="254849"/>
            </a:xfrm>
            <a:prstGeom prst="rect">
              <a:avLst/>
            </a:prstGeom>
          </p:spPr>
        </p:pic>
        <p:pic>
          <p:nvPicPr>
            <p:cNvPr id="236" name="Picture 235" descr="Hungary.jpg"/>
            <p:cNvPicPr>
              <a:picLocks noChangeAspect="1"/>
            </p:cNvPicPr>
            <p:nvPr/>
          </p:nvPicPr>
          <p:blipFill>
            <a:blip r:embed="rId62" cstate="print"/>
            <a:stretch>
              <a:fillRect/>
            </a:stretch>
          </p:blipFill>
          <p:spPr>
            <a:xfrm>
              <a:off x="7967956" y="3001116"/>
              <a:ext cx="252000" cy="253358"/>
            </a:xfrm>
            <a:prstGeom prst="rect">
              <a:avLst/>
            </a:prstGeom>
          </p:spPr>
        </p:pic>
        <p:pic>
          <p:nvPicPr>
            <p:cNvPr id="237" name="Picture 11" descr="https://encrypted-tbn1.gstatic.com/images?q=tbn:ANd9GcTONKpwE8WEyeUCYX7ekfahvZ3m-YAZSoMksyBgT4ieMShN0GKY"/>
            <p:cNvPicPr>
              <a:picLocks noChangeAspect="1" noChangeArrowheads="1"/>
            </p:cNvPicPr>
            <p:nvPr/>
          </p:nvPicPr>
          <p:blipFill>
            <a:blip r:embed="rId63" cstate="print"/>
            <a:srcRect/>
            <a:stretch>
              <a:fillRect/>
            </a:stretch>
          </p:blipFill>
          <p:spPr bwMode="auto">
            <a:xfrm>
              <a:off x="7967956" y="4223439"/>
              <a:ext cx="252000" cy="252000"/>
            </a:xfrm>
            <a:prstGeom prst="rect">
              <a:avLst/>
            </a:prstGeom>
            <a:noFill/>
          </p:spPr>
        </p:pic>
        <p:pic>
          <p:nvPicPr>
            <p:cNvPr id="238" name="Picture 13" descr="http://www.veryicon.com/icon/png/Flag/Rounded%20World%20Flags/Slovakia%20Flag.png"/>
            <p:cNvPicPr>
              <a:picLocks noChangeAspect="1" noChangeArrowheads="1"/>
            </p:cNvPicPr>
            <p:nvPr/>
          </p:nvPicPr>
          <p:blipFill>
            <a:blip r:embed="rId64" cstate="print"/>
            <a:srcRect/>
            <a:stretch>
              <a:fillRect/>
            </a:stretch>
          </p:blipFill>
          <p:spPr bwMode="auto">
            <a:xfrm>
              <a:off x="7967956" y="5202164"/>
              <a:ext cx="252000" cy="252000"/>
            </a:xfrm>
            <a:prstGeom prst="rect">
              <a:avLst/>
            </a:prstGeom>
            <a:noFill/>
          </p:spPr>
        </p:pic>
        <p:sp>
          <p:nvSpPr>
            <p:cNvPr id="239" name="TextBox 238"/>
            <p:cNvSpPr txBox="1">
              <a:spLocks/>
            </p:cNvSpPr>
            <p:nvPr/>
          </p:nvSpPr>
          <p:spPr>
            <a:xfrm>
              <a:off x="8287901" y="1318626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Austria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0" name="TextBox 239"/>
            <p:cNvSpPr txBox="1">
              <a:spLocks/>
            </p:cNvSpPr>
            <p:nvPr/>
          </p:nvSpPr>
          <p:spPr>
            <a:xfrm>
              <a:off x="8287901" y="1564393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Belgium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1" name="TextBox 240"/>
            <p:cNvSpPr txBox="1">
              <a:spLocks/>
            </p:cNvSpPr>
            <p:nvPr/>
          </p:nvSpPr>
          <p:spPr>
            <a:xfrm>
              <a:off x="8287901" y="1767266"/>
              <a:ext cx="828000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Czech Republic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2" name="TextBox 241"/>
            <p:cNvSpPr txBox="1">
              <a:spLocks/>
            </p:cNvSpPr>
            <p:nvPr/>
          </p:nvSpPr>
          <p:spPr>
            <a:xfrm>
              <a:off x="8287901" y="2074078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Finland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3" name="TextBox 242"/>
            <p:cNvSpPr txBox="1">
              <a:spLocks/>
            </p:cNvSpPr>
            <p:nvPr/>
          </p:nvSpPr>
          <p:spPr>
            <a:xfrm>
              <a:off x="8287901" y="2301694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France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4" name="TextBox 243"/>
            <p:cNvSpPr txBox="1">
              <a:spLocks/>
            </p:cNvSpPr>
            <p:nvPr/>
          </p:nvSpPr>
          <p:spPr>
            <a:xfrm>
              <a:off x="8287901" y="2547461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Germany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5" name="TextBox 244"/>
            <p:cNvSpPr txBox="1">
              <a:spLocks/>
            </p:cNvSpPr>
            <p:nvPr/>
          </p:nvSpPr>
          <p:spPr>
            <a:xfrm>
              <a:off x="8287901" y="2793228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Greece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6" name="TextBox 245"/>
            <p:cNvSpPr txBox="1">
              <a:spLocks/>
            </p:cNvSpPr>
            <p:nvPr/>
          </p:nvSpPr>
          <p:spPr>
            <a:xfrm>
              <a:off x="8287901" y="3038995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Hungary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7" name="TextBox 246"/>
            <p:cNvSpPr txBox="1">
              <a:spLocks/>
            </p:cNvSpPr>
            <p:nvPr/>
          </p:nvSpPr>
          <p:spPr>
            <a:xfrm>
              <a:off x="8287901" y="3284762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Ireland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8" name="TextBox 247"/>
            <p:cNvSpPr txBox="1">
              <a:spLocks/>
            </p:cNvSpPr>
            <p:nvPr/>
          </p:nvSpPr>
          <p:spPr>
            <a:xfrm>
              <a:off x="8311250" y="3530529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Italy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9" name="TextBox 248"/>
            <p:cNvSpPr txBox="1">
              <a:spLocks/>
            </p:cNvSpPr>
            <p:nvPr/>
          </p:nvSpPr>
          <p:spPr>
            <a:xfrm>
              <a:off x="8291874" y="3776296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Netherlands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0" name="TextBox 249"/>
            <p:cNvSpPr txBox="1">
              <a:spLocks/>
            </p:cNvSpPr>
            <p:nvPr/>
          </p:nvSpPr>
          <p:spPr>
            <a:xfrm>
              <a:off x="8291874" y="4022063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Norway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1" name="TextBox 250"/>
            <p:cNvSpPr txBox="1">
              <a:spLocks/>
            </p:cNvSpPr>
            <p:nvPr/>
          </p:nvSpPr>
          <p:spPr>
            <a:xfrm>
              <a:off x="8291874" y="4267830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Poland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2" name="TextBox 251"/>
            <p:cNvSpPr txBox="1">
              <a:spLocks/>
            </p:cNvSpPr>
            <p:nvPr/>
          </p:nvSpPr>
          <p:spPr>
            <a:xfrm>
              <a:off x="8291874" y="4513597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Portugal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3" name="TextBox 252"/>
            <p:cNvSpPr txBox="1">
              <a:spLocks/>
            </p:cNvSpPr>
            <p:nvPr/>
          </p:nvSpPr>
          <p:spPr>
            <a:xfrm>
              <a:off x="8291874" y="4759364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Spain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4" name="TextBox 253"/>
            <p:cNvSpPr txBox="1">
              <a:spLocks/>
            </p:cNvSpPr>
            <p:nvPr/>
          </p:nvSpPr>
          <p:spPr>
            <a:xfrm>
              <a:off x="8291874" y="5005131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Sweden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5" name="TextBox 254"/>
            <p:cNvSpPr txBox="1">
              <a:spLocks/>
            </p:cNvSpPr>
            <p:nvPr/>
          </p:nvSpPr>
          <p:spPr>
            <a:xfrm>
              <a:off x="8291874" y="5250890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Slovakia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6" name="TextBox 255"/>
            <p:cNvSpPr txBox="1">
              <a:spLocks/>
            </p:cNvSpPr>
            <p:nvPr/>
          </p:nvSpPr>
          <p:spPr>
            <a:xfrm>
              <a:off x="8291874" y="5452999"/>
              <a:ext cx="828000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United Kingdom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7" name="Oval 256"/>
            <p:cNvSpPr/>
            <p:nvPr/>
          </p:nvSpPr>
          <p:spPr bwMode="auto">
            <a:xfrm>
              <a:off x="7975156" y="4223439"/>
              <a:ext cx="244800" cy="244800"/>
            </a:xfrm>
            <a:prstGeom prst="ellipse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l-GR" sz="1000">
                <a:latin typeface="+mj-lt"/>
              </a:endParaRPr>
            </a:p>
          </p:txBody>
        </p:sp>
        <p:pic>
          <p:nvPicPr>
            <p:cNvPr id="258" name="Picture 257" descr="Greece.png"/>
            <p:cNvPicPr>
              <a:picLocks noChangeAspect="1"/>
            </p:cNvPicPr>
            <p:nvPr/>
          </p:nvPicPr>
          <p:blipFill>
            <a:blip r:embed="rId65" cstate="print"/>
            <a:stretch>
              <a:fillRect/>
            </a:stretch>
          </p:blipFill>
          <p:spPr>
            <a:xfrm>
              <a:off x="7949989" y="2739986"/>
              <a:ext cx="288000" cy="288000"/>
            </a:xfrm>
            <a:prstGeom prst="rect">
              <a:avLst/>
            </a:prstGeom>
          </p:spPr>
        </p:pic>
      </p:grpSp>
      <p:pic>
        <p:nvPicPr>
          <p:cNvPr id="260" name="Picture 259" descr="Austria.jpg"/>
          <p:cNvPicPr>
            <a:picLocks noChangeAspect="1"/>
          </p:cNvPicPr>
          <p:nvPr/>
        </p:nvPicPr>
        <p:blipFill>
          <a:blip r:embed="rId52" cstate="print"/>
          <a:stretch>
            <a:fillRect/>
          </a:stretch>
        </p:blipFill>
        <p:spPr>
          <a:xfrm>
            <a:off x="4915992" y="4149809"/>
            <a:ext cx="252000" cy="252000"/>
          </a:xfrm>
          <a:prstGeom prst="ellipse">
            <a:avLst/>
          </a:prstGeom>
        </p:spPr>
      </p:pic>
      <p:pic>
        <p:nvPicPr>
          <p:cNvPr id="262" name="Picture 261" descr="Belgium.jpg"/>
          <p:cNvPicPr>
            <a:picLocks noChangeAspect="1"/>
          </p:cNvPicPr>
          <p:nvPr/>
        </p:nvPicPr>
        <p:blipFill>
          <a:blip r:embed="rId53" cstate="print"/>
          <a:stretch>
            <a:fillRect/>
          </a:stretch>
        </p:blipFill>
        <p:spPr>
          <a:xfrm>
            <a:off x="4664540" y="4524929"/>
            <a:ext cx="252000" cy="252000"/>
          </a:xfrm>
          <a:prstGeom prst="ellipse">
            <a:avLst/>
          </a:prstGeom>
        </p:spPr>
      </p:pic>
      <p:pic>
        <p:nvPicPr>
          <p:cNvPr id="263" name="Picture 262" descr="Czech republic.jpg"/>
          <p:cNvPicPr>
            <a:picLocks noChangeAspect="1"/>
          </p:cNvPicPr>
          <p:nvPr/>
        </p:nvPicPr>
        <p:blipFill>
          <a:blip r:embed="rId61" cstate="print"/>
          <a:stretch>
            <a:fillRect/>
          </a:stretch>
        </p:blipFill>
        <p:spPr>
          <a:xfrm>
            <a:off x="3280718" y="4554735"/>
            <a:ext cx="252000" cy="254849"/>
          </a:xfrm>
          <a:prstGeom prst="ellipse">
            <a:avLst/>
          </a:prstGeom>
        </p:spPr>
      </p:pic>
      <p:pic>
        <p:nvPicPr>
          <p:cNvPr id="264" name="Picture 8" descr="C:\Users\KMastorakis\Desktop\FINLAND.jpg"/>
          <p:cNvPicPr>
            <a:picLocks noChangeAspect="1" noChangeArrowheads="1"/>
          </p:cNvPicPr>
          <p:nvPr/>
        </p:nvPicPr>
        <p:blipFill>
          <a:blip r:embed="rId58" cstate="print"/>
          <a:srcRect/>
          <a:stretch>
            <a:fillRect/>
          </a:stretch>
        </p:blipFill>
        <p:spPr bwMode="auto">
          <a:xfrm>
            <a:off x="4138204" y="4409460"/>
            <a:ext cx="280963" cy="252000"/>
          </a:xfrm>
          <a:prstGeom prst="ellipse">
            <a:avLst/>
          </a:prstGeom>
          <a:noFill/>
        </p:spPr>
      </p:pic>
      <p:pic>
        <p:nvPicPr>
          <p:cNvPr id="265" name="Picture 264" descr="France.jpg"/>
          <p:cNvPicPr>
            <a:picLocks noChangeAspect="1"/>
          </p:cNvPicPr>
          <p:nvPr/>
        </p:nvPicPr>
        <p:blipFill>
          <a:blip r:embed="rId54" cstate="print"/>
          <a:stretch>
            <a:fillRect/>
          </a:stretch>
        </p:blipFill>
        <p:spPr>
          <a:xfrm>
            <a:off x="3835606" y="3978975"/>
            <a:ext cx="252000" cy="252000"/>
          </a:xfrm>
          <a:prstGeom prst="ellipse">
            <a:avLst/>
          </a:prstGeom>
        </p:spPr>
      </p:pic>
      <p:pic>
        <p:nvPicPr>
          <p:cNvPr id="266" name="Picture 265" descr="Hungary.jpg"/>
          <p:cNvPicPr>
            <a:picLocks noChangeAspect="1"/>
          </p:cNvPicPr>
          <p:nvPr/>
        </p:nvPicPr>
        <p:blipFill>
          <a:blip r:embed="rId62" cstate="print"/>
          <a:stretch>
            <a:fillRect/>
          </a:stretch>
        </p:blipFill>
        <p:spPr>
          <a:xfrm>
            <a:off x="2708438" y="4799187"/>
            <a:ext cx="252000" cy="253358"/>
          </a:xfrm>
          <a:prstGeom prst="ellipse">
            <a:avLst/>
          </a:prstGeom>
        </p:spPr>
      </p:pic>
      <p:pic>
        <p:nvPicPr>
          <p:cNvPr id="268" name="Picture 267" descr="Italy.jpg"/>
          <p:cNvPicPr>
            <a:picLocks noChangeAspect="1"/>
          </p:cNvPicPr>
          <p:nvPr/>
        </p:nvPicPr>
        <p:blipFill>
          <a:blip r:embed="rId49" cstate="print"/>
          <a:stretch>
            <a:fillRect/>
          </a:stretch>
        </p:blipFill>
        <p:spPr>
          <a:xfrm>
            <a:off x="3533305" y="4617368"/>
            <a:ext cx="252000" cy="252000"/>
          </a:xfrm>
          <a:prstGeom prst="ellipse">
            <a:avLst/>
          </a:prstGeom>
        </p:spPr>
      </p:pic>
      <p:pic>
        <p:nvPicPr>
          <p:cNvPr id="269" name="Picture 268" descr="Netherlands.jpg"/>
          <p:cNvPicPr>
            <a:picLocks noChangeAspect="1"/>
          </p:cNvPicPr>
          <p:nvPr/>
        </p:nvPicPr>
        <p:blipFill>
          <a:blip r:embed="rId56" cstate="print"/>
          <a:stretch>
            <a:fillRect/>
          </a:stretch>
        </p:blipFill>
        <p:spPr>
          <a:xfrm>
            <a:off x="5069164" y="3929477"/>
            <a:ext cx="252000" cy="252000"/>
          </a:xfrm>
          <a:prstGeom prst="ellipse">
            <a:avLst/>
          </a:prstGeom>
        </p:spPr>
      </p:pic>
      <p:pic>
        <p:nvPicPr>
          <p:cNvPr id="270" name="Picture 9" descr="C:\Users\KMastorakis\Desktop\NORWAY.jpg"/>
          <p:cNvPicPr>
            <a:picLocks noChangeAspect="1" noChangeArrowheads="1"/>
          </p:cNvPicPr>
          <p:nvPr/>
        </p:nvPicPr>
        <p:blipFill>
          <a:blip r:embed="rId59" cstate="print"/>
          <a:srcRect/>
          <a:stretch>
            <a:fillRect/>
          </a:stretch>
        </p:blipFill>
        <p:spPr bwMode="auto">
          <a:xfrm>
            <a:off x="7094431" y="4548562"/>
            <a:ext cx="252000" cy="252000"/>
          </a:xfrm>
          <a:prstGeom prst="ellipse">
            <a:avLst/>
          </a:prstGeom>
          <a:noFill/>
        </p:spPr>
      </p:pic>
      <p:grpSp>
        <p:nvGrpSpPr>
          <p:cNvPr id="3" name="Group 276"/>
          <p:cNvGrpSpPr/>
          <p:nvPr/>
        </p:nvGrpSpPr>
        <p:grpSpPr>
          <a:xfrm>
            <a:off x="2737263" y="4631739"/>
            <a:ext cx="252000" cy="252000"/>
            <a:chOff x="5090048" y="4630604"/>
            <a:chExt cx="252000" cy="252000"/>
          </a:xfrm>
        </p:grpSpPr>
        <p:pic>
          <p:nvPicPr>
            <p:cNvPr id="272" name="Picture 11" descr="https://encrypted-tbn1.gstatic.com/images?q=tbn:ANd9GcTONKpwE8WEyeUCYX7ekfahvZ3m-YAZSoMksyBgT4ieMShN0GKY"/>
            <p:cNvPicPr>
              <a:picLocks noChangeAspect="1" noChangeArrowheads="1"/>
            </p:cNvPicPr>
            <p:nvPr/>
          </p:nvPicPr>
          <p:blipFill>
            <a:blip r:embed="rId63" cstate="print"/>
            <a:srcRect/>
            <a:stretch>
              <a:fillRect/>
            </a:stretch>
          </p:blipFill>
          <p:spPr bwMode="auto">
            <a:xfrm>
              <a:off x="5090048" y="4630604"/>
              <a:ext cx="252000" cy="252000"/>
            </a:xfrm>
            <a:prstGeom prst="ellipse">
              <a:avLst/>
            </a:prstGeom>
            <a:noFill/>
          </p:spPr>
        </p:pic>
        <p:sp>
          <p:nvSpPr>
            <p:cNvPr id="276" name="Oval 275"/>
            <p:cNvSpPr/>
            <p:nvPr/>
          </p:nvSpPr>
          <p:spPr bwMode="auto">
            <a:xfrm>
              <a:off x="5090048" y="4634204"/>
              <a:ext cx="244800" cy="244800"/>
            </a:xfrm>
            <a:prstGeom prst="ellipse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l-GR" sz="1000">
                <a:solidFill>
                  <a:schemeClr val="accent2"/>
                </a:solidFill>
                <a:latin typeface="+mj-lt"/>
              </a:endParaRPr>
            </a:p>
          </p:txBody>
        </p:sp>
      </p:grpSp>
      <p:pic>
        <p:nvPicPr>
          <p:cNvPr id="279" name="Picture 278" descr="Spain.jpg"/>
          <p:cNvPicPr>
            <a:picLocks noChangeAspect="1"/>
          </p:cNvPicPr>
          <p:nvPr/>
        </p:nvPicPr>
        <p:blipFill>
          <a:blip r:embed="rId51" cstate="print"/>
          <a:stretch>
            <a:fillRect/>
          </a:stretch>
        </p:blipFill>
        <p:spPr>
          <a:xfrm>
            <a:off x="3007441" y="4641816"/>
            <a:ext cx="252000" cy="249305"/>
          </a:xfrm>
          <a:prstGeom prst="ellipse">
            <a:avLst/>
          </a:prstGeom>
        </p:spPr>
      </p:pic>
      <p:pic>
        <p:nvPicPr>
          <p:cNvPr id="281" name="Picture 13" descr="http://www.veryicon.com/icon/png/Flag/Rounded%20World%20Flags/Slovakia%20Flag.png"/>
          <p:cNvPicPr>
            <a:picLocks noChangeAspect="1" noChangeArrowheads="1"/>
          </p:cNvPicPr>
          <p:nvPr/>
        </p:nvPicPr>
        <p:blipFill>
          <a:blip r:embed="rId64" cstate="print"/>
          <a:srcRect/>
          <a:stretch>
            <a:fillRect/>
          </a:stretch>
        </p:blipFill>
        <p:spPr bwMode="auto">
          <a:xfrm>
            <a:off x="2299113" y="3461191"/>
            <a:ext cx="252000" cy="252000"/>
          </a:xfrm>
          <a:prstGeom prst="rect">
            <a:avLst/>
          </a:prstGeom>
          <a:noFill/>
        </p:spPr>
      </p:pic>
      <p:pic>
        <p:nvPicPr>
          <p:cNvPr id="92" name="Picture 91" descr="Germany.jpg"/>
          <p:cNvPicPr>
            <a:picLocks noChangeAspect="1"/>
          </p:cNvPicPr>
          <p:nvPr/>
        </p:nvPicPr>
        <p:blipFill>
          <a:blip r:embed="rId55" cstate="print"/>
          <a:stretch>
            <a:fillRect/>
          </a:stretch>
        </p:blipFill>
        <p:spPr>
          <a:xfrm>
            <a:off x="4543302" y="2542563"/>
            <a:ext cx="252000" cy="252000"/>
          </a:xfrm>
          <a:prstGeom prst="ellipse">
            <a:avLst/>
          </a:prstGeom>
        </p:spPr>
      </p:pic>
      <p:pic>
        <p:nvPicPr>
          <p:cNvPr id="282" name="Picture 7" descr="C:\Users\KMastorakis\Desktop\UK.jpg"/>
          <p:cNvPicPr>
            <a:picLocks noChangeAspect="1" noChangeArrowheads="1"/>
          </p:cNvPicPr>
          <p:nvPr/>
        </p:nvPicPr>
        <p:blipFill>
          <a:blip r:embed="rId57" cstate="print"/>
          <a:srcRect/>
          <a:stretch>
            <a:fillRect/>
          </a:stretch>
        </p:blipFill>
        <p:spPr bwMode="auto">
          <a:xfrm>
            <a:off x="3789775" y="4326963"/>
            <a:ext cx="252000" cy="252000"/>
          </a:xfrm>
          <a:prstGeom prst="ellipse">
            <a:avLst/>
          </a:prstGeom>
          <a:noFill/>
        </p:spPr>
      </p:pic>
      <p:pic>
        <p:nvPicPr>
          <p:cNvPr id="259" name="Picture 258" descr="Greece.png"/>
          <p:cNvPicPr>
            <a:picLocks noChangeAspect="1"/>
          </p:cNvPicPr>
          <p:nvPr/>
        </p:nvPicPr>
        <p:blipFill>
          <a:blip r:embed="rId65" cstate="print"/>
          <a:stretch>
            <a:fillRect/>
          </a:stretch>
        </p:blipFill>
        <p:spPr>
          <a:xfrm>
            <a:off x="2137604" y="4745962"/>
            <a:ext cx="288000" cy="288000"/>
          </a:xfrm>
          <a:prstGeom prst="rect">
            <a:avLst/>
          </a:prstGeom>
        </p:spPr>
      </p:pic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604FDB2A-F0F1-48CA-BE64-CF78B17C04E3}"/>
              </a:ext>
            </a:extLst>
          </p:cNvPr>
          <p:cNvCxnSpPr>
            <a:cxnSpLocks/>
          </p:cNvCxnSpPr>
          <p:nvPr/>
        </p:nvCxnSpPr>
        <p:spPr>
          <a:xfrm>
            <a:off x="468748" y="1648910"/>
            <a:ext cx="11254499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ktangel 76">
            <a:extLst>
              <a:ext uri="{FF2B5EF4-FFF2-40B4-BE49-F238E27FC236}">
                <a16:creationId xmlns:a16="http://schemas.microsoft.com/office/drawing/2014/main" id="{F3D8C4E2-7F9E-4BBC-84B1-C516DF9AD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747" y="1659797"/>
            <a:ext cx="9515703" cy="318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72000" rIns="0" bIns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1600" b="1" noProof="1">
                <a:solidFill>
                  <a:schemeClr val="accent1"/>
                </a:solidFill>
                <a:cs typeface="Arial" charset="0"/>
              </a:rPr>
              <a:t>Price per SU (in €/SU) and country GDP – (MAT/03/23)</a:t>
            </a:r>
          </a:p>
        </p:txBody>
      </p:sp>
      <p:sp>
        <p:nvSpPr>
          <p:cNvPr id="134" name="TextBox 133"/>
          <p:cNvSpPr txBox="1">
            <a:spLocks/>
          </p:cNvSpPr>
          <p:nvPr/>
        </p:nvSpPr>
        <p:spPr>
          <a:xfrm>
            <a:off x="9178448" y="4464507"/>
            <a:ext cx="864000" cy="272415"/>
          </a:xfrm>
          <a:prstGeom prst="roundRect">
            <a:avLst/>
          </a:prstGeom>
          <a:solidFill>
            <a:srgbClr val="00B6F6"/>
          </a:solidFill>
          <a:ln w="19050">
            <a:solidFill>
              <a:srgbClr val="0099CC"/>
            </a:solidFill>
            <a:prstDash val="solid"/>
          </a:ln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800" b="1" i="1" dirty="0">
                <a:solidFill>
                  <a:schemeClr val="bg1"/>
                </a:solidFill>
                <a:latin typeface="+mj-lt"/>
              </a:rPr>
              <a:t>Average price per SU 0.40€</a:t>
            </a:r>
          </a:p>
        </p:txBody>
      </p:sp>
      <p:sp>
        <p:nvSpPr>
          <p:cNvPr id="113" name="Oval 112"/>
          <p:cNvSpPr/>
          <p:nvPr/>
        </p:nvSpPr>
        <p:spPr>
          <a:xfrm>
            <a:off x="11606368" y="58982"/>
            <a:ext cx="216000" cy="216000"/>
          </a:xfrm>
          <a:prstGeom prst="ellipse">
            <a:avLst/>
          </a:prstGeom>
          <a:solidFill>
            <a:srgbClr val="00B0F0"/>
          </a:solidFill>
          <a:ln w="1905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en-US" sz="1600" b="1" kern="0" dirty="0">
                <a:solidFill>
                  <a:srgbClr val="FFFFFF"/>
                </a:solidFill>
                <a:latin typeface="+mj-lt"/>
              </a:rPr>
              <a:t>B</a:t>
            </a:r>
          </a:p>
        </p:txBody>
      </p:sp>
      <p:sp>
        <p:nvSpPr>
          <p:cNvPr id="114" name="Oval 113"/>
          <p:cNvSpPr/>
          <p:nvPr/>
        </p:nvSpPr>
        <p:spPr>
          <a:xfrm>
            <a:off x="11332356" y="58982"/>
            <a:ext cx="216000" cy="216000"/>
          </a:xfrm>
          <a:prstGeom prst="ellipse">
            <a:avLst/>
          </a:prstGeom>
          <a:solidFill>
            <a:srgbClr val="F2F2F2"/>
          </a:solidFill>
          <a:ln w="19050" cap="flat" cmpd="sng" algn="ctr">
            <a:solidFill>
              <a:srgbClr val="E9E9E9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en-US" sz="1600" b="1" kern="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A</a:t>
            </a:r>
          </a:p>
        </p:txBody>
      </p:sp>
      <p:sp>
        <p:nvSpPr>
          <p:cNvPr id="115" name="Oval 114"/>
          <p:cNvSpPr/>
          <p:nvPr/>
        </p:nvSpPr>
        <p:spPr>
          <a:xfrm>
            <a:off x="11880381" y="58982"/>
            <a:ext cx="216000" cy="216000"/>
          </a:xfrm>
          <a:prstGeom prst="ellipse">
            <a:avLst/>
          </a:prstGeom>
          <a:solidFill>
            <a:srgbClr val="F2F2F2"/>
          </a:solidFill>
          <a:ln w="19050" cap="flat" cmpd="sng" algn="ctr">
            <a:solidFill>
              <a:srgbClr val="E9E9E9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en-US" sz="1600" b="1" kern="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C</a:t>
            </a:r>
          </a:p>
        </p:txBody>
      </p:sp>
      <p:pic>
        <p:nvPicPr>
          <p:cNvPr id="280" name="Picture 279" descr="Sweden.jpg"/>
          <p:cNvPicPr>
            <a:picLocks noChangeAspect="1"/>
          </p:cNvPicPr>
          <p:nvPr/>
        </p:nvPicPr>
        <p:blipFill>
          <a:blip r:embed="rId60" cstate="print"/>
          <a:stretch>
            <a:fillRect/>
          </a:stretch>
        </p:blipFill>
        <p:spPr>
          <a:xfrm>
            <a:off x="4535365" y="4109865"/>
            <a:ext cx="252000" cy="252000"/>
          </a:xfrm>
          <a:prstGeom prst="ellipse">
            <a:avLst/>
          </a:prstGeom>
        </p:spPr>
      </p:pic>
      <p:pic>
        <p:nvPicPr>
          <p:cNvPr id="278" name="Picture 277" descr="Portugal.jpg"/>
          <p:cNvPicPr>
            <a:picLocks noChangeAspect="1"/>
          </p:cNvPicPr>
          <p:nvPr/>
        </p:nvPicPr>
        <p:blipFill>
          <a:blip r:embed="rId50" cstate="print"/>
          <a:stretch>
            <a:fillRect/>
          </a:stretch>
        </p:blipFill>
        <p:spPr>
          <a:xfrm>
            <a:off x="2454429" y="4757738"/>
            <a:ext cx="252000" cy="252000"/>
          </a:xfrm>
          <a:prstGeom prst="ellipse">
            <a:avLst/>
          </a:prstGeom>
        </p:spPr>
      </p:pic>
      <p:sp>
        <p:nvSpPr>
          <p:cNvPr id="97" name="Text Placeholder 66">
            <a:extLst>
              <a:ext uri="{FF2B5EF4-FFF2-40B4-BE49-F238E27FC236}">
                <a16:creationId xmlns:a16="http://schemas.microsoft.com/office/drawing/2014/main" id="{14891B11-AE5A-4940-BEB4-BA10EB761878}"/>
              </a:ext>
            </a:extLst>
          </p:cNvPr>
          <p:cNvSpPr txBox="1">
            <a:spLocks/>
          </p:cNvSpPr>
          <p:nvPr/>
        </p:nvSpPr>
        <p:spPr>
          <a:xfrm>
            <a:off x="477013" y="6397157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ource: IQVIA data (MAT/03/23); IQVIA analysis; GDP rates as per OECD data - US dollars/capita, 2022 or latest available</a:t>
            </a:r>
          </a:p>
        </p:txBody>
      </p:sp>
      <p:sp>
        <p:nvSpPr>
          <p:cNvPr id="4" name="Text Placeholder 67">
            <a:extLst>
              <a:ext uri="{FF2B5EF4-FFF2-40B4-BE49-F238E27FC236}">
                <a16:creationId xmlns:a16="http://schemas.microsoft.com/office/drawing/2014/main" id="{3AEDC0C7-92DA-2D80-84F1-869540EC6FC5}"/>
              </a:ext>
            </a:extLst>
          </p:cNvPr>
          <p:cNvSpPr txBox="1">
            <a:spLocks/>
          </p:cNvSpPr>
          <p:nvPr/>
        </p:nvSpPr>
        <p:spPr>
          <a:xfrm>
            <a:off x="477012" y="6118280"/>
            <a:ext cx="11246241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Note 1: </a:t>
            </a:r>
            <a:r>
              <a:rPr lang="en-US" dirty="0"/>
              <a:t>Based on Pharmacy-Purchase-Prices (PPPs); </a:t>
            </a:r>
            <a:r>
              <a:rPr lang="en-US" b="1" dirty="0"/>
              <a:t>Note 2: </a:t>
            </a:r>
            <a:r>
              <a:rPr lang="en-US" dirty="0"/>
              <a:t>Numbers through the retail-pharmacy channel and for prescription-bound drugs only for all countries;</a:t>
            </a:r>
          </a:p>
        </p:txBody>
      </p:sp>
    </p:spTree>
    <p:extLst>
      <p:ext uri="{BB962C8B-B14F-4D97-AF65-F5344CB8AC3E}">
        <p14:creationId xmlns:p14="http://schemas.microsoft.com/office/powerpoint/2010/main" val="3937999111"/>
      </p:ext>
    </p:extLst>
  </p:cSld>
  <p:clrMapOvr>
    <a:masterClrMapping/>
  </p:clrMapOvr>
  <p:transition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Rectangle 45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3234080"/>
              </p:ext>
            </p:ext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3" imgW="0" imgH="0" progId="TCLayout.ActiveDocument.1">
                  <p:embed/>
                </p:oleObj>
              </mc:Choice>
              <mc:Fallback>
                <p:oleObj name="think-cell Slide" r:id="rId53" imgW="0" imgH="0" progId="TCLayout.ActiveDocument.1">
                  <p:embed/>
                  <p:pic>
                    <p:nvPicPr>
                      <p:cNvPr id="8194" name="Rectangle 4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6" name="Rectangle 46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FEDCFA18-C746-2E37-3120-35E870542AB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7771725"/>
              </p:ext>
            </p:extLst>
          </p:nvPr>
        </p:nvGraphicFramePr>
        <p:xfrm>
          <a:off x="769938" y="2662238"/>
          <a:ext cx="10731500" cy="1984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27" name="Rectangle 26">
            <a:extLst>
              <a:ext uri="{FF2B5EF4-FFF2-40B4-BE49-F238E27FC236}">
                <a16:creationId xmlns:a16="http://schemas.microsoft.com/office/drawing/2014/main" id="{EBB9CCDC-2CF9-E3B0-20F3-AB909A0FD6BA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579438" y="3586163"/>
            <a:ext cx="158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E79EA49-818E-4A37-90EB-29E67E834268}" type="datetime'''''''''''''''0''''''''''''''''''''''''''''''''''.''''''2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.2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7B82756-97EF-8426-14C7-292EDC2C5B3B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579438" y="4495800"/>
            <a:ext cx="158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82F9A6D-8C0D-41E3-BBB2-6BBE606D6DBF}" type="datetime'''''''''''''''''''0''''''.''''''''''''''''0''''''''''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.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EF1226B-27D9-F0ED-45CA-E892E548E4CB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579438" y="2676525"/>
            <a:ext cx="158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7EA4A0D-F928-485D-8077-BF034872134A}" type="datetime'''''''''0''''''''''''''.''''''''''''''4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.4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2" name="Straight Connector 1"/>
          <p:cNvCxnSpPr/>
          <p:nvPr>
            <p:custDataLst>
              <p:tags r:id="rId6"/>
            </p:custDataLst>
          </p:nvPr>
        </p:nvCxnSpPr>
        <p:spPr bwMode="auto">
          <a:xfrm>
            <a:off x="852488" y="3973513"/>
            <a:ext cx="2505075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ight Arrow 89"/>
          <p:cNvSpPr/>
          <p:nvPr>
            <p:custDataLst>
              <p:tags r:id="rId7"/>
            </p:custDataLst>
          </p:nvPr>
        </p:nvSpPr>
        <p:spPr bwMode="auto">
          <a:xfrm rot="10800000">
            <a:off x="11469688" y="3897313"/>
            <a:ext cx="128588" cy="152400"/>
          </a:xfrm>
          <a:prstGeom prst="rightArrow">
            <a:avLst>
              <a:gd name="adj1" fmla="val 100000"/>
              <a:gd name="adj2" fmla="val 84545"/>
            </a:avLst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l-GR" sz="1000">
              <a:latin typeface="Verdana" pitchFamily="34" charset="0"/>
            </a:endParaRPr>
          </a:p>
        </p:txBody>
      </p:sp>
      <p:cxnSp>
        <p:nvCxnSpPr>
          <p:cNvPr id="3" name="Straight Connector 2"/>
          <p:cNvCxnSpPr/>
          <p:nvPr>
            <p:custDataLst>
              <p:tags r:id="rId8"/>
            </p:custDataLst>
          </p:nvPr>
        </p:nvCxnSpPr>
        <p:spPr bwMode="auto">
          <a:xfrm>
            <a:off x="3630613" y="3973513"/>
            <a:ext cx="314325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9"/>
            </p:custDataLst>
          </p:nvPr>
        </p:nvCxnSpPr>
        <p:spPr bwMode="auto">
          <a:xfrm>
            <a:off x="4217988" y="3973513"/>
            <a:ext cx="312738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>
            <p:custDataLst>
              <p:tags r:id="rId10"/>
            </p:custDataLst>
          </p:nvPr>
        </p:nvCxnSpPr>
        <p:spPr bwMode="auto">
          <a:xfrm>
            <a:off x="4803776" y="3973513"/>
            <a:ext cx="314325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F7C8E15-0D01-4C7C-AEAB-0E666DE6549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5391150" y="3973513"/>
            <a:ext cx="26622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12"/>
            </p:custDataLst>
          </p:nvPr>
        </p:nvCxnSpPr>
        <p:spPr bwMode="auto">
          <a:xfrm>
            <a:off x="10086975" y="3973513"/>
            <a:ext cx="1331913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F7F7C97-9614-61F0-FCE2-420B3581B848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8326438" y="3973513"/>
            <a:ext cx="148748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202" name="Rectangle 3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239963" y="4602163"/>
            <a:ext cx="15875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>
            <a:noAutofit/>
          </a:bodyPr>
          <a:lstStyle/>
          <a:p>
            <a:pPr algn="ctr"/>
            <a:fld id="{6677AC94-B8C8-41F7-95B8-9087BD7CD64B}" type="datetime'''''''''''P''''''''''''T'''">
              <a:rPr lang="en-US" altLang="en-US" sz="900" smtClean="0">
                <a:cs typeface="Arial" panose="020B0604020202020204" pitchFamily="34" charset="0"/>
              </a:rPr>
              <a:pPr/>
              <a:t>PT</a:t>
            </a:fld>
            <a:endParaRPr lang="en-US" sz="9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62" name="Rectangle 61"/>
          <p:cNvSpPr/>
          <p:nvPr>
            <p:custDataLst>
              <p:tags r:id="rId15"/>
            </p:custDataLst>
          </p:nvPr>
        </p:nvSpPr>
        <p:spPr bwMode="auto">
          <a:xfrm>
            <a:off x="7516813" y="4602163"/>
            <a:ext cx="1714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AA57EEDB-51CD-42B7-8654-F83CE1D8BCE1}" type="datetime'''''''''''D''''''''''''''''E'''''''''''''''''''''''''''''''">
              <a:rPr lang="en-US" altLang="en-US" sz="900" smtClean="0">
                <a:cs typeface="Arial" panose="020B0604020202020204" pitchFamily="34" charset="0"/>
              </a:rPr>
              <a:pPr/>
              <a:t>DE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8206" name="Rectangle 34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676400" y="4602163"/>
            <a:ext cx="1143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>
            <a:noAutofit/>
          </a:bodyPr>
          <a:lstStyle/>
          <a:p>
            <a:pPr algn="ctr"/>
            <a:fld id="{8F299BDD-4E73-4FB4-96ED-21B34A4739A1}" type="datetime'''''''''''''''''''''''''''''I''''''''T'''''''''''''''''''''">
              <a:rPr lang="en-US" altLang="en-US" sz="900" smtClean="0">
                <a:cs typeface="Arial" panose="020B0604020202020204" pitchFamily="34" charset="0"/>
              </a:rPr>
              <a:pPr/>
              <a:t>IT</a:t>
            </a:fld>
            <a:endParaRPr lang="en-US" sz="9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0" name="Rectangle 49"/>
          <p:cNvSpPr/>
          <p:nvPr>
            <p:custDataLst>
              <p:tags r:id="rId17"/>
            </p:custDataLst>
          </p:nvPr>
        </p:nvSpPr>
        <p:spPr bwMode="auto">
          <a:xfrm>
            <a:off x="3411538" y="4602163"/>
            <a:ext cx="165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F37C2BBF-6F8A-422A-9A11-6DB9AB7F24B4}" type="datetime'''''''''''''''''''C''''''''''''''Z'''''''''''''''''''''''''">
              <a:rPr lang="en-US" altLang="en-US" sz="900" smtClean="0">
                <a:cs typeface="Arial" panose="020B0604020202020204" pitchFamily="34" charset="0"/>
              </a:rPr>
              <a:pPr/>
              <a:t>CZ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6" name="Rectangle 55"/>
          <p:cNvSpPr/>
          <p:nvPr>
            <p:custDataLst>
              <p:tags r:id="rId18"/>
            </p:custDataLst>
          </p:nvPr>
        </p:nvSpPr>
        <p:spPr bwMode="auto">
          <a:xfrm>
            <a:off x="3992563" y="4602163"/>
            <a:ext cx="1778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84BCA513-A772-4853-938E-5792F7B50E38}" type="datetime'''''''''''''''''''''''''''''''''''''''''H''''''U'">
              <a:rPr lang="en-US" altLang="en-US" sz="900" smtClean="0">
                <a:cs typeface="Arial" panose="020B0604020202020204" pitchFamily="34" charset="0"/>
              </a:rPr>
              <a:pPr/>
              <a:t>HU</a:t>
            </a:fld>
            <a:endParaRPr lang="el-GR" sz="9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8" name="Rectangle 57"/>
          <p:cNvSpPr/>
          <p:nvPr>
            <p:custDataLst>
              <p:tags r:id="rId19"/>
            </p:custDataLst>
          </p:nvPr>
        </p:nvSpPr>
        <p:spPr bwMode="auto">
          <a:xfrm>
            <a:off x="5172075" y="4602163"/>
            <a:ext cx="165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7E0030E1-5FF8-4CE6-B6DE-6BF0F6480500}" type="datetime'''''''''''''''''S''''''K'''''''''''''''">
              <a:rPr lang="en-US" altLang="en-US" sz="900" smtClean="0">
                <a:cs typeface="Arial" panose="020B0604020202020204" pitchFamily="34" charset="0"/>
              </a:rPr>
              <a:pPr/>
              <a:t>SK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F70344-AB94-4F80-B5EB-0B2D6EFF0D2C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4540250" y="39481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7052A90-EBD4-47FE-8008-6E5F5D88E709}" type="datetime'0.''''''''''''''''''''''''''''1''''''''''''''0''''''''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78" name="Rectangle 77"/>
          <p:cNvSpPr/>
          <p:nvPr>
            <p:custDataLst>
              <p:tags r:id="rId21"/>
            </p:custDataLst>
          </p:nvPr>
        </p:nvSpPr>
        <p:spPr bwMode="auto">
          <a:xfrm>
            <a:off x="9278938" y="4602163"/>
            <a:ext cx="1714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F0935AEB-B079-4314-B079-549B29C038FE}" type="datetime'''''''U''''''''''''''''''''''''''''K'''''''''''''''''">
              <a:rPr lang="en-US" altLang="en-US" sz="900" smtClean="0">
                <a:cs typeface="Arial" panose="020B0604020202020204" pitchFamily="34" charset="0"/>
              </a:rPr>
              <a:pPr/>
              <a:t>UK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9" name="Rectangle 58"/>
          <p:cNvSpPr/>
          <p:nvPr>
            <p:custDataLst>
              <p:tags r:id="rId22"/>
            </p:custDataLst>
          </p:nvPr>
        </p:nvSpPr>
        <p:spPr bwMode="auto">
          <a:xfrm>
            <a:off x="5762625" y="4602163"/>
            <a:ext cx="1587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1BBE75B4-AF9B-4B7D-97DE-5A35BC283BBA}" type="datetime'''''A''''T'''''''''''''''''''">
              <a:rPr lang="en-US" altLang="en-US" sz="900" smtClean="0">
                <a:cs typeface="Arial" panose="020B0604020202020204" pitchFamily="34" charset="0"/>
              </a:rPr>
              <a:pPr/>
              <a:t>AT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60" name="Rectangle 59"/>
          <p:cNvSpPr/>
          <p:nvPr>
            <p:custDataLst>
              <p:tags r:id="rId23"/>
            </p:custDataLst>
          </p:nvPr>
        </p:nvSpPr>
        <p:spPr bwMode="auto">
          <a:xfrm>
            <a:off x="6346825" y="4602163"/>
            <a:ext cx="165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5144C3F0-9AEB-45D4-A377-4025458DEF57}" type="datetime'''''''''''''''''''''''''''''''''''''''BE'''''''">
              <a:rPr lang="en-US" altLang="en-US" sz="900" smtClean="0">
                <a:cs typeface="Arial" panose="020B0604020202020204" pitchFamily="34" charset="0"/>
              </a:rPr>
              <a:pPr/>
              <a:t>BE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74" name="Rectangle 73"/>
          <p:cNvSpPr/>
          <p:nvPr>
            <p:custDataLst>
              <p:tags r:id="rId24"/>
            </p:custDataLst>
          </p:nvPr>
        </p:nvSpPr>
        <p:spPr bwMode="auto">
          <a:xfrm>
            <a:off x="8110538" y="4602163"/>
            <a:ext cx="1587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179B2863-9D78-4E27-8A83-6AEB7B34A717}" type="datetime'''''''''''''''''''''''''''''''''N''''''''''''L'">
              <a:rPr lang="en-US" altLang="en-US" sz="900" smtClean="0">
                <a:cs typeface="Arial" panose="020B0604020202020204" pitchFamily="34" charset="0"/>
              </a:rPr>
              <a:pPr/>
              <a:t>NL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61" name="Rectangle 60"/>
          <p:cNvSpPr/>
          <p:nvPr>
            <p:custDataLst>
              <p:tags r:id="rId25"/>
            </p:custDataLst>
          </p:nvPr>
        </p:nvSpPr>
        <p:spPr bwMode="auto">
          <a:xfrm>
            <a:off x="6934200" y="4602163"/>
            <a:ext cx="165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4C34BA9C-B2A7-4B59-AACF-784FDF59C09D}" type="datetime'''''F''''''''''''''''''''''R'''''''''''">
              <a:rPr lang="en-US" altLang="en-US" sz="900" smtClean="0">
                <a:cs typeface="Arial" panose="020B0604020202020204" pitchFamily="34" charset="0"/>
              </a:rPr>
              <a:pPr/>
              <a:t>FR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80" name="Rectangle 79"/>
          <p:cNvSpPr/>
          <p:nvPr>
            <p:custDataLst>
              <p:tags r:id="rId26"/>
            </p:custDataLst>
          </p:nvPr>
        </p:nvSpPr>
        <p:spPr bwMode="auto">
          <a:xfrm>
            <a:off x="10445750" y="4602163"/>
            <a:ext cx="1841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98DF2B26-C7EE-411A-9084-EB892D3FE024}" type="datetime'NO'''''''''''''''''''''''''''''''''''''">
              <a:rPr lang="en-US" altLang="en-US" sz="900" smtClean="0">
                <a:cs typeface="Arial" panose="020B0604020202020204" pitchFamily="34" charset="0"/>
              </a:rPr>
              <a:pPr/>
              <a:t>NO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79" name="Rectangle 78"/>
          <p:cNvSpPr/>
          <p:nvPr>
            <p:custDataLst>
              <p:tags r:id="rId27"/>
            </p:custDataLst>
          </p:nvPr>
        </p:nvSpPr>
        <p:spPr bwMode="auto">
          <a:xfrm>
            <a:off x="9893300" y="4602163"/>
            <a:ext cx="1143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4A51EF1F-D217-445C-89A4-685C09C6D83F}" type="datetime'''''F''I'''''''''''''''''''''''''''''''''''">
              <a:rPr lang="en-US" altLang="en-US" sz="900" smtClean="0">
                <a:cs typeface="Arial" panose="020B0604020202020204" pitchFamily="34" charset="0"/>
              </a:rPr>
              <a:pPr/>
              <a:t>FI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81" name="Rectangle 80"/>
          <p:cNvSpPr/>
          <p:nvPr>
            <p:custDataLst>
              <p:tags r:id="rId28"/>
            </p:custDataLst>
          </p:nvPr>
        </p:nvSpPr>
        <p:spPr bwMode="auto">
          <a:xfrm>
            <a:off x="11042650" y="4602163"/>
            <a:ext cx="165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8441A7AE-2BB9-42A3-B792-AFB85A611B64}" type="datetime'''''''''''''''''''''''''''''S''''''''''''''''E'''''''''''''''">
              <a:rPr lang="en-US" altLang="en-US" sz="900" smtClean="0">
                <a:cs typeface="Arial" panose="020B0604020202020204" pitchFamily="34" charset="0"/>
              </a:rPr>
              <a:pPr/>
              <a:t>SE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89" name="Rectangle 88"/>
          <p:cNvSpPr/>
          <p:nvPr>
            <p:custDataLst>
              <p:tags r:id="rId29"/>
            </p:custDataLst>
          </p:nvPr>
        </p:nvSpPr>
        <p:spPr bwMode="auto">
          <a:xfrm>
            <a:off x="11649075" y="3905250"/>
            <a:ext cx="2222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>
                <a:cs typeface="Arial" panose="020B0604020202020204" pitchFamily="34" charset="0"/>
                <a:sym typeface="+mn-lt"/>
              </a:rPr>
              <a:t>0.14</a:t>
            </a:r>
          </a:p>
        </p:txBody>
      </p:sp>
      <p:sp>
        <p:nvSpPr>
          <p:cNvPr id="8198" name="Rectangle 107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2824163" y="4602163"/>
            <a:ext cx="16510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>
            <a:noAutofit/>
          </a:bodyPr>
          <a:lstStyle/>
          <a:p>
            <a:pPr algn="ctr"/>
            <a:fld id="{12382662-D56A-4C72-991D-3FC34A39454F}" type="datetime'''''''''''''''''''''''''''E''''''''''''''''''''''''''S'''">
              <a:rPr lang="en-US" altLang="en-US" sz="900" smtClean="0">
                <a:cs typeface="Arial" panose="020B0604020202020204" pitchFamily="34" charset="0"/>
              </a:rPr>
              <a:pPr/>
              <a:t>ES</a:t>
            </a:fld>
            <a:endParaRPr lang="en-US" sz="9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4FAEA9C-4F0A-7995-AFC8-9608D11CFD96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6889750" y="367506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895B4AC-65EC-45F1-82C3-EE1B5B6C8EFA}" type="datetime'''''''''''0''''''''''''''''''''.''16'''">
              <a:rPr lang="en-US" altLang="en-US" sz="900" smtClean="0">
                <a:solidFill>
                  <a:schemeClr val="tx1"/>
                </a:solidFill>
              </a:rPr>
              <a:pPr/>
              <a:t>0.16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57" name="Rectangle 56"/>
          <p:cNvSpPr/>
          <p:nvPr>
            <p:custDataLst>
              <p:tags r:id="rId32"/>
            </p:custDataLst>
          </p:nvPr>
        </p:nvSpPr>
        <p:spPr bwMode="auto">
          <a:xfrm>
            <a:off x="4591050" y="4602163"/>
            <a:ext cx="1524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05D66646-6519-4869-B743-02B649E2F370}" type="datetime'''''''P''''''''''''''''''''''''''''''''''''''''L'''''''''''">
              <a:rPr lang="en-US" altLang="en-US" sz="900" smtClean="0">
                <a:cs typeface="Arial" panose="020B0604020202020204" pitchFamily="34" charset="0"/>
              </a:rPr>
              <a:pPr/>
              <a:t>PL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855C7A-8EDD-3B40-9FF9-60E93AE30606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2779713" y="3765550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0383894-B0F0-4280-AB52-A615A1A13081}" type="datetime'''0''''''''''''.''''''1''''''''''''''''4''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4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95249EE-FF60-0E6A-4E2E-AC39528B6FAF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6302375" y="37195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5DCE1B3-9025-4CD7-8794-A62EF7B5AFA6}" type="datetime'''''''''''''''''''''''0.''''''''1''''''''''''5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5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8197" name="Rectangle 19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528638" y="2311400"/>
            <a:ext cx="647700" cy="2730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anchor="b">
            <a:noAutofit/>
          </a:bodyPr>
          <a:lstStyle/>
          <a:p>
            <a:pPr algn="ctr"/>
            <a:r>
              <a:rPr lang="en-US" sz="900" dirty="0">
                <a:cs typeface="Arial"/>
                <a:sym typeface="Arial"/>
              </a:rPr>
              <a:t>Price per SU</a:t>
            </a:r>
            <a:endParaRPr lang="el-GR" sz="900" dirty="0">
              <a:cs typeface="Arial"/>
              <a:sym typeface="Arial"/>
            </a:endParaRPr>
          </a:p>
          <a:p>
            <a:pPr algn="ctr"/>
            <a:r>
              <a:rPr lang="el-GR" sz="900" dirty="0">
                <a:cs typeface="Arial"/>
                <a:sym typeface="Arial"/>
              </a:rPr>
              <a:t>(€/</a:t>
            </a:r>
            <a:r>
              <a:rPr lang="en-US" sz="900" dirty="0">
                <a:cs typeface="Arial"/>
                <a:sym typeface="Arial"/>
              </a:rPr>
              <a:t>SU</a:t>
            </a:r>
            <a:r>
              <a:rPr lang="el-GR" sz="900" dirty="0">
                <a:cs typeface="Arial"/>
                <a:sym typeface="Arial"/>
              </a:rPr>
              <a:t>)</a:t>
            </a:r>
            <a:endParaRPr lang="en-US" sz="900" dirty="0">
              <a:cs typeface="Arial"/>
              <a:sym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437FDD0-11F5-AE79-18F8-B91A35596738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5715000" y="344646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7E1124B-B782-494B-9E3A-AEFD9C4D2981}" type="datetime'''''''''''0''''''.''''''''''2''''''''''''''''''''''''1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1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77D722-33EF-A245-A9DC-932A36954D6E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1019175" y="353853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4A3BA48-A159-4FCE-BE55-8C57482C5BAE}" type="datetime'0''''''''''''''.''''''''''''''19''''''''''''''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9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9574943-B1AD-1DDE-A562-46175355F23C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1606550" y="367506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72335F4-8929-4C32-8172-D72456D86FC4}" type="datetime'0''''''.''''''''''''1''''''''6''''''''''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6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76" name="Rectangle 75"/>
          <p:cNvSpPr/>
          <p:nvPr>
            <p:custDataLst>
              <p:tags r:id="rId39"/>
            </p:custDataLst>
          </p:nvPr>
        </p:nvSpPr>
        <p:spPr bwMode="auto">
          <a:xfrm>
            <a:off x="8716963" y="4602163"/>
            <a:ext cx="1206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4EC18256-64E5-4767-9EB6-492389F73B7E}" type="datetime'''''''''''''''''''''''''''''''''''I''''''''''''''E'''''''''''">
              <a:rPr lang="en-US" altLang="en-US" sz="900" smtClean="0">
                <a:cs typeface="Arial" panose="020B0604020202020204" pitchFamily="34" charset="0"/>
              </a:rPr>
              <a:pPr/>
              <a:t>IE</a:t>
            </a:fld>
            <a:endParaRPr lang="el-GR" sz="90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E6570E1-60D2-4CD2-D3A4-61C6A2FBA0AF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3367088" y="385603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EAD43F7-990E-4A97-A372-43B74B99FFDD}" type="datetime'''''''0''''''''''''.''''''12'''''''''''''''''''''''''''">
              <a:rPr lang="en-US" altLang="en-US" sz="900" smtClean="0">
                <a:solidFill>
                  <a:schemeClr val="tx1"/>
                </a:solidFill>
              </a:rPr>
              <a:pPr/>
              <a:t>0.12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B528C04-8F85-6332-9111-1D5E38B3A25C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3954463" y="39481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2D559EA-EEAD-4FE3-99AD-3593B4D213D7}" type="datetime'''''''''0.''''''''''''''1''''''0'''''">
              <a:rPr lang="en-US" altLang="en-US" sz="900" smtClean="0">
                <a:solidFill>
                  <a:schemeClr val="tx1"/>
                </a:solidFill>
              </a:rPr>
              <a:pPr/>
              <a:t>0.1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FCF724B-38E8-DEED-9A52-C17206A353F0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8650288" y="367506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5EA677B-05AD-440D-825D-DA6CA8B98D6B}" type="datetime'''''''0''''''''''''''''''''.''''''1''6'''''''''''''''''''''">
              <a:rPr lang="en-US" altLang="en-US" sz="900" smtClean="0">
                <a:solidFill>
                  <a:schemeClr val="tx1"/>
                </a:solidFill>
              </a:rPr>
              <a:pPr/>
              <a:t>0.16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43B4482-BF57-DB48-9A62-46C002EB7F0E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5127625" y="385603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04022DF-F47D-4CEB-B860-DCA4F5136FD5}" type="datetime'''0''''''''''''''''''''''''.''''''''''1''''''''''''''''2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2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88" name="Rectangle 87"/>
          <p:cNvSpPr/>
          <p:nvPr>
            <p:custDataLst>
              <p:tags r:id="rId44"/>
            </p:custDataLst>
          </p:nvPr>
        </p:nvSpPr>
        <p:spPr bwMode="auto">
          <a:xfrm>
            <a:off x="1054100" y="4602163"/>
            <a:ext cx="1841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387BA570-1770-4974-84FE-150E4D5F167A}" type="datetime'''G''''''''''''''''''''''''''''''''''''''''''''R'">
              <a:rPr lang="en-US" sz="900" b="1" smtClean="0">
                <a:latin typeface="Arial"/>
                <a:cs typeface="Arial"/>
                <a:sym typeface="Arial"/>
              </a:rPr>
              <a:pPr algn="ctr"/>
              <a:t>GR</a:t>
            </a:fld>
            <a:endParaRPr lang="el-GR" sz="900" b="1" dirty="0">
              <a:latin typeface="Arial"/>
              <a:cs typeface="Arial"/>
              <a:sym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FE13BE-C00C-EFB1-A365-7A5897DDFF8B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2192338" y="37195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1312831-93F1-4813-9F1D-1AC2850925C4}" type="datetime'''''''''''''''0''''''.''''''''''1''''''''''''''''''5''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5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9B7EDF3-EFA8-8EDF-ABDC-3884B6E6C920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8062913" y="385603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8FDCB7F-86E9-478F-9D36-ADBD6D574921}" type="datetime'''''''''0.''''''''''''1''''''2'''''''''''''''''''''''''''">
              <a:rPr lang="en-US" altLang="en-US" sz="900" smtClean="0">
                <a:solidFill>
                  <a:schemeClr val="tx1"/>
                </a:solidFill>
              </a:rPr>
              <a:pPr/>
              <a:t>0.12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151DEB7-AA09-68D3-B59B-A124D7F40FD5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9237663" y="399256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28E9466-AF0A-4050-94AB-14EAD4767525}" type="datetime'''''''''''''''0''''''''''''.09''''''''''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09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7983C63-EF75-AE03-B6C8-6D718A2D9533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9823450" y="385603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089D631-FE20-46A1-A9B5-347928457D5F}" type="datetime'0.''''''''''''''''''''''''''''''''1''''''''''''''''2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2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C84CAF6-C96C-D666-64FB-4826FCE74689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10410825" y="37195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91D92B8-F562-482C-A1A8-CC888E7C2178}" type="datetime'''''''''''''''''0''.''''''''1''''''''''''''''5'''''">
              <a:rPr lang="en-US" altLang="en-US" sz="900" smtClean="0">
                <a:solidFill>
                  <a:schemeClr val="tx1"/>
                </a:solidFill>
              </a:rPr>
              <a:pPr/>
              <a:t>0.15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FA6A57F-FA17-9776-3076-3C7745ED77F9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10998200" y="399256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20CA589-B0A0-4E1A-A4C0-F1CE28AB5101}" type="datetime'''''''''''''''''''''''''''0''.''''''0''''''9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09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12C55DE-197D-3456-BD6F-ABB3793D0EDD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7475538" y="367506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6C56C68-92F8-4580-AECF-04CDBC005C27}" type="datetime'''0''''.''''''''''''''''''''1''''''6''''''''''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6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99" name="TextBox 98"/>
          <p:cNvSpPr txBox="1">
            <a:spLocks/>
          </p:cNvSpPr>
          <p:nvPr/>
        </p:nvSpPr>
        <p:spPr>
          <a:xfrm>
            <a:off x="11398250" y="3706890"/>
            <a:ext cx="549112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GB" sz="900" b="1" i="1" dirty="0"/>
              <a:t>Average</a:t>
            </a:r>
            <a:endParaRPr lang="en-US" sz="900" b="1" i="1" baseline="30000" dirty="0"/>
          </a:p>
        </p:txBody>
      </p:sp>
      <p:sp>
        <p:nvSpPr>
          <p:cNvPr id="139" name="Text Placeholder 138"/>
          <p:cNvSpPr>
            <a:spLocks noGrp="1"/>
          </p:cNvSpPr>
          <p:nvPr>
            <p:ph type="body" sz="quarter" idx="18"/>
          </p:nvPr>
        </p:nvSpPr>
        <p:spPr>
          <a:xfrm>
            <a:off x="477012" y="5982859"/>
            <a:ext cx="11246241" cy="246221"/>
          </a:xfrm>
        </p:spPr>
        <p:txBody>
          <a:bodyPr/>
          <a:lstStyle/>
          <a:p>
            <a:pPr eaLnBrk="0" hangingPunct="0">
              <a:lnSpc>
                <a:spcPct val="100000"/>
              </a:lnSpc>
              <a:spcBef>
                <a:spcPts val="100"/>
              </a:spcBef>
            </a:pPr>
            <a:r>
              <a:rPr lang="en-US" b="1" dirty="0"/>
              <a:t>Note 1: </a:t>
            </a:r>
            <a:r>
              <a:rPr lang="en-US" dirty="0"/>
              <a:t>Based on Pharmacy-Purchase-Prices (PPPs); </a:t>
            </a:r>
            <a:r>
              <a:rPr lang="en-US" b="1" dirty="0"/>
              <a:t>Note 2: </a:t>
            </a:r>
            <a:r>
              <a:rPr lang="en-US" dirty="0"/>
              <a:t>Numbers through the retail-pharmacy channel and for prescription-bound drugs only for all countries;; </a:t>
            </a:r>
            <a:r>
              <a:rPr lang="en-US" b="1" dirty="0"/>
              <a:t>Note </a:t>
            </a:r>
            <a:r>
              <a:rPr lang="en-GB" b="1" dirty="0"/>
              <a:t>3: AT</a:t>
            </a:r>
            <a:r>
              <a:rPr lang="en-GB" dirty="0"/>
              <a:t>=Austria; </a:t>
            </a:r>
            <a:r>
              <a:rPr lang="en-GB" b="1" dirty="0"/>
              <a:t>BE</a:t>
            </a:r>
            <a:r>
              <a:rPr lang="en-GB" dirty="0"/>
              <a:t>=Belgium; </a:t>
            </a:r>
            <a:r>
              <a:rPr lang="en-GB" b="1" dirty="0"/>
              <a:t>CZ</a:t>
            </a:r>
            <a:r>
              <a:rPr lang="en-GB" dirty="0"/>
              <a:t>=Czech Republic;</a:t>
            </a:r>
            <a:r>
              <a:rPr lang="en-GB" b="1" dirty="0"/>
              <a:t> F</a:t>
            </a:r>
            <a:r>
              <a:rPr lang="el-GR" b="1" dirty="0"/>
              <a:t>Ι</a:t>
            </a:r>
            <a:r>
              <a:rPr lang="en-GB" dirty="0"/>
              <a:t>=Finland; </a:t>
            </a:r>
            <a:r>
              <a:rPr lang="en-GB" b="1" dirty="0"/>
              <a:t>FR</a:t>
            </a:r>
            <a:r>
              <a:rPr lang="en-GB" dirty="0"/>
              <a:t>=France; </a:t>
            </a:r>
            <a:r>
              <a:rPr lang="en-GB" b="1" dirty="0"/>
              <a:t>DE</a:t>
            </a:r>
            <a:r>
              <a:rPr lang="en-GB" dirty="0"/>
              <a:t>=Germany; </a:t>
            </a:r>
            <a:r>
              <a:rPr lang="en-GB" b="1" dirty="0"/>
              <a:t>GR</a:t>
            </a:r>
            <a:r>
              <a:rPr lang="en-GB" dirty="0"/>
              <a:t>=Greece; </a:t>
            </a:r>
            <a:r>
              <a:rPr lang="en-GB" b="1" dirty="0"/>
              <a:t>HU</a:t>
            </a:r>
            <a:r>
              <a:rPr lang="en-GB" dirty="0"/>
              <a:t>=Hungary;</a:t>
            </a:r>
            <a:r>
              <a:rPr lang="en-GB" b="1" dirty="0"/>
              <a:t> I</a:t>
            </a:r>
            <a:r>
              <a:rPr lang="el-GR" b="1" dirty="0"/>
              <a:t>Ε</a:t>
            </a:r>
            <a:r>
              <a:rPr lang="en-GB" dirty="0"/>
              <a:t>=Ireland; </a:t>
            </a:r>
            <a:r>
              <a:rPr lang="en-GB" b="1" dirty="0"/>
              <a:t>IT</a:t>
            </a:r>
            <a:r>
              <a:rPr lang="en-GB" dirty="0"/>
              <a:t>=Italy; </a:t>
            </a:r>
            <a:r>
              <a:rPr lang="en-GB" b="1" dirty="0"/>
              <a:t>NL</a:t>
            </a:r>
            <a:r>
              <a:rPr lang="en-GB" dirty="0"/>
              <a:t>=Netherlands; </a:t>
            </a:r>
            <a:r>
              <a:rPr lang="en-GB" b="1" dirty="0"/>
              <a:t>N</a:t>
            </a:r>
            <a:r>
              <a:rPr lang="el-GR" b="1" dirty="0"/>
              <a:t>Ο</a:t>
            </a:r>
            <a:r>
              <a:rPr lang="en-GB" dirty="0"/>
              <a:t>=Norway; </a:t>
            </a:r>
            <a:r>
              <a:rPr lang="en-GB" b="1" dirty="0"/>
              <a:t>PL</a:t>
            </a:r>
            <a:r>
              <a:rPr lang="en-GB" dirty="0"/>
              <a:t>=Poland;</a:t>
            </a:r>
            <a:r>
              <a:rPr lang="en-GB" b="1" dirty="0"/>
              <a:t> PT</a:t>
            </a:r>
            <a:r>
              <a:rPr lang="en-GB" dirty="0"/>
              <a:t>=Portugal; </a:t>
            </a:r>
            <a:r>
              <a:rPr lang="en-GB" b="1" dirty="0"/>
              <a:t>ES</a:t>
            </a:r>
            <a:r>
              <a:rPr lang="en-GB" dirty="0"/>
              <a:t>=Spain;</a:t>
            </a:r>
            <a:r>
              <a:rPr lang="en-GB" b="1" dirty="0"/>
              <a:t> SE</a:t>
            </a:r>
            <a:r>
              <a:rPr lang="en-GB" dirty="0"/>
              <a:t>=Sweden; </a:t>
            </a:r>
            <a:r>
              <a:rPr lang="en-GB" b="1" dirty="0"/>
              <a:t>S</a:t>
            </a:r>
            <a:r>
              <a:rPr lang="el-GR" b="1" dirty="0"/>
              <a:t>Κ</a:t>
            </a:r>
            <a:r>
              <a:rPr lang="en-GB" dirty="0"/>
              <a:t>=Slovakia; </a:t>
            </a:r>
            <a:r>
              <a:rPr lang="en-GB" b="1" dirty="0"/>
              <a:t>UK</a:t>
            </a:r>
            <a:r>
              <a:rPr lang="en-GB" dirty="0"/>
              <a:t>=United Kingdom;</a:t>
            </a:r>
            <a:r>
              <a:rPr lang="en-US" dirty="0"/>
              <a:t> </a:t>
            </a:r>
            <a:endParaRPr lang="el-GR" dirty="0"/>
          </a:p>
        </p:txBody>
      </p:sp>
      <p:sp>
        <p:nvSpPr>
          <p:cNvPr id="136" name="Text Placeholder 13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Generics Prices in EU</a:t>
            </a:r>
            <a:endParaRPr lang="el-GR" dirty="0"/>
          </a:p>
        </p:txBody>
      </p:sp>
      <p:sp>
        <p:nvSpPr>
          <p:cNvPr id="97" name="Title 9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eneric products in Greece have the 2</a:t>
            </a:r>
            <a:r>
              <a:rPr lang="en-US" baseline="30000" dirty="0"/>
              <a:t>nd</a:t>
            </a:r>
            <a:r>
              <a:rPr lang="en-US" dirty="0"/>
              <a:t> highest average price in EU, being 36% higher vs. EU average</a:t>
            </a:r>
            <a:endParaRPr lang="el-GR" dirty="0">
              <a:latin typeface="+mn-lt"/>
            </a:endParaRP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604FDB2A-F0F1-48CA-BE64-CF78B17C04E3}"/>
              </a:ext>
            </a:extLst>
          </p:cNvPr>
          <p:cNvCxnSpPr>
            <a:cxnSpLocks/>
          </p:cNvCxnSpPr>
          <p:nvPr/>
        </p:nvCxnSpPr>
        <p:spPr>
          <a:xfrm>
            <a:off x="468748" y="1648910"/>
            <a:ext cx="11254499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ktangel 76">
            <a:extLst>
              <a:ext uri="{FF2B5EF4-FFF2-40B4-BE49-F238E27FC236}">
                <a16:creationId xmlns:a16="http://schemas.microsoft.com/office/drawing/2014/main" id="{F3D8C4E2-7F9E-4BBC-84B1-C516DF9AD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747" y="1659797"/>
            <a:ext cx="9515703" cy="318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72000" rIns="0" bIns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1600" b="1" noProof="1">
                <a:solidFill>
                  <a:schemeClr val="accent1"/>
                </a:solidFill>
                <a:cs typeface="Arial" charset="0"/>
              </a:rPr>
              <a:t>Price per SU (in €/SU) for Generics (MAT/03/23) – Greece vs. European countries</a:t>
            </a:r>
          </a:p>
        </p:txBody>
      </p:sp>
      <p:sp>
        <p:nvSpPr>
          <p:cNvPr id="101" name="Oval 100"/>
          <p:cNvSpPr/>
          <p:nvPr/>
        </p:nvSpPr>
        <p:spPr>
          <a:xfrm>
            <a:off x="11606368" y="58982"/>
            <a:ext cx="216000" cy="216000"/>
          </a:xfrm>
          <a:prstGeom prst="ellipse">
            <a:avLst/>
          </a:prstGeom>
          <a:solidFill>
            <a:srgbClr val="F2F2F2"/>
          </a:solidFill>
          <a:ln w="19050" cap="flat" cmpd="sng" algn="ctr">
            <a:solidFill>
              <a:srgbClr val="E9E9E9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en-US" sz="1600" b="1" kern="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B</a:t>
            </a:r>
          </a:p>
        </p:txBody>
      </p:sp>
      <p:sp>
        <p:nvSpPr>
          <p:cNvPr id="102" name="Oval 101"/>
          <p:cNvSpPr/>
          <p:nvPr/>
        </p:nvSpPr>
        <p:spPr>
          <a:xfrm>
            <a:off x="11332356" y="58982"/>
            <a:ext cx="216000" cy="216000"/>
          </a:xfrm>
          <a:prstGeom prst="ellipse">
            <a:avLst/>
          </a:prstGeom>
          <a:solidFill>
            <a:srgbClr val="F2F2F2"/>
          </a:solidFill>
          <a:ln w="19050" cap="flat" cmpd="sng" algn="ctr">
            <a:solidFill>
              <a:srgbClr val="E9E9E9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en-US" sz="1600" b="1" kern="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A</a:t>
            </a:r>
          </a:p>
        </p:txBody>
      </p:sp>
      <p:sp>
        <p:nvSpPr>
          <p:cNvPr id="103" name="Oval 102"/>
          <p:cNvSpPr/>
          <p:nvPr/>
        </p:nvSpPr>
        <p:spPr>
          <a:xfrm>
            <a:off x="11880381" y="58982"/>
            <a:ext cx="216000" cy="216000"/>
          </a:xfrm>
          <a:prstGeom prst="ellipse">
            <a:avLst/>
          </a:prstGeom>
          <a:solidFill>
            <a:srgbClr val="00B0F0"/>
          </a:solidFill>
          <a:ln w="1905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en-US" sz="1600" b="1" kern="0" dirty="0">
                <a:solidFill>
                  <a:srgbClr val="FFFFFF"/>
                </a:solidFill>
                <a:latin typeface="+mj-lt"/>
              </a:rPr>
              <a:t>C</a:t>
            </a:r>
          </a:p>
        </p:txBody>
      </p:sp>
      <p:sp>
        <p:nvSpPr>
          <p:cNvPr id="77" name="Rounded Rectangle 136">
            <a:extLst>
              <a:ext uri="{FF2B5EF4-FFF2-40B4-BE49-F238E27FC236}">
                <a16:creationId xmlns:a16="http://schemas.microsoft.com/office/drawing/2014/main" id="{AB281A2D-636E-4678-A134-314D8972D328}"/>
              </a:ext>
            </a:extLst>
          </p:cNvPr>
          <p:cNvSpPr>
            <a:spLocks/>
          </p:cNvSpPr>
          <p:nvPr/>
        </p:nvSpPr>
        <p:spPr bwMode="auto">
          <a:xfrm>
            <a:off x="1497465" y="2224087"/>
            <a:ext cx="983411" cy="521148"/>
          </a:xfrm>
          <a:prstGeom prst="roundRect">
            <a:avLst/>
          </a:prstGeom>
          <a:noFill/>
          <a:ln w="12700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i="1" dirty="0"/>
              <a:t>Generics:</a:t>
            </a:r>
          </a:p>
          <a:p>
            <a:pPr algn="ctr"/>
            <a:r>
              <a:rPr lang="en-US" sz="1000" b="1" i="1" dirty="0"/>
              <a:t>Price per SU</a:t>
            </a:r>
            <a:endParaRPr lang="el-GR" sz="1000" b="1" i="1" dirty="0"/>
          </a:p>
          <a:p>
            <a:pPr algn="ctr"/>
            <a:r>
              <a:rPr lang="en-US" sz="1000" b="1" i="1" dirty="0">
                <a:solidFill>
                  <a:schemeClr val="accent1"/>
                </a:solidFill>
              </a:rPr>
              <a:t>0.15</a:t>
            </a:r>
            <a:r>
              <a:rPr lang="el-GR" sz="1000" b="1" i="1" dirty="0">
                <a:solidFill>
                  <a:schemeClr val="accent1"/>
                </a:solidFill>
              </a:rPr>
              <a:t>€</a:t>
            </a:r>
            <a:endParaRPr lang="en-US" sz="1000" b="1" i="1" dirty="0">
              <a:solidFill>
                <a:schemeClr val="accent1"/>
              </a:solidFill>
            </a:endParaRPr>
          </a:p>
        </p:txBody>
      </p:sp>
      <p:sp>
        <p:nvSpPr>
          <p:cNvPr id="82" name="Rounded Rectangle 141">
            <a:extLst>
              <a:ext uri="{FF2B5EF4-FFF2-40B4-BE49-F238E27FC236}">
                <a16:creationId xmlns:a16="http://schemas.microsoft.com/office/drawing/2014/main" id="{228E0F72-295F-42AD-AA1F-6693A12EB3B1}"/>
              </a:ext>
            </a:extLst>
          </p:cNvPr>
          <p:cNvSpPr>
            <a:spLocks/>
          </p:cNvSpPr>
          <p:nvPr/>
        </p:nvSpPr>
        <p:spPr bwMode="auto">
          <a:xfrm>
            <a:off x="3861510" y="2224087"/>
            <a:ext cx="983411" cy="521148"/>
          </a:xfrm>
          <a:prstGeom prst="roundRect">
            <a:avLst/>
          </a:prstGeom>
          <a:noFill/>
          <a:ln w="12700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i="1" dirty="0"/>
              <a:t>Generics:</a:t>
            </a:r>
          </a:p>
          <a:p>
            <a:pPr algn="ctr"/>
            <a:r>
              <a:rPr lang="en-US" sz="1000" b="1" i="1" dirty="0"/>
              <a:t>Price per SU</a:t>
            </a:r>
            <a:endParaRPr lang="el-GR" sz="1000" b="1" i="1" dirty="0"/>
          </a:p>
          <a:p>
            <a:pPr algn="ctr"/>
            <a:r>
              <a:rPr lang="en-US" sz="1000" b="1" i="1" dirty="0">
                <a:solidFill>
                  <a:schemeClr val="accent1"/>
                </a:solidFill>
              </a:rPr>
              <a:t>0.11</a:t>
            </a:r>
            <a:r>
              <a:rPr lang="el-GR" sz="1000" b="1" i="1" dirty="0">
                <a:solidFill>
                  <a:schemeClr val="accent1"/>
                </a:solidFill>
              </a:rPr>
              <a:t>€</a:t>
            </a:r>
            <a:endParaRPr lang="en-US" sz="1000" b="1" i="1" dirty="0">
              <a:solidFill>
                <a:schemeClr val="accent1"/>
              </a:solidFill>
            </a:endParaRPr>
          </a:p>
        </p:txBody>
      </p:sp>
      <p:sp>
        <p:nvSpPr>
          <p:cNvPr id="98" name="Rounded Rectangle 142">
            <a:extLst>
              <a:ext uri="{FF2B5EF4-FFF2-40B4-BE49-F238E27FC236}">
                <a16:creationId xmlns:a16="http://schemas.microsoft.com/office/drawing/2014/main" id="{20D65108-AF3F-4C64-A63A-CD99097CE891}"/>
              </a:ext>
            </a:extLst>
          </p:cNvPr>
          <p:cNvSpPr>
            <a:spLocks/>
          </p:cNvSpPr>
          <p:nvPr/>
        </p:nvSpPr>
        <p:spPr bwMode="auto">
          <a:xfrm>
            <a:off x="6484734" y="2224087"/>
            <a:ext cx="983411" cy="521148"/>
          </a:xfrm>
          <a:prstGeom prst="roundRect">
            <a:avLst/>
          </a:prstGeom>
          <a:noFill/>
          <a:ln w="12700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i="1" dirty="0"/>
              <a:t>Generics:</a:t>
            </a:r>
          </a:p>
          <a:p>
            <a:pPr algn="ctr"/>
            <a:r>
              <a:rPr lang="en-US" sz="1000" b="1" i="1" dirty="0"/>
              <a:t>Price per SU</a:t>
            </a:r>
            <a:endParaRPr lang="el-GR" sz="1000" b="1" i="1" dirty="0"/>
          </a:p>
          <a:p>
            <a:pPr algn="ctr"/>
            <a:r>
              <a:rPr lang="en-US" sz="1000" b="1" i="1" dirty="0">
                <a:solidFill>
                  <a:schemeClr val="accent1"/>
                </a:solidFill>
              </a:rPr>
              <a:t>0.15</a:t>
            </a:r>
            <a:r>
              <a:rPr lang="el-GR" sz="1000" b="1" i="1" dirty="0">
                <a:solidFill>
                  <a:schemeClr val="accent1"/>
                </a:solidFill>
              </a:rPr>
              <a:t>€</a:t>
            </a:r>
            <a:endParaRPr lang="en-US" sz="1000" b="1" i="1" dirty="0">
              <a:solidFill>
                <a:schemeClr val="accent1"/>
              </a:solidFill>
            </a:endParaRPr>
          </a:p>
        </p:txBody>
      </p:sp>
      <p:sp>
        <p:nvSpPr>
          <p:cNvPr id="105" name="Rounded Rectangle 143">
            <a:extLst>
              <a:ext uri="{FF2B5EF4-FFF2-40B4-BE49-F238E27FC236}">
                <a16:creationId xmlns:a16="http://schemas.microsoft.com/office/drawing/2014/main" id="{5090A89B-7A95-4A2C-95BE-BFA7DD540B06}"/>
              </a:ext>
            </a:extLst>
          </p:cNvPr>
          <p:cNvSpPr>
            <a:spLocks/>
          </p:cNvSpPr>
          <p:nvPr/>
        </p:nvSpPr>
        <p:spPr bwMode="auto">
          <a:xfrm>
            <a:off x="10031654" y="2224087"/>
            <a:ext cx="983411" cy="521148"/>
          </a:xfrm>
          <a:prstGeom prst="roundRect">
            <a:avLst/>
          </a:prstGeom>
          <a:noFill/>
          <a:ln w="12700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i="1" dirty="0"/>
              <a:t>Generics:</a:t>
            </a:r>
          </a:p>
          <a:p>
            <a:pPr algn="ctr"/>
            <a:r>
              <a:rPr lang="en-US" sz="1000" b="1" i="1" dirty="0"/>
              <a:t>Price per SU</a:t>
            </a:r>
            <a:endParaRPr lang="el-GR" sz="1000" b="1" i="1" dirty="0"/>
          </a:p>
          <a:p>
            <a:pPr algn="ctr"/>
            <a:r>
              <a:rPr lang="en-US" sz="1000" b="1" i="1" dirty="0">
                <a:solidFill>
                  <a:schemeClr val="accent1"/>
                </a:solidFill>
              </a:rPr>
              <a:t>0.11</a:t>
            </a:r>
            <a:r>
              <a:rPr lang="el-GR" sz="1000" b="1" i="1" dirty="0">
                <a:solidFill>
                  <a:schemeClr val="accent1"/>
                </a:solidFill>
              </a:rPr>
              <a:t>€</a:t>
            </a:r>
            <a:endParaRPr lang="en-US" sz="1000" b="1" i="1" dirty="0">
              <a:solidFill>
                <a:schemeClr val="accent1"/>
              </a:solidFill>
            </a:endParaRPr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6D718BBC-CA64-4771-B8B3-95A21B53D967}"/>
              </a:ext>
            </a:extLst>
          </p:cNvPr>
          <p:cNvCxnSpPr>
            <a:cxnSpLocks/>
          </p:cNvCxnSpPr>
          <p:nvPr/>
        </p:nvCxnSpPr>
        <p:spPr bwMode="auto">
          <a:xfrm>
            <a:off x="8463108" y="2217738"/>
            <a:ext cx="0" cy="3151216"/>
          </a:xfrm>
          <a:prstGeom prst="line">
            <a:avLst/>
          </a:prstGeom>
          <a:noFill/>
          <a:ln w="19050" cap="flat" cmpd="sng" algn="ctr">
            <a:solidFill>
              <a:srgbClr val="00518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7B8A8B87-EEA5-4876-8A6B-0275179881A6}"/>
              </a:ext>
            </a:extLst>
          </p:cNvPr>
          <p:cNvCxnSpPr>
            <a:cxnSpLocks/>
          </p:cNvCxnSpPr>
          <p:nvPr/>
        </p:nvCxnSpPr>
        <p:spPr bwMode="auto">
          <a:xfrm>
            <a:off x="3196686" y="2217738"/>
            <a:ext cx="0" cy="3142827"/>
          </a:xfrm>
          <a:prstGeom prst="line">
            <a:avLst/>
          </a:prstGeom>
          <a:noFill/>
          <a:ln w="19050" cap="flat" cmpd="sng" algn="ctr">
            <a:solidFill>
              <a:srgbClr val="00518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84135B72-BAF8-4066-9C4E-0FED6761B838}"/>
              </a:ext>
            </a:extLst>
          </p:cNvPr>
          <p:cNvCxnSpPr>
            <a:cxnSpLocks/>
          </p:cNvCxnSpPr>
          <p:nvPr/>
        </p:nvCxnSpPr>
        <p:spPr bwMode="auto">
          <a:xfrm>
            <a:off x="5543303" y="2217738"/>
            <a:ext cx="0" cy="3159605"/>
          </a:xfrm>
          <a:prstGeom prst="line">
            <a:avLst/>
          </a:prstGeom>
          <a:noFill/>
          <a:ln w="19050" cap="flat" cmpd="sng" algn="ctr">
            <a:solidFill>
              <a:srgbClr val="00518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111" name="Picture 4" descr="C:\Users\KMastorakis\Desktop\IRELAND.jpg">
            <a:extLst>
              <a:ext uri="{FF2B5EF4-FFF2-40B4-BE49-F238E27FC236}">
                <a16:creationId xmlns:a16="http://schemas.microsoft.com/office/drawing/2014/main" id="{FD9234CF-E29A-4799-A3BA-5DABF2B21F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5" cstate="print"/>
          <a:srcRect/>
          <a:stretch>
            <a:fillRect/>
          </a:stretch>
        </p:blipFill>
        <p:spPr bwMode="auto">
          <a:xfrm>
            <a:off x="8619254" y="4933950"/>
            <a:ext cx="288000" cy="288000"/>
          </a:xfrm>
          <a:prstGeom prst="rect">
            <a:avLst/>
          </a:prstGeom>
        </p:spPr>
      </p:pic>
      <p:pic>
        <p:nvPicPr>
          <p:cNvPr id="114" name="Picture 113" descr="Italy.jpg">
            <a:extLst>
              <a:ext uri="{FF2B5EF4-FFF2-40B4-BE49-F238E27FC236}">
                <a16:creationId xmlns:a16="http://schemas.microsoft.com/office/drawing/2014/main" id="{ACFB1157-88BA-4CB8-B62A-0A19755E85D3}"/>
              </a:ext>
            </a:extLst>
          </p:cNvPr>
          <p:cNvPicPr>
            <a:picLocks noChangeAspect="1"/>
          </p:cNvPicPr>
          <p:nvPr/>
        </p:nvPicPr>
        <p:blipFill>
          <a:blip r:embed="rId56" cstate="print"/>
          <a:stretch>
            <a:fillRect/>
          </a:stretch>
        </p:blipFill>
        <p:spPr>
          <a:xfrm>
            <a:off x="1549189" y="4933950"/>
            <a:ext cx="288000" cy="288000"/>
          </a:xfrm>
          <a:prstGeom prst="rect">
            <a:avLst/>
          </a:prstGeom>
        </p:spPr>
      </p:pic>
      <p:pic>
        <p:nvPicPr>
          <p:cNvPr id="115" name="Picture 114" descr="Portugal.jpg">
            <a:extLst>
              <a:ext uri="{FF2B5EF4-FFF2-40B4-BE49-F238E27FC236}">
                <a16:creationId xmlns:a16="http://schemas.microsoft.com/office/drawing/2014/main" id="{0B3E8A1B-9334-4BCD-891C-0762BB318003}"/>
              </a:ext>
            </a:extLst>
          </p:cNvPr>
          <p:cNvPicPr>
            <a:picLocks noChangeAspect="1"/>
          </p:cNvPicPr>
          <p:nvPr/>
        </p:nvPicPr>
        <p:blipFill>
          <a:blip r:embed="rId57" cstate="print"/>
          <a:stretch>
            <a:fillRect/>
          </a:stretch>
        </p:blipFill>
        <p:spPr>
          <a:xfrm>
            <a:off x="2138370" y="4933950"/>
            <a:ext cx="288000" cy="288000"/>
          </a:xfrm>
          <a:prstGeom prst="rect">
            <a:avLst/>
          </a:prstGeom>
        </p:spPr>
      </p:pic>
      <p:pic>
        <p:nvPicPr>
          <p:cNvPr id="116" name="Picture 115" descr="Spain.jpg">
            <a:extLst>
              <a:ext uri="{FF2B5EF4-FFF2-40B4-BE49-F238E27FC236}">
                <a16:creationId xmlns:a16="http://schemas.microsoft.com/office/drawing/2014/main" id="{2CED3003-E122-44BC-B908-1463059F8F7F}"/>
              </a:ext>
            </a:extLst>
          </p:cNvPr>
          <p:cNvPicPr>
            <a:picLocks noChangeAspect="1"/>
          </p:cNvPicPr>
          <p:nvPr/>
        </p:nvPicPr>
        <p:blipFill>
          <a:blip r:embed="rId58" cstate="print"/>
          <a:stretch>
            <a:fillRect/>
          </a:stretch>
        </p:blipFill>
        <p:spPr>
          <a:xfrm>
            <a:off x="2727551" y="4933950"/>
            <a:ext cx="291113" cy="288000"/>
          </a:xfrm>
          <a:prstGeom prst="rect">
            <a:avLst/>
          </a:prstGeom>
        </p:spPr>
      </p:pic>
      <p:pic>
        <p:nvPicPr>
          <p:cNvPr id="117" name="Picture 116" descr="Austria.jpg">
            <a:extLst>
              <a:ext uri="{FF2B5EF4-FFF2-40B4-BE49-F238E27FC236}">
                <a16:creationId xmlns:a16="http://schemas.microsoft.com/office/drawing/2014/main" id="{71A40366-CBCA-4CF5-8D8B-AF6381738C67}"/>
              </a:ext>
            </a:extLst>
          </p:cNvPr>
          <p:cNvPicPr>
            <a:picLocks noChangeAspect="1"/>
          </p:cNvPicPr>
          <p:nvPr/>
        </p:nvPicPr>
        <p:blipFill>
          <a:blip r:embed="rId59" cstate="print"/>
          <a:stretch>
            <a:fillRect/>
          </a:stretch>
        </p:blipFill>
        <p:spPr>
          <a:xfrm>
            <a:off x="5673349" y="4933950"/>
            <a:ext cx="288000" cy="288000"/>
          </a:xfrm>
          <a:prstGeom prst="rect">
            <a:avLst/>
          </a:prstGeom>
        </p:spPr>
      </p:pic>
      <p:pic>
        <p:nvPicPr>
          <p:cNvPr id="118" name="Picture 117" descr="Belgium.jpg">
            <a:extLst>
              <a:ext uri="{FF2B5EF4-FFF2-40B4-BE49-F238E27FC236}">
                <a16:creationId xmlns:a16="http://schemas.microsoft.com/office/drawing/2014/main" id="{88D5B31A-6E38-4756-BB84-E67F76B5828E}"/>
              </a:ext>
            </a:extLst>
          </p:cNvPr>
          <p:cNvPicPr>
            <a:picLocks noChangeAspect="1"/>
          </p:cNvPicPr>
          <p:nvPr/>
        </p:nvPicPr>
        <p:blipFill>
          <a:blip r:embed="rId60" cstate="print"/>
          <a:stretch>
            <a:fillRect/>
          </a:stretch>
        </p:blipFill>
        <p:spPr>
          <a:xfrm>
            <a:off x="6262530" y="4933950"/>
            <a:ext cx="288000" cy="288000"/>
          </a:xfrm>
          <a:prstGeom prst="rect">
            <a:avLst/>
          </a:prstGeom>
        </p:spPr>
      </p:pic>
      <p:pic>
        <p:nvPicPr>
          <p:cNvPr id="119" name="Picture 118" descr="France.jpg">
            <a:extLst>
              <a:ext uri="{FF2B5EF4-FFF2-40B4-BE49-F238E27FC236}">
                <a16:creationId xmlns:a16="http://schemas.microsoft.com/office/drawing/2014/main" id="{B1D23F64-EA42-4E02-8771-D3D33466FBEB}"/>
              </a:ext>
            </a:extLst>
          </p:cNvPr>
          <p:cNvPicPr>
            <a:picLocks noChangeAspect="1"/>
          </p:cNvPicPr>
          <p:nvPr/>
        </p:nvPicPr>
        <p:blipFill>
          <a:blip r:embed="rId61" cstate="print"/>
          <a:stretch>
            <a:fillRect/>
          </a:stretch>
        </p:blipFill>
        <p:spPr>
          <a:xfrm>
            <a:off x="6851711" y="4933950"/>
            <a:ext cx="288000" cy="288000"/>
          </a:xfrm>
          <a:prstGeom prst="rect">
            <a:avLst/>
          </a:prstGeom>
        </p:spPr>
      </p:pic>
      <p:pic>
        <p:nvPicPr>
          <p:cNvPr id="121" name="Picture 120" descr="Germany.jpg">
            <a:extLst>
              <a:ext uri="{FF2B5EF4-FFF2-40B4-BE49-F238E27FC236}">
                <a16:creationId xmlns:a16="http://schemas.microsoft.com/office/drawing/2014/main" id="{BF8728B6-E8FE-40C4-8D49-D778C588C111}"/>
              </a:ext>
            </a:extLst>
          </p:cNvPr>
          <p:cNvPicPr>
            <a:picLocks noChangeAspect="1"/>
          </p:cNvPicPr>
          <p:nvPr/>
        </p:nvPicPr>
        <p:blipFill>
          <a:blip r:embed="rId62" cstate="print"/>
          <a:stretch>
            <a:fillRect/>
          </a:stretch>
        </p:blipFill>
        <p:spPr>
          <a:xfrm>
            <a:off x="7440892" y="4933950"/>
            <a:ext cx="288000" cy="288000"/>
          </a:xfrm>
          <a:prstGeom prst="rect">
            <a:avLst/>
          </a:prstGeom>
        </p:spPr>
      </p:pic>
      <p:pic>
        <p:nvPicPr>
          <p:cNvPr id="123" name="Picture 122" descr="Netherlands.jpg">
            <a:extLst>
              <a:ext uri="{FF2B5EF4-FFF2-40B4-BE49-F238E27FC236}">
                <a16:creationId xmlns:a16="http://schemas.microsoft.com/office/drawing/2014/main" id="{5897D902-3C05-4D1D-8C0D-551A5141AEAD}"/>
              </a:ext>
            </a:extLst>
          </p:cNvPr>
          <p:cNvPicPr>
            <a:picLocks noChangeAspect="1"/>
          </p:cNvPicPr>
          <p:nvPr/>
        </p:nvPicPr>
        <p:blipFill>
          <a:blip r:embed="rId63" cstate="print"/>
          <a:stretch>
            <a:fillRect/>
          </a:stretch>
        </p:blipFill>
        <p:spPr>
          <a:xfrm>
            <a:off x="8030073" y="4933950"/>
            <a:ext cx="288000" cy="288000"/>
          </a:xfrm>
          <a:prstGeom prst="rect">
            <a:avLst/>
          </a:prstGeom>
        </p:spPr>
      </p:pic>
      <p:pic>
        <p:nvPicPr>
          <p:cNvPr id="124" name="Picture 7" descr="C:\Users\KMastorakis\Desktop\UK.jpg">
            <a:extLst>
              <a:ext uri="{FF2B5EF4-FFF2-40B4-BE49-F238E27FC236}">
                <a16:creationId xmlns:a16="http://schemas.microsoft.com/office/drawing/2014/main" id="{8F184A37-7FD0-44F0-B2E5-F365FB99FC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4" cstate="print"/>
          <a:srcRect/>
          <a:stretch>
            <a:fillRect/>
          </a:stretch>
        </p:blipFill>
        <p:spPr bwMode="auto">
          <a:xfrm>
            <a:off x="9208435" y="4933950"/>
            <a:ext cx="288000" cy="288000"/>
          </a:xfrm>
          <a:prstGeom prst="rect">
            <a:avLst/>
          </a:prstGeom>
          <a:noFill/>
        </p:spPr>
      </p:pic>
      <p:pic>
        <p:nvPicPr>
          <p:cNvPr id="127" name="Picture 8" descr="C:\Users\KMastorakis\Desktop\FINLAND.jpg">
            <a:extLst>
              <a:ext uri="{FF2B5EF4-FFF2-40B4-BE49-F238E27FC236}">
                <a16:creationId xmlns:a16="http://schemas.microsoft.com/office/drawing/2014/main" id="{60AB8A20-C8EF-439F-BAA0-696B8609D4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5" cstate="print"/>
          <a:srcRect/>
          <a:stretch>
            <a:fillRect/>
          </a:stretch>
        </p:blipFill>
        <p:spPr bwMode="auto">
          <a:xfrm>
            <a:off x="9797616" y="4933950"/>
            <a:ext cx="288000" cy="288000"/>
          </a:xfrm>
          <a:prstGeom prst="rect">
            <a:avLst/>
          </a:prstGeom>
          <a:noFill/>
        </p:spPr>
      </p:pic>
      <p:pic>
        <p:nvPicPr>
          <p:cNvPr id="128" name="Picture 9" descr="C:\Users\KMastorakis\Desktop\NORWAY.jpg">
            <a:extLst>
              <a:ext uri="{FF2B5EF4-FFF2-40B4-BE49-F238E27FC236}">
                <a16:creationId xmlns:a16="http://schemas.microsoft.com/office/drawing/2014/main" id="{5DE6A41B-86A0-4CD7-B716-09565DBCB1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6" cstate="print"/>
          <a:srcRect/>
          <a:stretch>
            <a:fillRect/>
          </a:stretch>
        </p:blipFill>
        <p:spPr bwMode="auto">
          <a:xfrm>
            <a:off x="10386797" y="4933950"/>
            <a:ext cx="288000" cy="288000"/>
          </a:xfrm>
          <a:prstGeom prst="rect">
            <a:avLst/>
          </a:prstGeom>
          <a:noFill/>
        </p:spPr>
      </p:pic>
      <p:pic>
        <p:nvPicPr>
          <p:cNvPr id="129" name="Picture 128" descr="Sweden.jpg">
            <a:extLst>
              <a:ext uri="{FF2B5EF4-FFF2-40B4-BE49-F238E27FC236}">
                <a16:creationId xmlns:a16="http://schemas.microsoft.com/office/drawing/2014/main" id="{1966E239-F7B6-4427-B40B-95CED2DD27F9}"/>
              </a:ext>
            </a:extLst>
          </p:cNvPr>
          <p:cNvPicPr>
            <a:picLocks noChangeAspect="1"/>
          </p:cNvPicPr>
          <p:nvPr/>
        </p:nvPicPr>
        <p:blipFill>
          <a:blip r:embed="rId67" cstate="print"/>
          <a:stretch>
            <a:fillRect/>
          </a:stretch>
        </p:blipFill>
        <p:spPr>
          <a:xfrm>
            <a:off x="10975984" y="4933950"/>
            <a:ext cx="288000" cy="288000"/>
          </a:xfrm>
          <a:prstGeom prst="rect">
            <a:avLst/>
          </a:prstGeom>
        </p:spPr>
      </p:pic>
      <p:pic>
        <p:nvPicPr>
          <p:cNvPr id="130" name="Picture 129" descr="Czech republic.jpg">
            <a:extLst>
              <a:ext uri="{FF2B5EF4-FFF2-40B4-BE49-F238E27FC236}">
                <a16:creationId xmlns:a16="http://schemas.microsoft.com/office/drawing/2014/main" id="{CF4D4945-33C4-4237-9014-702A00966452}"/>
              </a:ext>
            </a:extLst>
          </p:cNvPr>
          <p:cNvPicPr>
            <a:picLocks noChangeAspect="1"/>
          </p:cNvPicPr>
          <p:nvPr/>
        </p:nvPicPr>
        <p:blipFill>
          <a:blip r:embed="rId68" cstate="print"/>
          <a:stretch>
            <a:fillRect/>
          </a:stretch>
        </p:blipFill>
        <p:spPr>
          <a:xfrm>
            <a:off x="3319845" y="4933950"/>
            <a:ext cx="284780" cy="288000"/>
          </a:xfrm>
          <a:prstGeom prst="rect">
            <a:avLst/>
          </a:prstGeom>
        </p:spPr>
      </p:pic>
      <p:pic>
        <p:nvPicPr>
          <p:cNvPr id="135" name="Picture 134" descr="Hungary.jpg">
            <a:extLst>
              <a:ext uri="{FF2B5EF4-FFF2-40B4-BE49-F238E27FC236}">
                <a16:creationId xmlns:a16="http://schemas.microsoft.com/office/drawing/2014/main" id="{D70A2AA3-4D7B-4D14-BA98-5CD15C3C1C1F}"/>
              </a:ext>
            </a:extLst>
          </p:cNvPr>
          <p:cNvPicPr>
            <a:picLocks noChangeAspect="1"/>
          </p:cNvPicPr>
          <p:nvPr/>
        </p:nvPicPr>
        <p:blipFill>
          <a:blip r:embed="rId69" cstate="print"/>
          <a:stretch>
            <a:fillRect/>
          </a:stretch>
        </p:blipFill>
        <p:spPr>
          <a:xfrm>
            <a:off x="3905806" y="4933950"/>
            <a:ext cx="288000" cy="289552"/>
          </a:xfrm>
          <a:prstGeom prst="rect">
            <a:avLst/>
          </a:prstGeom>
        </p:spPr>
      </p:pic>
      <p:pic>
        <p:nvPicPr>
          <p:cNvPr id="140" name="Picture 11" descr="https://encrypted-tbn1.gstatic.com/images?q=tbn:ANd9GcTONKpwE8WEyeUCYX7ekfahvZ3m-YAZSoMksyBgT4ieMShN0GKY">
            <a:extLst>
              <a:ext uri="{FF2B5EF4-FFF2-40B4-BE49-F238E27FC236}">
                <a16:creationId xmlns:a16="http://schemas.microsoft.com/office/drawing/2014/main" id="{D179A486-A8DC-4A8A-8D3E-EF80B1AE85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0" cstate="print"/>
          <a:srcRect/>
          <a:stretch>
            <a:fillRect/>
          </a:stretch>
        </p:blipFill>
        <p:spPr bwMode="auto">
          <a:xfrm>
            <a:off x="4494987" y="4933950"/>
            <a:ext cx="288000" cy="288000"/>
          </a:xfrm>
          <a:prstGeom prst="rect">
            <a:avLst/>
          </a:prstGeom>
          <a:noFill/>
        </p:spPr>
      </p:pic>
      <p:pic>
        <p:nvPicPr>
          <p:cNvPr id="141" name="Picture 13" descr="http://www.veryicon.com/icon/png/Flag/Rounded%20World%20Flags/Slovakia%20Flag.png">
            <a:extLst>
              <a:ext uri="{FF2B5EF4-FFF2-40B4-BE49-F238E27FC236}">
                <a16:creationId xmlns:a16="http://schemas.microsoft.com/office/drawing/2014/main" id="{5B0FF3A8-510D-459D-B3DF-4C92A24A4A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1" cstate="print"/>
          <a:srcRect/>
          <a:stretch>
            <a:fillRect/>
          </a:stretch>
        </p:blipFill>
        <p:spPr bwMode="auto">
          <a:xfrm>
            <a:off x="5084168" y="4933950"/>
            <a:ext cx="288000" cy="288000"/>
          </a:xfrm>
          <a:prstGeom prst="rect">
            <a:avLst/>
          </a:prstGeom>
          <a:noFill/>
        </p:spPr>
      </p:pic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DCB50050-0893-4830-BF84-1C46274E215F}"/>
              </a:ext>
            </a:extLst>
          </p:cNvPr>
          <p:cNvCxnSpPr>
            <a:cxnSpLocks/>
          </p:cNvCxnSpPr>
          <p:nvPr/>
        </p:nvCxnSpPr>
        <p:spPr bwMode="auto">
          <a:xfrm>
            <a:off x="830262" y="5319712"/>
            <a:ext cx="2307221" cy="0"/>
          </a:xfrm>
          <a:prstGeom prst="straightConnector1">
            <a:avLst/>
          </a:prstGeom>
          <a:noFill/>
          <a:ln w="25400" cap="flat" cmpd="sng" algn="ctr">
            <a:solidFill>
              <a:srgbClr val="005187"/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147" name="Straight Arrow Connector 146">
            <a:extLst>
              <a:ext uri="{FF2B5EF4-FFF2-40B4-BE49-F238E27FC236}">
                <a16:creationId xmlns:a16="http://schemas.microsoft.com/office/drawing/2014/main" id="{9E1C5D76-661B-49EB-9D09-482E3406DB45}"/>
              </a:ext>
            </a:extLst>
          </p:cNvPr>
          <p:cNvCxnSpPr>
            <a:cxnSpLocks/>
          </p:cNvCxnSpPr>
          <p:nvPr/>
        </p:nvCxnSpPr>
        <p:spPr bwMode="auto">
          <a:xfrm>
            <a:off x="3238150" y="5319712"/>
            <a:ext cx="2256639" cy="0"/>
          </a:xfrm>
          <a:prstGeom prst="straightConnector1">
            <a:avLst/>
          </a:prstGeom>
          <a:noFill/>
          <a:ln w="25400" cap="flat" cmpd="sng" algn="ctr">
            <a:solidFill>
              <a:srgbClr val="005187"/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148" name="Straight Arrow Connector 147">
            <a:extLst>
              <a:ext uri="{FF2B5EF4-FFF2-40B4-BE49-F238E27FC236}">
                <a16:creationId xmlns:a16="http://schemas.microsoft.com/office/drawing/2014/main" id="{4E9F12B7-DD92-4C10-BFAD-FBA22B9639BE}"/>
              </a:ext>
            </a:extLst>
          </p:cNvPr>
          <p:cNvCxnSpPr>
            <a:cxnSpLocks/>
          </p:cNvCxnSpPr>
          <p:nvPr/>
        </p:nvCxnSpPr>
        <p:spPr bwMode="auto">
          <a:xfrm>
            <a:off x="5587068" y="5319712"/>
            <a:ext cx="2827090" cy="0"/>
          </a:xfrm>
          <a:prstGeom prst="straightConnector1">
            <a:avLst/>
          </a:prstGeom>
          <a:noFill/>
          <a:ln w="25400" cap="flat" cmpd="sng" algn="ctr">
            <a:solidFill>
              <a:srgbClr val="005187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149" name="Rounded Rectangle 130">
            <a:extLst>
              <a:ext uri="{FF2B5EF4-FFF2-40B4-BE49-F238E27FC236}">
                <a16:creationId xmlns:a16="http://schemas.microsoft.com/office/drawing/2014/main" id="{D627194E-CC1B-49A5-891B-629EBCCF2F54}"/>
              </a:ext>
            </a:extLst>
          </p:cNvPr>
          <p:cNvSpPr/>
          <p:nvPr/>
        </p:nvSpPr>
        <p:spPr bwMode="auto">
          <a:xfrm>
            <a:off x="820738" y="5402262"/>
            <a:ext cx="2375468" cy="360000"/>
          </a:xfrm>
          <a:prstGeom prst="roundRect">
            <a:avLst/>
          </a:prstGeom>
          <a:noFill/>
          <a:ln w="9525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200" b="1" i="1" dirty="0"/>
              <a:t>PIIGS</a:t>
            </a:r>
            <a:endParaRPr lang="en-US" sz="1200" b="1" i="1" dirty="0"/>
          </a:p>
        </p:txBody>
      </p:sp>
      <p:sp>
        <p:nvSpPr>
          <p:cNvPr id="150" name="Rounded Rectangle 131">
            <a:extLst>
              <a:ext uri="{FF2B5EF4-FFF2-40B4-BE49-F238E27FC236}">
                <a16:creationId xmlns:a16="http://schemas.microsoft.com/office/drawing/2014/main" id="{E68E6686-48D8-4EC0-9FDF-74C11C79474E}"/>
              </a:ext>
            </a:extLst>
          </p:cNvPr>
          <p:cNvSpPr/>
          <p:nvPr/>
        </p:nvSpPr>
        <p:spPr bwMode="auto">
          <a:xfrm>
            <a:off x="5561902" y="5402262"/>
            <a:ext cx="2885812" cy="360000"/>
          </a:xfrm>
          <a:prstGeom prst="roundRect">
            <a:avLst/>
          </a:prstGeom>
          <a:noFill/>
          <a:ln w="9525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l-GR" sz="1200" b="1" i="1" dirty="0"/>
              <a:t>Ε</a:t>
            </a:r>
            <a:r>
              <a:rPr lang="en-US" sz="1200" b="1" i="1" dirty="0"/>
              <a:t>U Core</a:t>
            </a:r>
            <a:endParaRPr lang="en-US" sz="1200" b="1" i="1" baseline="30000" dirty="0"/>
          </a:p>
        </p:txBody>
      </p:sp>
      <p:sp>
        <p:nvSpPr>
          <p:cNvPr id="151" name="Rounded Rectangle 132">
            <a:extLst>
              <a:ext uri="{FF2B5EF4-FFF2-40B4-BE49-F238E27FC236}">
                <a16:creationId xmlns:a16="http://schemas.microsoft.com/office/drawing/2014/main" id="{C5CC3730-171B-4DBE-A167-DCE14C1EADBD}"/>
              </a:ext>
            </a:extLst>
          </p:cNvPr>
          <p:cNvSpPr/>
          <p:nvPr/>
        </p:nvSpPr>
        <p:spPr bwMode="auto">
          <a:xfrm>
            <a:off x="9647339" y="5401750"/>
            <a:ext cx="1811090" cy="360000"/>
          </a:xfrm>
          <a:prstGeom prst="roundRect">
            <a:avLst/>
          </a:prstGeom>
          <a:noFill/>
          <a:ln w="9525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200" b="1" i="1" dirty="0"/>
              <a:t>Nordics</a:t>
            </a:r>
            <a:endParaRPr lang="en-US" sz="1200" b="1" i="1" baseline="30000" dirty="0"/>
          </a:p>
        </p:txBody>
      </p:sp>
      <p:sp>
        <p:nvSpPr>
          <p:cNvPr id="152" name="Rounded Rectangle 133">
            <a:extLst>
              <a:ext uri="{FF2B5EF4-FFF2-40B4-BE49-F238E27FC236}">
                <a16:creationId xmlns:a16="http://schemas.microsoft.com/office/drawing/2014/main" id="{A12EEF76-84FD-4E8F-BE5D-4A4A79715855}"/>
              </a:ext>
            </a:extLst>
          </p:cNvPr>
          <p:cNvSpPr/>
          <p:nvPr/>
        </p:nvSpPr>
        <p:spPr bwMode="auto">
          <a:xfrm>
            <a:off x="3212983" y="5402262"/>
            <a:ext cx="2332140" cy="360000"/>
          </a:xfrm>
          <a:prstGeom prst="roundRect">
            <a:avLst/>
          </a:prstGeom>
          <a:noFill/>
          <a:ln w="9525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200" b="1" i="1" dirty="0"/>
              <a:t>Eastern Europe</a:t>
            </a:r>
            <a:endParaRPr lang="en-US" sz="1200" b="1" i="1" baseline="30000" dirty="0"/>
          </a:p>
        </p:txBody>
      </p: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A738B919-226F-4F8F-8997-504FC12E281D}"/>
              </a:ext>
            </a:extLst>
          </p:cNvPr>
          <p:cNvCxnSpPr>
            <a:cxnSpLocks/>
          </p:cNvCxnSpPr>
          <p:nvPr/>
        </p:nvCxnSpPr>
        <p:spPr bwMode="auto">
          <a:xfrm>
            <a:off x="9664117" y="5319712"/>
            <a:ext cx="1734134" cy="0"/>
          </a:xfrm>
          <a:prstGeom prst="straightConnector1">
            <a:avLst/>
          </a:prstGeom>
          <a:noFill/>
          <a:ln w="25400" cap="flat" cmpd="sng" algn="ctr">
            <a:solidFill>
              <a:srgbClr val="005187"/>
            </a:solidFill>
            <a:prstDash val="solid"/>
            <a:round/>
            <a:headEnd type="arrow"/>
            <a:tailEnd type="arrow"/>
          </a:ln>
          <a:effectLst/>
        </p:spPr>
      </p:cxnSp>
      <p:pic>
        <p:nvPicPr>
          <p:cNvPr id="154" name="Picture 153" descr="Greece.png">
            <a:extLst>
              <a:ext uri="{FF2B5EF4-FFF2-40B4-BE49-F238E27FC236}">
                <a16:creationId xmlns:a16="http://schemas.microsoft.com/office/drawing/2014/main" id="{D9B6E51A-5DEF-4540-A6DA-F19303A51C4A}"/>
              </a:ext>
            </a:extLst>
          </p:cNvPr>
          <p:cNvPicPr>
            <a:picLocks noChangeAspect="1"/>
          </p:cNvPicPr>
          <p:nvPr/>
        </p:nvPicPr>
        <p:blipFill>
          <a:blip r:embed="rId72" cstate="print"/>
          <a:stretch>
            <a:fillRect/>
          </a:stretch>
        </p:blipFill>
        <p:spPr>
          <a:xfrm>
            <a:off x="960008" y="4933950"/>
            <a:ext cx="288000" cy="288000"/>
          </a:xfrm>
          <a:prstGeom prst="rect">
            <a:avLst/>
          </a:prstGeom>
        </p:spPr>
      </p:pic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FD727299-D89E-434F-9C3B-2DA9EF4B0550}"/>
              </a:ext>
            </a:extLst>
          </p:cNvPr>
          <p:cNvCxnSpPr>
            <a:cxnSpLocks/>
          </p:cNvCxnSpPr>
          <p:nvPr/>
        </p:nvCxnSpPr>
        <p:spPr bwMode="auto">
          <a:xfrm>
            <a:off x="9622186" y="2217738"/>
            <a:ext cx="0" cy="3176383"/>
          </a:xfrm>
          <a:prstGeom prst="line">
            <a:avLst/>
          </a:prstGeom>
          <a:noFill/>
          <a:ln w="19050" cap="flat" cmpd="sng" algn="ctr">
            <a:solidFill>
              <a:srgbClr val="005187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6" name="Straight Arrow Connector 155">
            <a:extLst>
              <a:ext uri="{FF2B5EF4-FFF2-40B4-BE49-F238E27FC236}">
                <a16:creationId xmlns:a16="http://schemas.microsoft.com/office/drawing/2014/main" id="{0380ED2F-659D-4998-B8DF-80780DD3D1AB}"/>
              </a:ext>
            </a:extLst>
          </p:cNvPr>
          <p:cNvCxnSpPr>
            <a:cxnSpLocks/>
          </p:cNvCxnSpPr>
          <p:nvPr/>
        </p:nvCxnSpPr>
        <p:spPr bwMode="auto">
          <a:xfrm>
            <a:off x="8498048" y="5319712"/>
            <a:ext cx="1098958" cy="0"/>
          </a:xfrm>
          <a:prstGeom prst="straightConnector1">
            <a:avLst/>
          </a:prstGeom>
          <a:noFill/>
          <a:ln w="25400" cap="flat" cmpd="sng" algn="ctr">
            <a:solidFill>
              <a:srgbClr val="005187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157" name="Rounded Rectangle 132">
            <a:extLst>
              <a:ext uri="{FF2B5EF4-FFF2-40B4-BE49-F238E27FC236}">
                <a16:creationId xmlns:a16="http://schemas.microsoft.com/office/drawing/2014/main" id="{E377B90A-3781-4A88-ADC4-60885A33C2CD}"/>
              </a:ext>
            </a:extLst>
          </p:cNvPr>
          <p:cNvSpPr/>
          <p:nvPr/>
        </p:nvSpPr>
        <p:spPr bwMode="auto">
          <a:xfrm>
            <a:off x="8472881" y="5401750"/>
            <a:ext cx="1157679" cy="360000"/>
          </a:xfrm>
          <a:prstGeom prst="roundRect">
            <a:avLst/>
          </a:prstGeom>
          <a:noFill/>
          <a:ln w="9525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i="1" dirty="0"/>
              <a:t>IE-UK</a:t>
            </a:r>
            <a:endParaRPr lang="en-US" sz="1200" b="1" i="1" baseline="30000" dirty="0"/>
          </a:p>
        </p:txBody>
      </p:sp>
      <p:sp>
        <p:nvSpPr>
          <p:cNvPr id="158" name="Rounded Rectangle 143">
            <a:extLst>
              <a:ext uri="{FF2B5EF4-FFF2-40B4-BE49-F238E27FC236}">
                <a16:creationId xmlns:a16="http://schemas.microsoft.com/office/drawing/2014/main" id="{4FAA886A-0B26-4B60-9028-7D294AD29759}"/>
              </a:ext>
            </a:extLst>
          </p:cNvPr>
          <p:cNvSpPr>
            <a:spLocks/>
          </p:cNvSpPr>
          <p:nvPr/>
        </p:nvSpPr>
        <p:spPr bwMode="auto">
          <a:xfrm>
            <a:off x="8545641" y="2224087"/>
            <a:ext cx="983411" cy="521148"/>
          </a:xfrm>
          <a:prstGeom prst="roundRect">
            <a:avLst/>
          </a:prstGeom>
          <a:noFill/>
          <a:ln w="12700" cap="flat" cmpd="sng" algn="ctr">
            <a:solidFill>
              <a:srgbClr val="0051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i="1" dirty="0"/>
              <a:t>Generics:</a:t>
            </a:r>
          </a:p>
          <a:p>
            <a:pPr algn="ctr"/>
            <a:r>
              <a:rPr lang="en-US" sz="1000" b="1" i="1" dirty="0"/>
              <a:t>Price per SU</a:t>
            </a:r>
            <a:endParaRPr lang="el-GR" sz="1000" b="1" i="1" dirty="0"/>
          </a:p>
          <a:p>
            <a:pPr algn="ctr"/>
            <a:r>
              <a:rPr lang="en-US" sz="1000" b="1" i="1" dirty="0">
                <a:solidFill>
                  <a:schemeClr val="accent1"/>
                </a:solidFill>
              </a:rPr>
              <a:t>0.09</a:t>
            </a:r>
            <a:r>
              <a:rPr lang="el-GR" sz="1000" b="1" i="1" dirty="0">
                <a:solidFill>
                  <a:schemeClr val="accent1"/>
                </a:solidFill>
              </a:rPr>
              <a:t>€</a:t>
            </a:r>
            <a:endParaRPr lang="en-US" sz="1000" b="1" i="1" dirty="0">
              <a:solidFill>
                <a:schemeClr val="accent1"/>
              </a:solidFill>
            </a:endParaRPr>
          </a:p>
        </p:txBody>
      </p:sp>
      <p:sp>
        <p:nvSpPr>
          <p:cNvPr id="84" name="Text Placeholder 14">
            <a:extLst>
              <a:ext uri="{FF2B5EF4-FFF2-40B4-BE49-F238E27FC236}">
                <a16:creationId xmlns:a16="http://schemas.microsoft.com/office/drawing/2014/main" id="{392E906C-A037-4D5A-8E43-974C9FEC386D}"/>
              </a:ext>
            </a:extLst>
          </p:cNvPr>
          <p:cNvSpPr txBox="1">
            <a:spLocks/>
          </p:cNvSpPr>
          <p:nvPr/>
        </p:nvSpPr>
        <p:spPr>
          <a:xfrm>
            <a:off x="477013" y="6397157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ource: IQVIA data (MAT/03/23), IQVIA analysis</a:t>
            </a:r>
          </a:p>
        </p:txBody>
      </p:sp>
    </p:spTree>
    <p:extLst>
      <p:ext uri="{BB962C8B-B14F-4D97-AF65-F5344CB8AC3E}">
        <p14:creationId xmlns:p14="http://schemas.microsoft.com/office/powerpoint/2010/main" val="2677704673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6618188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Terms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3397702"/>
              </p:ext>
            </p:extLst>
          </p:nvPr>
        </p:nvGraphicFramePr>
        <p:xfrm>
          <a:off x="1206286" y="1622256"/>
          <a:ext cx="3787747" cy="453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98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79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r>
                        <a:rPr lang="en-US" sz="1200" dirty="0"/>
                        <a:t>Abbreviation</a:t>
                      </a:r>
                      <a:endParaRPr lang="el-GR" sz="1200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erm</a:t>
                      </a:r>
                      <a:endParaRPr lang="el-GR" sz="1200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PPP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Pharmacy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 Purchase Price</a:t>
                      </a:r>
                      <a:endParaRPr lang="el-G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PSP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Pharmacy Selling Price</a:t>
                      </a:r>
                      <a:endParaRPr lang="el-G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MA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Moving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 Annual Total</a:t>
                      </a:r>
                      <a:endParaRPr lang="el-G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PP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Previous Period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 Growth</a:t>
                      </a:r>
                      <a:endParaRPr lang="el-G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CAGR</a:t>
                      </a:r>
                      <a:endParaRPr lang="el-G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Compound Annual Growth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 Rate</a:t>
                      </a:r>
                      <a:endParaRPr lang="el-G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Ox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Originals</a:t>
                      </a:r>
                      <a:endParaRPr lang="el-G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Gx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Generics</a:t>
                      </a:r>
                      <a:endParaRPr lang="el-G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SU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Standard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 Units</a:t>
                      </a:r>
                      <a:endParaRPr lang="el-G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STLY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Same Time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 Last Year</a:t>
                      </a:r>
                      <a:endParaRPr lang="el-G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Reimb.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Reimbursable</a:t>
                      </a:r>
                      <a:endParaRPr lang="el-G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QoQ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Quarter over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 Quarter</a:t>
                      </a:r>
                      <a:endParaRPr lang="el-GR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dirty="0" err="1">
                          <a:solidFill>
                            <a:schemeClr val="tx1"/>
                          </a:solidFill>
                        </a:rPr>
                        <a:t>HoH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Semester over Semest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49134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YoY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Year over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 Yea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6332279"/>
              </p:ext>
            </p:extLst>
          </p:nvPr>
        </p:nvGraphicFramePr>
        <p:xfrm>
          <a:off x="6817566" y="1622256"/>
          <a:ext cx="4484157" cy="453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68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872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r>
                        <a:rPr lang="en-US" sz="1200" dirty="0"/>
                        <a:t>ATC-1</a:t>
                      </a:r>
                      <a:endParaRPr lang="el-GR" sz="1200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TC-1 Name</a:t>
                      </a:r>
                      <a:endParaRPr lang="el-GR" sz="1200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en-US" sz="1200" b="0" i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imentary T.&amp; Metabolism </a:t>
                      </a:r>
                      <a:endParaRPr lang="el-GR" sz="1200" b="0" i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chemeClr val="tx1"/>
                          </a:solidFill>
                        </a:rPr>
                        <a:t>B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lood + B.Forming Organs </a:t>
                      </a:r>
                      <a:endParaRPr lang="el-GR" sz="1200" b="0" i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chemeClr val="tx1"/>
                          </a:solidFill>
                        </a:rPr>
                        <a:t>C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10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ardiovascular Syste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chemeClr val="tx1"/>
                          </a:solidFill>
                        </a:rPr>
                        <a:t>D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10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rmatological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chemeClr val="tx1"/>
                          </a:solidFill>
                        </a:rPr>
                        <a:t>G</a:t>
                      </a:r>
                      <a:endParaRPr lang="el-GR" sz="1200" b="0" i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.U.System &amp; Sex Hormones </a:t>
                      </a:r>
                      <a:endParaRPr lang="el-GR" sz="1200" b="0" i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chemeClr val="tx1"/>
                          </a:solidFill>
                        </a:rPr>
                        <a:t>H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ystemic Hormones</a:t>
                      </a:r>
                      <a:endParaRPr lang="el-GR" sz="1200" b="0" i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chemeClr val="tx1"/>
                          </a:solidFill>
                        </a:rPr>
                        <a:t>J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ystemic Anti-Infectives</a:t>
                      </a:r>
                      <a:endParaRPr lang="el-GR" sz="1200" b="0" i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chemeClr val="tx1"/>
                          </a:solidFill>
                        </a:rPr>
                        <a:t>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tineoplast+Immunomodul</a:t>
                      </a:r>
                      <a:endParaRPr lang="el-GR" sz="1200" b="0" i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chemeClr val="tx1"/>
                          </a:solidFill>
                        </a:rPr>
                        <a:t>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10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usculo-Skeletal Syste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chemeClr val="tx1"/>
                          </a:solidFill>
                        </a:rPr>
                        <a:t>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entral Nervous System</a:t>
                      </a:r>
                      <a:endParaRPr lang="el-GR" sz="1200" b="0" i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chemeClr val="tx1"/>
                          </a:solidFill>
                        </a:rPr>
                        <a:t>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eaLnBrk="0" hangingPunct="0">
                        <a:lnSpc>
                          <a:spcPct val="85000"/>
                        </a:lnSpc>
                      </a:pPr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spiratory Syste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chemeClr val="tx1"/>
                          </a:solidFill>
                        </a:rPr>
                        <a:t>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nsory Organs</a:t>
                      </a:r>
                      <a:endParaRPr lang="el-GR" sz="1200" b="0" i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chemeClr val="tx1"/>
                          </a:solidFill>
                        </a:rPr>
                        <a:t>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agnostic Agents</a:t>
                      </a:r>
                      <a:endParaRPr lang="el-GR" sz="1200" b="0" i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479424" y="1546313"/>
            <a:ext cx="5389321" cy="468788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10" name="Rectangle 9"/>
          <p:cNvSpPr/>
          <p:nvPr/>
        </p:nvSpPr>
        <p:spPr>
          <a:xfrm>
            <a:off x="6345144" y="1430393"/>
            <a:ext cx="5253160" cy="4687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11" name="Rectangle 10"/>
          <p:cNvSpPr/>
          <p:nvPr/>
        </p:nvSpPr>
        <p:spPr>
          <a:xfrm>
            <a:off x="6323253" y="1538218"/>
            <a:ext cx="5389322" cy="468788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21" name="Rektangel 76">
            <a:extLst>
              <a:ext uri="{FF2B5EF4-FFF2-40B4-BE49-F238E27FC236}">
                <a16:creationId xmlns:a16="http://schemas.microsoft.com/office/drawing/2014/main" id="{326E7F72-577B-4989-AB04-FF61C654E8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3253" y="1123463"/>
            <a:ext cx="5399999" cy="318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72000" rIns="0" bIns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1600" b="1" noProof="1">
                <a:solidFill>
                  <a:schemeClr val="accent1"/>
                </a:solidFill>
                <a:cs typeface="Arial" charset="0"/>
              </a:rPr>
              <a:t>ATC-1 Abbreviations</a:t>
            </a:r>
            <a:endParaRPr lang="en-US" sz="1600" b="1" baseline="30000" noProof="1">
              <a:solidFill>
                <a:schemeClr val="accent1"/>
              </a:solidFill>
              <a:cs typeface="Arial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CAFF733-F603-40D8-B3EB-CA141AB2231F}"/>
              </a:ext>
            </a:extLst>
          </p:cNvPr>
          <p:cNvCxnSpPr/>
          <p:nvPr/>
        </p:nvCxnSpPr>
        <p:spPr>
          <a:xfrm>
            <a:off x="6323254" y="1112576"/>
            <a:ext cx="5399999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8013B28-9A55-4FE6-BB8E-257F5C8E0954}"/>
              </a:ext>
            </a:extLst>
          </p:cNvPr>
          <p:cNvCxnSpPr/>
          <p:nvPr/>
        </p:nvCxnSpPr>
        <p:spPr>
          <a:xfrm>
            <a:off x="468748" y="1112576"/>
            <a:ext cx="5399999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ktangel 76">
            <a:extLst>
              <a:ext uri="{FF2B5EF4-FFF2-40B4-BE49-F238E27FC236}">
                <a16:creationId xmlns:a16="http://schemas.microsoft.com/office/drawing/2014/main" id="{F3D8C4E2-7F9E-4BBC-84B1-C516DF9AD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747" y="1123463"/>
            <a:ext cx="5399999" cy="318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72000" rIns="0" bIns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1600" b="1" noProof="1">
                <a:solidFill>
                  <a:schemeClr val="accent1"/>
                </a:solidFill>
                <a:cs typeface="Arial" charset="0"/>
              </a:rPr>
              <a:t>Abbreviations</a:t>
            </a:r>
            <a:endParaRPr lang="en-US" sz="1600" b="1" baseline="30000" noProof="1">
              <a:solidFill>
                <a:schemeClr val="accent1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3049761"/>
      </p:ext>
    </p:extLst>
  </p:cSld>
  <p:clrMapOvr>
    <a:masterClrMapping/>
  </p:clrMapOvr>
  <p:transition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Rectangle 45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5890497"/>
              </p:ext>
            </p:ext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0" imgH="0" progId="TCLayout.ActiveDocument.1">
                  <p:embed/>
                </p:oleObj>
              </mc:Choice>
              <mc:Fallback>
                <p:oleObj name="think-cell Slide" r:id="rId46" imgW="0" imgH="0" progId="TCLayout.ActiveDocument.1">
                  <p:embed/>
                  <p:pic>
                    <p:nvPicPr>
                      <p:cNvPr id="8194" name="Rectangle 4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6" name="Rectangle 46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graphicFrame>
        <p:nvGraphicFramePr>
          <p:cNvPr id="84" name="Chart 83">
            <a:extLst>
              <a:ext uri="{FF2B5EF4-FFF2-40B4-BE49-F238E27FC236}">
                <a16:creationId xmlns:a16="http://schemas.microsoft.com/office/drawing/2014/main" id="{62B230E8-D70C-96D7-58FB-EED801515F7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816117"/>
              </p:ext>
            </p:extLst>
          </p:nvPr>
        </p:nvGraphicFramePr>
        <p:xfrm>
          <a:off x="803275" y="2430463"/>
          <a:ext cx="9323388" cy="3325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227" name="Rectangle 226">
            <a:extLst>
              <a:ext uri="{FF2B5EF4-FFF2-40B4-BE49-F238E27FC236}">
                <a16:creationId xmlns:a16="http://schemas.microsoft.com/office/drawing/2014/main" id="{7487DF98-AEEB-1BB3-66AE-EADFF8C76C5D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549275" y="2971801"/>
            <a:ext cx="222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6778E89-FB04-4041-9412-2F8F8D9A5BA2}" type="datetime'''''''''''''''0''''''.''''''''2''''''''''''''''''''''''4'''''">
              <a:rPr lang="en-US" altLang="en-US" sz="9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.24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60E9F3-00C3-F142-414D-9DD92DEA7B1A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041775" y="5749926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97B07A0-DFCF-4BB6-B095-71689B86FEC6}" type="datetime'60'''',''''0''''''''''''''''''''''''0''''''''''''''0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0,00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9F21605-9F57-CFFB-E069-2092BA909D12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1543050" y="5749926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20AFB6E-2D8E-4E54-8460-204DD6BBAEDA}" type="datetime'3''''0'''''',''''''0''0''''''''''''0''''''''''''''''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0,00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74E573A-8BA8-B1DF-06E0-BF5C91D860C3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711200" y="5749926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17509C9-4D1F-484E-9CC1-F371158FDD78}" type="datetime'''''''2''''0,''''''''0''''''''''''0''''0''''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,00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5F3A7DA-4675-0839-FDD4-66DF7710C23E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5707063" y="5759451"/>
            <a:ext cx="3492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A77FF84-EA82-4651-8D5B-A7F11C6E7063}" type="datetime'''''''''''''''''''''''''''80'',''''''''0''0''''0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0,00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814475-4334-9B34-6CEB-00EC3E4EA69D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2376488" y="5749926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FE03C5D-85DB-4062-9698-226C6C5C6592}" type="datetime'40'''''''''''''''',''''''''''''0''''''''''0''''''''''''0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0,00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ACD010E2-C328-AFFB-44CF-4EEA52447E7B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9837738" y="5759451"/>
            <a:ext cx="4127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D9A36D8-8016-42B1-9446-CE16FA729FBD}" type="datetime'''1''''''3''''''''''0'''''''''',0''''0''''''''''0'''''">
              <a:rPr lang="en-US" altLang="en-US" sz="9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30,000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7BEDD6B-E72E-6089-26E9-077FC929DB84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3208338" y="5749926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3D545D8-D02A-4C8A-A5CB-EBBEB20EEC3E}" type="datetime'''''''''''''5''''''''0'''''''''''',''0''''''''''''00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0,00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51C62D9-13B3-DAC6-4A55-532BAA80158B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6538913" y="5759451"/>
            <a:ext cx="3492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ED4FCC6-8A1A-40DA-8C94-A7485DB19849}" type="datetime'9''0'''''',''''''''0''0''''''''''''''0''''''''''''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0,00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8C0EB0E-8396-E855-D9B1-B9E1796BEB22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549275" y="5605464"/>
            <a:ext cx="222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88DC159-5F2C-4DB4-9961-80CE2DD4D8D3}" type="datetime'''0''''''''''''''''''''''''.''''''04'''''''''''''''''''''">
              <a:rPr lang="en-US" altLang="en-US" sz="9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.04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F9AD97A-3492-D071-69EA-599D54A9715B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549275" y="4551364"/>
            <a:ext cx="222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039D185-4F9B-4AA6-B98A-6C0D1ED639DB}" type="datetime'''''''''''''''''''''''''0''''''''''''''''''''''''''.1''''2'">
              <a:rPr lang="en-US" altLang="en-US" sz="9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.12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78BF038-67B5-D2CE-1A29-E1FF657992B4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4873625" y="5749926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A0B355-7221-423C-9918-B18EC979BCBE}" type="datetime'''''''''''''''''''''''''7''''''0'''''',''''0''''''0''0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0,00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A1EBF42-D1B1-E762-6E09-6FC54C6F83F2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7340600" y="5759451"/>
            <a:ext cx="4127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4579222-C071-41BA-BD56-E5DD5B1103FF}" type="datetime'''''''''''1''''''''''''00'''''''''',''''''''''00''''0''''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0,00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53439AD-FB24-C3E9-1DDF-BD0C85D83A2B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8172450" y="5759451"/>
            <a:ext cx="4127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73F9E58-7B15-4AC3-B441-9ABD1C54A48D}" type="datetime'1''''1''''''''''''''''''''''''0'''''''''''',''''00''0'''">
              <a:rPr lang="en-US" altLang="en-US" sz="900" smtClean="0">
                <a:solidFill>
                  <a:schemeClr val="tx1"/>
                </a:solidFill>
                <a:effectLst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10,000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3A7C7317-9A8D-A282-F300-1B7ECB1641DE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9005888" y="5759451"/>
            <a:ext cx="4127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B461FDE-299D-4025-8C0E-EFAD161A67C5}" type="datetime'''12''0'''''''',''''''''''''''''''00''''''''''''0'">
              <a:rPr lang="en-US" altLang="en-US" sz="900" smtClean="0">
                <a:solidFill>
                  <a:schemeClr val="tx1"/>
                </a:solidFill>
                <a:effectLst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0,000</a:t>
            </a:fld>
            <a:endParaRPr lang="en-US" sz="900" dirty="0" err="1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23B3817-ED54-58FA-567E-F01B895F42A0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549275" y="3498851"/>
            <a:ext cx="222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751DE2A-619F-43AA-9D42-95D66A4121A2}" type="datetime'''''''''''''''''''''0''''''.''''''''2''0'''''">
              <a:rPr lang="en-US" altLang="en-US" sz="9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.20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C176FA1-058C-69ED-D242-38FF63675D3D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549275" y="5078414"/>
            <a:ext cx="222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B27F574-879D-46F2-9D78-FE5E4075D0DE}" type="datetime'''''''''''''''''0.''''''''''''''''''''''''''''''''0''''''''8'">
              <a:rPr lang="en-US" altLang="en-US" sz="9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.08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9EEEDFA-5FE4-4452-9797-F084EF73414A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549275" y="4025901"/>
            <a:ext cx="222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B8822C3-6404-470C-BBD0-CF0DEFF1E9E0}" type="datetime'''''''0''''''''''''''''.''''1''''''''''''6'''''''">
              <a:rPr lang="en-US" altLang="en-US" sz="9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.16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262EDD1C-9C4C-DEB6-7427-B88BF0EF752C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549275" y="2444751"/>
            <a:ext cx="222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3FEAB24-B762-4638-9A24-095209AE30EB}" type="datetime'''''''''''''''''''''0''.''''''''''''''''''''''''''2''''''''8'">
              <a:rPr lang="en-US" altLang="en-US" sz="9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.28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cxnSp>
        <p:nvCxnSpPr>
          <p:cNvPr id="74" name="Straight Connector 73"/>
          <p:cNvCxnSpPr/>
          <p:nvPr>
            <p:custDataLst>
              <p:tags r:id="rId22"/>
            </p:custDataLst>
          </p:nvPr>
        </p:nvCxnSpPr>
        <p:spPr bwMode="gray">
          <a:xfrm>
            <a:off x="885825" y="4487863"/>
            <a:ext cx="9158288" cy="0"/>
          </a:xfrm>
          <a:prstGeom prst="line">
            <a:avLst/>
          </a:prstGeom>
          <a:ln w="19050">
            <a:solidFill>
              <a:srgbClr val="364D6E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B6AF5A0-C90D-40B7-9D48-97A21108F5A9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gray">
          <a:xfrm flipV="1">
            <a:off x="885825" y="4094163"/>
            <a:ext cx="9158288" cy="460375"/>
          </a:xfrm>
          <a:prstGeom prst="line">
            <a:avLst/>
          </a:prstGeom>
          <a:ln w="9525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7" name="Rectangle 76">
            <a:extLst>
              <a:ext uri="{FF2B5EF4-FFF2-40B4-BE49-F238E27FC236}">
                <a16:creationId xmlns:a16="http://schemas.microsoft.com/office/drawing/2014/main" id="{6D472EAA-2EE5-4004-B64F-2CC173CE7A60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5175250" y="4565650"/>
            <a:ext cx="1587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81541D9-F843-476B-A68B-EE560A767A07}" type="datetime'N''''''''L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NL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6" name="Rectangle 285">
            <a:extLst>
              <a:ext uri="{FF2B5EF4-FFF2-40B4-BE49-F238E27FC236}">
                <a16:creationId xmlns:a16="http://schemas.microsoft.com/office/drawing/2014/main" id="{DEA9A019-CED8-4EDB-9A7D-358BD05BAEA2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2365375" y="3644900"/>
            <a:ext cx="1809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C6D8967-E999-4E69-9364-5180E90CC216}" type="datetime'''''''''''''''G''''''''''''''''''''''''''R''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GR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2214099B-18CC-44E9-9325-4189A3756ABF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4246563" y="4565650"/>
            <a:ext cx="1190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D2041CA-6A48-4DE0-B469-C9E3D9F51A1C}" type="datetime'''''F''''''''''''''''I''''''''''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FI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Rectangle 109"/>
          <p:cNvSpPr/>
          <p:nvPr>
            <p:custDataLst>
              <p:tags r:id="rId27"/>
            </p:custDataLst>
          </p:nvPr>
        </p:nvSpPr>
        <p:spPr bwMode="auto">
          <a:xfrm>
            <a:off x="561975" y="2090738"/>
            <a:ext cx="64770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Price per SU</a:t>
            </a:r>
            <a:endParaRPr lang="el-GR" sz="900" dirty="0">
              <a:latin typeface="Arial"/>
              <a:cs typeface="Arial"/>
              <a:sym typeface="Arial"/>
            </a:endParaRPr>
          </a:p>
          <a:p>
            <a:pPr algn="ctr"/>
            <a:r>
              <a:rPr lang="el-GR" sz="900" dirty="0">
                <a:latin typeface="Arial"/>
                <a:cs typeface="Arial"/>
                <a:sym typeface="Arial"/>
              </a:rPr>
              <a:t>(€/</a:t>
            </a:r>
            <a:r>
              <a:rPr lang="en-US" sz="900" dirty="0">
                <a:latin typeface="Arial"/>
                <a:cs typeface="Arial"/>
                <a:sym typeface="Arial"/>
              </a:rPr>
              <a:t>SU</a:t>
            </a:r>
            <a:r>
              <a:rPr lang="el-GR" sz="900" dirty="0">
                <a:latin typeface="Arial"/>
                <a:cs typeface="Arial"/>
                <a:sym typeface="Arial"/>
              </a:rPr>
              <a:t>)</a:t>
            </a:r>
            <a:endParaRPr lang="en-US" sz="900" dirty="0">
              <a:latin typeface="Arial"/>
              <a:cs typeface="Arial"/>
              <a:sym typeface="Arial"/>
            </a:endParaRPr>
          </a:p>
        </p:txBody>
      </p:sp>
      <p:sp>
        <p:nvSpPr>
          <p:cNvPr id="287" name="Rectangle 286">
            <a:extLst>
              <a:ext uri="{FF2B5EF4-FFF2-40B4-BE49-F238E27FC236}">
                <a16:creationId xmlns:a16="http://schemas.microsoft.com/office/drawing/2014/main" id="{A0E0C613-2240-49F4-ACC4-CE836E805D56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3633788" y="4040188"/>
            <a:ext cx="1190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352DB66-DA40-4F39-B55B-492614A01534}" type="datetime'''I''''''''''''''''T''''''''''''''''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IT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01B0CF0F-2FDB-435E-BD1F-099685E84623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2897188" y="4829175"/>
            <a:ext cx="1539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447ECB2-E984-4016-99D9-578242AB18FE}" type="datetime'''''''''''''''''P''''''''L''''''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PL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79B6EF3-3D0B-47F9-A337-723535836924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2792413" y="4170363"/>
            <a:ext cx="1587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582B8C1-223F-4B2C-BC2F-EE1E2EC2638C}" type="datetime'''''PT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PT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940F3580-8D78-4855-AD70-2A0DBEBFA543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3159125" y="4302125"/>
            <a:ext cx="1651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15D4DE0-BF3B-48AF-B4C7-27194DC949C8}" type="datetime'''''''''''''''''''''''''''''''''''''''''E''''''''''''''''S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ES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48F7733-9922-436C-8FEA-DED9EF174C3B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3425825" y="4565650"/>
            <a:ext cx="16351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A42FC49-5089-4EDC-BBD2-2DCE17A38CF7}" type="datetime'''''''''''''''''''''C''''''''''''''Z''''''''''''''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CZ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6" name="Rectangle 115"/>
          <p:cNvSpPr/>
          <p:nvPr>
            <p:custDataLst>
              <p:tags r:id="rId33"/>
            </p:custDataLst>
          </p:nvPr>
        </p:nvSpPr>
        <p:spPr bwMode="auto">
          <a:xfrm>
            <a:off x="9456738" y="5967413"/>
            <a:ext cx="79375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Country’s GDP/</a:t>
            </a:r>
          </a:p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capita($)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41B7F159-A430-4695-BBEC-9AB086E1751D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2376488" y="4565650"/>
            <a:ext cx="1651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F0FCF3E-7D02-4FF4-9B24-B7515936B5A7}" type="datetime'''''''''''''S''''''''K''''''''''''''''''''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SK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864396DA-9CBC-420D-8CBC-AD48517D1476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4992688" y="3381375"/>
            <a:ext cx="1587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41CEC18-F20E-4822-86A5-527555BBF432}" type="datetime'''''''''''''''''''''''''A''''''''''''''''''''''T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AT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D790A0D7-574E-4BB3-8B03-C8662538D196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4746625" y="4170363"/>
            <a:ext cx="1651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6C1B53B-2593-4E7D-9214-A5BAAAE7BCA7}" type="datetime'''''''''''''''B''''''''E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BE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F9B0C506-B2A8-47F3-95FA-3C65D5F3B612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3903663" y="4040188"/>
            <a:ext cx="16351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ED8FB35-8B2C-47D5-88CF-75E02F84E850}" type="datetime'''''''''''''''''''''''''''''''''''''''''''''''F''R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FR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13DC7D0-028F-467D-B3C9-2E6AF6C8D529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2686050" y="4929188"/>
            <a:ext cx="17462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CC905B4-8B9C-4628-96DE-4E44785D5CB0}" type="datetime'''''H''''''''U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HU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89BB2CA0-82FC-4740-8E9A-43177E886704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9844088" y="4140200"/>
            <a:ext cx="12541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F06BB62-A808-4462-B72A-441ABFFF8676}" type="datetime'I''''''''''''''E''''''''''''''''''''''''''''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IE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6F93CC5-C8D1-44F3-A4C5-20A8A1C7CB22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3876675" y="4960938"/>
            <a:ext cx="1698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130D5B5-1AA3-43C9-B5AB-54E0EA51000E}" type="datetime'''''''''''''''''''''''''''''U''''''K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UK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81" name="Rectangle 80">
            <a:extLst>
              <a:ext uri="{FF2B5EF4-FFF2-40B4-BE49-F238E27FC236}">
                <a16:creationId xmlns:a16="http://schemas.microsoft.com/office/drawing/2014/main" id="{A4401207-C5E2-4E0D-AA59-93B41D86E926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7042150" y="4170363"/>
            <a:ext cx="180975" cy="10953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03772E0-A60A-4C60-98F6-CC8CD4D73C80}" type="datetime'N''''''''''''''''''''O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NO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19C2F783-43B7-4EDA-90E5-CD8C08BD1B53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4567238" y="4960938"/>
            <a:ext cx="1651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844F845-161C-4CD6-883D-D06D777BEE33}" type="datetime'''''''''''''''''''''''''S''''''''E''''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SE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D16E244-CED5-4FC5-A633-E253D4CA44E9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4603750" y="4040188"/>
            <a:ext cx="1698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E08BC30-AA9E-4726-9813-ABEB9EB35630}" type="datetime'''''''''''''''''''''''''''D''''''''''E'''''''''''''''''">
              <a:rPr lang="en-US" altLang="en-US" sz="8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DE</a:t>
            </a:fld>
            <a:endParaRPr lang="en-US" sz="8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78" name="Picture 277" descr="Portugal.jpg"/>
          <p:cNvPicPr>
            <a:picLocks noChangeAspect="1"/>
          </p:cNvPicPr>
          <p:nvPr/>
        </p:nvPicPr>
        <p:blipFill>
          <a:blip r:embed="rId48" cstate="print"/>
          <a:stretch>
            <a:fillRect/>
          </a:stretch>
        </p:blipFill>
        <p:spPr>
          <a:xfrm>
            <a:off x="2690693" y="4096013"/>
            <a:ext cx="252000" cy="252000"/>
          </a:xfrm>
          <a:prstGeom prst="ellipse">
            <a:avLst/>
          </a:prstGeom>
        </p:spPr>
      </p:pic>
      <p:pic>
        <p:nvPicPr>
          <p:cNvPr id="267" name="Picture 4" descr="C:\Users\KMastorakis\Desktop\IRELAND.jpg"/>
          <p:cNvPicPr>
            <a:picLocks noChangeAspect="1" noChangeArrowheads="1"/>
          </p:cNvPicPr>
          <p:nvPr/>
        </p:nvPicPr>
        <p:blipFill>
          <a:blip r:embed="rId49" cstate="print"/>
          <a:srcRect/>
          <a:stretch>
            <a:fillRect/>
          </a:stretch>
        </p:blipFill>
        <p:spPr bwMode="auto">
          <a:xfrm>
            <a:off x="9792112" y="4043245"/>
            <a:ext cx="252000" cy="252000"/>
          </a:xfrm>
          <a:prstGeom prst="ellipse">
            <a:avLst/>
          </a:prstGeom>
        </p:spPr>
      </p:pic>
      <p:sp>
        <p:nvSpPr>
          <p:cNvPr id="126" name="Text Placeholder 8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GDPs and Generics prices in EU</a:t>
            </a:r>
          </a:p>
        </p:txBody>
      </p:sp>
      <p:sp>
        <p:nvSpPr>
          <p:cNvPr id="223" name="Title 22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eneric products in Greece have the highest average price, compared to other EU countries </a:t>
            </a:r>
            <a:r>
              <a:rPr lang="en-US" dirty="0">
                <a:latin typeface="+mj-lt"/>
              </a:rPr>
              <a:t>with similar GDP per capita</a:t>
            </a:r>
            <a:endParaRPr lang="en-US" baseline="30000" dirty="0"/>
          </a:p>
        </p:txBody>
      </p:sp>
      <p:grpSp>
        <p:nvGrpSpPr>
          <p:cNvPr id="2" name="Group 181"/>
          <p:cNvGrpSpPr/>
          <p:nvPr/>
        </p:nvGrpSpPr>
        <p:grpSpPr>
          <a:xfrm>
            <a:off x="10541486" y="1707055"/>
            <a:ext cx="1189261" cy="4454033"/>
            <a:chOff x="7949989" y="1275965"/>
            <a:chExt cx="1189261" cy="4454033"/>
          </a:xfrm>
        </p:grpSpPr>
        <p:pic>
          <p:nvPicPr>
            <p:cNvPr id="183" name="Picture 4" descr="C:\Users\KMastorakis\Desktop\IRELAND.jpg"/>
            <p:cNvPicPr>
              <a:picLocks noChangeAspect="1" noChangeArrowheads="1"/>
            </p:cNvPicPr>
            <p:nvPr/>
          </p:nvPicPr>
          <p:blipFill>
            <a:blip r:embed="rId49" cstate="print"/>
            <a:srcRect/>
            <a:stretch>
              <a:fillRect/>
            </a:stretch>
          </p:blipFill>
          <p:spPr bwMode="auto">
            <a:xfrm>
              <a:off x="7967956" y="3265264"/>
              <a:ext cx="252000" cy="252000"/>
            </a:xfrm>
            <a:prstGeom prst="rect">
              <a:avLst/>
            </a:prstGeom>
          </p:spPr>
        </p:pic>
        <p:pic>
          <p:nvPicPr>
            <p:cNvPr id="221" name="Picture 220" descr="Italy.jpg"/>
            <p:cNvPicPr>
              <a:picLocks noChangeAspect="1"/>
            </p:cNvPicPr>
            <p:nvPr/>
          </p:nvPicPr>
          <p:blipFill>
            <a:blip r:embed="rId50" cstate="print"/>
            <a:stretch>
              <a:fillRect/>
            </a:stretch>
          </p:blipFill>
          <p:spPr>
            <a:xfrm>
              <a:off x="7967956" y="3517264"/>
              <a:ext cx="252000" cy="252000"/>
            </a:xfrm>
            <a:prstGeom prst="rect">
              <a:avLst/>
            </a:prstGeom>
          </p:spPr>
        </p:pic>
        <p:pic>
          <p:nvPicPr>
            <p:cNvPr id="222" name="Picture 221" descr="Portugal.jpg"/>
            <p:cNvPicPr>
              <a:picLocks noChangeAspect="1"/>
            </p:cNvPicPr>
            <p:nvPr/>
          </p:nvPicPr>
          <p:blipFill>
            <a:blip r:embed="rId48" cstate="print"/>
            <a:stretch>
              <a:fillRect/>
            </a:stretch>
          </p:blipFill>
          <p:spPr>
            <a:xfrm>
              <a:off x="7967956" y="4455406"/>
              <a:ext cx="252000" cy="252000"/>
            </a:xfrm>
            <a:prstGeom prst="rect">
              <a:avLst/>
            </a:prstGeom>
          </p:spPr>
        </p:pic>
        <p:pic>
          <p:nvPicPr>
            <p:cNvPr id="224" name="Picture 223" descr="Spain.jpg"/>
            <p:cNvPicPr>
              <a:picLocks noChangeAspect="1"/>
            </p:cNvPicPr>
            <p:nvPr/>
          </p:nvPicPr>
          <p:blipFill>
            <a:blip r:embed="rId51" cstate="print"/>
            <a:stretch>
              <a:fillRect/>
            </a:stretch>
          </p:blipFill>
          <p:spPr>
            <a:xfrm>
              <a:off x="7967956" y="4707406"/>
              <a:ext cx="252000" cy="249305"/>
            </a:xfrm>
            <a:prstGeom prst="rect">
              <a:avLst/>
            </a:prstGeom>
          </p:spPr>
        </p:pic>
        <p:pic>
          <p:nvPicPr>
            <p:cNvPr id="225" name="Picture 224" descr="Austria.jpg"/>
            <p:cNvPicPr>
              <a:picLocks noChangeAspect="1"/>
            </p:cNvPicPr>
            <p:nvPr/>
          </p:nvPicPr>
          <p:blipFill>
            <a:blip r:embed="rId52" cstate="print"/>
            <a:stretch>
              <a:fillRect/>
            </a:stretch>
          </p:blipFill>
          <p:spPr>
            <a:xfrm>
              <a:off x="7967956" y="1275965"/>
              <a:ext cx="252000" cy="252000"/>
            </a:xfrm>
            <a:prstGeom prst="rect">
              <a:avLst/>
            </a:prstGeom>
          </p:spPr>
        </p:pic>
        <p:pic>
          <p:nvPicPr>
            <p:cNvPr id="226" name="Picture 225" descr="Belgium.jpg"/>
            <p:cNvPicPr>
              <a:picLocks noChangeAspect="1"/>
            </p:cNvPicPr>
            <p:nvPr/>
          </p:nvPicPr>
          <p:blipFill>
            <a:blip r:embed="rId53" cstate="print"/>
            <a:stretch>
              <a:fillRect/>
            </a:stretch>
          </p:blipFill>
          <p:spPr>
            <a:xfrm>
              <a:off x="7967956" y="1528286"/>
              <a:ext cx="252000" cy="252000"/>
            </a:xfrm>
            <a:prstGeom prst="rect">
              <a:avLst/>
            </a:prstGeom>
          </p:spPr>
        </p:pic>
        <p:pic>
          <p:nvPicPr>
            <p:cNvPr id="228" name="Picture 227" descr="France.jpg"/>
            <p:cNvPicPr>
              <a:picLocks noChangeAspect="1"/>
            </p:cNvPicPr>
            <p:nvPr/>
          </p:nvPicPr>
          <p:blipFill>
            <a:blip r:embed="rId54" cstate="print"/>
            <a:stretch>
              <a:fillRect/>
            </a:stretch>
          </p:blipFill>
          <p:spPr>
            <a:xfrm>
              <a:off x="7967956" y="2264701"/>
              <a:ext cx="252000" cy="252000"/>
            </a:xfrm>
            <a:prstGeom prst="rect">
              <a:avLst/>
            </a:prstGeom>
          </p:spPr>
        </p:pic>
        <p:pic>
          <p:nvPicPr>
            <p:cNvPr id="229" name="Picture 228" descr="Germany.jpg"/>
            <p:cNvPicPr>
              <a:picLocks noChangeAspect="1"/>
            </p:cNvPicPr>
            <p:nvPr/>
          </p:nvPicPr>
          <p:blipFill>
            <a:blip r:embed="rId55" cstate="print"/>
            <a:stretch>
              <a:fillRect/>
            </a:stretch>
          </p:blipFill>
          <p:spPr>
            <a:xfrm>
              <a:off x="7967956" y="2517022"/>
              <a:ext cx="252000" cy="252000"/>
            </a:xfrm>
            <a:prstGeom prst="rect">
              <a:avLst/>
            </a:prstGeom>
          </p:spPr>
        </p:pic>
        <p:pic>
          <p:nvPicPr>
            <p:cNvPr id="230" name="Picture 229" descr="Netherlands.jpg"/>
            <p:cNvPicPr>
              <a:picLocks noChangeAspect="1"/>
            </p:cNvPicPr>
            <p:nvPr/>
          </p:nvPicPr>
          <p:blipFill>
            <a:blip r:embed="rId56" cstate="print"/>
            <a:stretch>
              <a:fillRect/>
            </a:stretch>
          </p:blipFill>
          <p:spPr>
            <a:xfrm>
              <a:off x="7967956" y="3759505"/>
              <a:ext cx="252000" cy="252000"/>
            </a:xfrm>
            <a:prstGeom prst="rect">
              <a:avLst/>
            </a:prstGeom>
          </p:spPr>
        </p:pic>
        <p:pic>
          <p:nvPicPr>
            <p:cNvPr id="231" name="Picture 7" descr="C:\Users\KMastorakis\Desktop\UK.jpg"/>
            <p:cNvPicPr>
              <a:picLocks noChangeAspect="1" noChangeArrowheads="1"/>
            </p:cNvPicPr>
            <p:nvPr/>
          </p:nvPicPr>
          <p:blipFill>
            <a:blip r:embed="rId57" cstate="print"/>
            <a:srcRect/>
            <a:stretch>
              <a:fillRect/>
            </a:stretch>
          </p:blipFill>
          <p:spPr bwMode="auto">
            <a:xfrm>
              <a:off x="7967956" y="5464954"/>
              <a:ext cx="252000" cy="252000"/>
            </a:xfrm>
            <a:prstGeom prst="rect">
              <a:avLst/>
            </a:prstGeom>
            <a:noFill/>
          </p:spPr>
        </p:pic>
        <p:pic>
          <p:nvPicPr>
            <p:cNvPr id="232" name="Picture 8" descr="C:\Users\KMastorakis\Desktop\FINLAND.jpg"/>
            <p:cNvPicPr>
              <a:picLocks noChangeAspect="1" noChangeArrowheads="1"/>
            </p:cNvPicPr>
            <p:nvPr/>
          </p:nvPicPr>
          <p:blipFill>
            <a:blip r:embed="rId58" cstate="print"/>
            <a:srcRect/>
            <a:stretch>
              <a:fillRect/>
            </a:stretch>
          </p:blipFill>
          <p:spPr bwMode="auto">
            <a:xfrm>
              <a:off x="7967956" y="2022654"/>
              <a:ext cx="252000" cy="252000"/>
            </a:xfrm>
            <a:prstGeom prst="rect">
              <a:avLst/>
            </a:prstGeom>
            <a:noFill/>
          </p:spPr>
        </p:pic>
        <p:pic>
          <p:nvPicPr>
            <p:cNvPr id="233" name="Picture 9" descr="C:\Users\KMastorakis\Desktop\NORWAY.jpg"/>
            <p:cNvPicPr>
              <a:picLocks noChangeAspect="1" noChangeArrowheads="1"/>
            </p:cNvPicPr>
            <p:nvPr/>
          </p:nvPicPr>
          <p:blipFill>
            <a:blip r:embed="rId59" cstate="print"/>
            <a:srcRect/>
            <a:stretch>
              <a:fillRect/>
            </a:stretch>
          </p:blipFill>
          <p:spPr bwMode="auto">
            <a:xfrm>
              <a:off x="7967956" y="3991472"/>
              <a:ext cx="252000" cy="252000"/>
            </a:xfrm>
            <a:prstGeom prst="rect">
              <a:avLst/>
            </a:prstGeom>
            <a:noFill/>
          </p:spPr>
        </p:pic>
        <p:pic>
          <p:nvPicPr>
            <p:cNvPr id="234" name="Picture 233" descr="Sweden.jpg"/>
            <p:cNvPicPr>
              <a:picLocks noChangeAspect="1"/>
            </p:cNvPicPr>
            <p:nvPr/>
          </p:nvPicPr>
          <p:blipFill>
            <a:blip r:embed="rId60" cstate="print"/>
            <a:stretch>
              <a:fillRect/>
            </a:stretch>
          </p:blipFill>
          <p:spPr>
            <a:xfrm>
              <a:off x="7967956" y="4959923"/>
              <a:ext cx="252000" cy="252000"/>
            </a:xfrm>
            <a:prstGeom prst="rect">
              <a:avLst/>
            </a:prstGeom>
          </p:spPr>
        </p:pic>
        <p:pic>
          <p:nvPicPr>
            <p:cNvPr id="235" name="Picture 234" descr="Czech republic.jpg"/>
            <p:cNvPicPr>
              <a:picLocks noChangeAspect="1"/>
            </p:cNvPicPr>
            <p:nvPr/>
          </p:nvPicPr>
          <p:blipFill>
            <a:blip r:embed="rId61" cstate="print"/>
            <a:stretch>
              <a:fillRect/>
            </a:stretch>
          </p:blipFill>
          <p:spPr>
            <a:xfrm>
              <a:off x="7967956" y="1780604"/>
              <a:ext cx="252000" cy="254849"/>
            </a:xfrm>
            <a:prstGeom prst="rect">
              <a:avLst/>
            </a:prstGeom>
          </p:spPr>
        </p:pic>
        <p:pic>
          <p:nvPicPr>
            <p:cNvPr id="236" name="Picture 235" descr="Hungary.jpg"/>
            <p:cNvPicPr>
              <a:picLocks noChangeAspect="1"/>
            </p:cNvPicPr>
            <p:nvPr/>
          </p:nvPicPr>
          <p:blipFill>
            <a:blip r:embed="rId62" cstate="print"/>
            <a:stretch>
              <a:fillRect/>
            </a:stretch>
          </p:blipFill>
          <p:spPr>
            <a:xfrm>
              <a:off x="7967956" y="3001116"/>
              <a:ext cx="252000" cy="253358"/>
            </a:xfrm>
            <a:prstGeom prst="rect">
              <a:avLst/>
            </a:prstGeom>
          </p:spPr>
        </p:pic>
        <p:pic>
          <p:nvPicPr>
            <p:cNvPr id="237" name="Picture 11" descr="https://encrypted-tbn1.gstatic.com/images?q=tbn:ANd9GcTONKpwE8WEyeUCYX7ekfahvZ3m-YAZSoMksyBgT4ieMShN0GKY"/>
            <p:cNvPicPr>
              <a:picLocks noChangeAspect="1" noChangeArrowheads="1"/>
            </p:cNvPicPr>
            <p:nvPr/>
          </p:nvPicPr>
          <p:blipFill>
            <a:blip r:embed="rId63" cstate="print"/>
            <a:srcRect/>
            <a:stretch>
              <a:fillRect/>
            </a:stretch>
          </p:blipFill>
          <p:spPr bwMode="auto">
            <a:xfrm>
              <a:off x="7967956" y="4223439"/>
              <a:ext cx="252000" cy="252000"/>
            </a:xfrm>
            <a:prstGeom prst="rect">
              <a:avLst/>
            </a:prstGeom>
            <a:noFill/>
          </p:spPr>
        </p:pic>
        <p:pic>
          <p:nvPicPr>
            <p:cNvPr id="238" name="Picture 13" descr="http://www.veryicon.com/icon/png/Flag/Rounded%20World%20Flags/Slovakia%20Flag.png"/>
            <p:cNvPicPr>
              <a:picLocks noChangeAspect="1" noChangeArrowheads="1"/>
            </p:cNvPicPr>
            <p:nvPr/>
          </p:nvPicPr>
          <p:blipFill>
            <a:blip r:embed="rId64" cstate="print"/>
            <a:srcRect/>
            <a:stretch>
              <a:fillRect/>
            </a:stretch>
          </p:blipFill>
          <p:spPr bwMode="auto">
            <a:xfrm>
              <a:off x="7967956" y="5202164"/>
              <a:ext cx="252000" cy="252000"/>
            </a:xfrm>
            <a:prstGeom prst="rect">
              <a:avLst/>
            </a:prstGeom>
            <a:noFill/>
          </p:spPr>
        </p:pic>
        <p:sp>
          <p:nvSpPr>
            <p:cNvPr id="239" name="TextBox 238"/>
            <p:cNvSpPr txBox="1">
              <a:spLocks/>
            </p:cNvSpPr>
            <p:nvPr/>
          </p:nvSpPr>
          <p:spPr>
            <a:xfrm>
              <a:off x="8287901" y="1318626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Austria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0" name="TextBox 239"/>
            <p:cNvSpPr txBox="1">
              <a:spLocks/>
            </p:cNvSpPr>
            <p:nvPr/>
          </p:nvSpPr>
          <p:spPr>
            <a:xfrm>
              <a:off x="8287901" y="1564393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Belgium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1" name="TextBox 240"/>
            <p:cNvSpPr txBox="1">
              <a:spLocks/>
            </p:cNvSpPr>
            <p:nvPr/>
          </p:nvSpPr>
          <p:spPr>
            <a:xfrm>
              <a:off x="8287901" y="1767266"/>
              <a:ext cx="828000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Czech Republic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2" name="TextBox 241"/>
            <p:cNvSpPr txBox="1">
              <a:spLocks/>
            </p:cNvSpPr>
            <p:nvPr/>
          </p:nvSpPr>
          <p:spPr>
            <a:xfrm>
              <a:off x="8287901" y="2074078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Finland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3" name="TextBox 242"/>
            <p:cNvSpPr txBox="1">
              <a:spLocks/>
            </p:cNvSpPr>
            <p:nvPr/>
          </p:nvSpPr>
          <p:spPr>
            <a:xfrm>
              <a:off x="8287901" y="2301694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France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4" name="TextBox 243"/>
            <p:cNvSpPr txBox="1">
              <a:spLocks/>
            </p:cNvSpPr>
            <p:nvPr/>
          </p:nvSpPr>
          <p:spPr>
            <a:xfrm>
              <a:off x="8287901" y="2547461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Germany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5" name="TextBox 244"/>
            <p:cNvSpPr txBox="1">
              <a:spLocks/>
            </p:cNvSpPr>
            <p:nvPr/>
          </p:nvSpPr>
          <p:spPr>
            <a:xfrm>
              <a:off x="8287901" y="2793228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Greece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6" name="TextBox 245"/>
            <p:cNvSpPr txBox="1">
              <a:spLocks/>
            </p:cNvSpPr>
            <p:nvPr/>
          </p:nvSpPr>
          <p:spPr>
            <a:xfrm>
              <a:off x="8287901" y="3038995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Hungary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7" name="TextBox 246"/>
            <p:cNvSpPr txBox="1">
              <a:spLocks/>
            </p:cNvSpPr>
            <p:nvPr/>
          </p:nvSpPr>
          <p:spPr>
            <a:xfrm>
              <a:off x="8287901" y="3284762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Ireland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8" name="TextBox 247"/>
            <p:cNvSpPr txBox="1">
              <a:spLocks/>
            </p:cNvSpPr>
            <p:nvPr/>
          </p:nvSpPr>
          <p:spPr>
            <a:xfrm>
              <a:off x="8311250" y="3530529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Italy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49" name="TextBox 248"/>
            <p:cNvSpPr txBox="1">
              <a:spLocks/>
            </p:cNvSpPr>
            <p:nvPr/>
          </p:nvSpPr>
          <p:spPr>
            <a:xfrm>
              <a:off x="8291874" y="3776296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Netherlands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0" name="TextBox 249"/>
            <p:cNvSpPr txBox="1">
              <a:spLocks/>
            </p:cNvSpPr>
            <p:nvPr/>
          </p:nvSpPr>
          <p:spPr>
            <a:xfrm>
              <a:off x="8291874" y="4022063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Norway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1" name="TextBox 250"/>
            <p:cNvSpPr txBox="1">
              <a:spLocks/>
            </p:cNvSpPr>
            <p:nvPr/>
          </p:nvSpPr>
          <p:spPr>
            <a:xfrm>
              <a:off x="8291874" y="4267830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Poland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2" name="TextBox 251"/>
            <p:cNvSpPr txBox="1">
              <a:spLocks/>
            </p:cNvSpPr>
            <p:nvPr/>
          </p:nvSpPr>
          <p:spPr>
            <a:xfrm>
              <a:off x="8291874" y="4513597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Portugal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3" name="TextBox 252"/>
            <p:cNvSpPr txBox="1">
              <a:spLocks/>
            </p:cNvSpPr>
            <p:nvPr/>
          </p:nvSpPr>
          <p:spPr>
            <a:xfrm>
              <a:off x="8291874" y="4759364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Spain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4" name="TextBox 253"/>
            <p:cNvSpPr txBox="1">
              <a:spLocks/>
            </p:cNvSpPr>
            <p:nvPr/>
          </p:nvSpPr>
          <p:spPr>
            <a:xfrm>
              <a:off x="8291874" y="5005131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Sweden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5" name="TextBox 254"/>
            <p:cNvSpPr txBox="1">
              <a:spLocks/>
            </p:cNvSpPr>
            <p:nvPr/>
          </p:nvSpPr>
          <p:spPr>
            <a:xfrm>
              <a:off x="8291874" y="5250890"/>
              <a:ext cx="828000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Slovakia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6" name="TextBox 255"/>
            <p:cNvSpPr txBox="1">
              <a:spLocks/>
            </p:cNvSpPr>
            <p:nvPr/>
          </p:nvSpPr>
          <p:spPr>
            <a:xfrm>
              <a:off x="8291874" y="5452999"/>
              <a:ext cx="828000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900" b="1" i="1" dirty="0">
                  <a:latin typeface="+mj-lt"/>
                </a:rPr>
                <a:t>United Kingdom</a:t>
              </a:r>
              <a:endParaRPr lang="en-US" sz="900" b="1" i="1" baseline="30000" dirty="0">
                <a:latin typeface="+mj-lt"/>
              </a:endParaRPr>
            </a:p>
          </p:txBody>
        </p:sp>
        <p:sp>
          <p:nvSpPr>
            <p:cNvPr id="257" name="Oval 256"/>
            <p:cNvSpPr/>
            <p:nvPr/>
          </p:nvSpPr>
          <p:spPr bwMode="auto">
            <a:xfrm>
              <a:off x="7975156" y="4223439"/>
              <a:ext cx="244800" cy="244800"/>
            </a:xfrm>
            <a:prstGeom prst="ellipse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l-GR" sz="1000">
                <a:latin typeface="+mj-lt"/>
              </a:endParaRPr>
            </a:p>
          </p:txBody>
        </p:sp>
        <p:pic>
          <p:nvPicPr>
            <p:cNvPr id="258" name="Picture 257" descr="Greece.png"/>
            <p:cNvPicPr>
              <a:picLocks noChangeAspect="1"/>
            </p:cNvPicPr>
            <p:nvPr/>
          </p:nvPicPr>
          <p:blipFill>
            <a:blip r:embed="rId65" cstate="print"/>
            <a:stretch>
              <a:fillRect/>
            </a:stretch>
          </p:blipFill>
          <p:spPr>
            <a:xfrm>
              <a:off x="7949989" y="2739986"/>
              <a:ext cx="288000" cy="288000"/>
            </a:xfrm>
            <a:prstGeom prst="rect">
              <a:avLst/>
            </a:prstGeom>
          </p:spPr>
        </p:pic>
      </p:grpSp>
      <p:pic>
        <p:nvPicPr>
          <p:cNvPr id="260" name="Picture 259" descr="Austria.jpg"/>
          <p:cNvPicPr>
            <a:picLocks noChangeAspect="1"/>
          </p:cNvPicPr>
          <p:nvPr/>
        </p:nvPicPr>
        <p:blipFill>
          <a:blip r:embed="rId52" cstate="print"/>
          <a:stretch>
            <a:fillRect/>
          </a:stretch>
        </p:blipFill>
        <p:spPr>
          <a:xfrm>
            <a:off x="4869863" y="3363611"/>
            <a:ext cx="252000" cy="252000"/>
          </a:xfrm>
          <a:prstGeom prst="rect">
            <a:avLst/>
          </a:prstGeom>
        </p:spPr>
      </p:pic>
      <p:pic>
        <p:nvPicPr>
          <p:cNvPr id="262" name="Picture 261" descr="Belgium.jpg"/>
          <p:cNvPicPr>
            <a:picLocks noChangeAspect="1"/>
          </p:cNvPicPr>
          <p:nvPr/>
        </p:nvPicPr>
        <p:blipFill>
          <a:blip r:embed="rId53" cstate="print"/>
          <a:stretch>
            <a:fillRect/>
          </a:stretch>
        </p:blipFill>
        <p:spPr>
          <a:xfrm>
            <a:off x="4727762" y="4101710"/>
            <a:ext cx="252000" cy="252000"/>
          </a:xfrm>
          <a:prstGeom prst="rect">
            <a:avLst/>
          </a:prstGeom>
        </p:spPr>
      </p:pic>
      <p:pic>
        <p:nvPicPr>
          <p:cNvPr id="263" name="Picture 262" descr="Czech republic.jpg"/>
          <p:cNvPicPr>
            <a:picLocks noChangeAspect="1"/>
          </p:cNvPicPr>
          <p:nvPr/>
        </p:nvPicPr>
        <p:blipFill>
          <a:blip r:embed="rId61" cstate="print"/>
          <a:stretch>
            <a:fillRect/>
          </a:stretch>
        </p:blipFill>
        <p:spPr>
          <a:xfrm>
            <a:off x="3322314" y="4497892"/>
            <a:ext cx="252000" cy="254849"/>
          </a:xfrm>
          <a:prstGeom prst="rect">
            <a:avLst/>
          </a:prstGeom>
        </p:spPr>
      </p:pic>
      <p:pic>
        <p:nvPicPr>
          <p:cNvPr id="264" name="Picture 8" descr="C:\Users\KMastorakis\Desktop\FINLAND.jpg"/>
          <p:cNvPicPr>
            <a:picLocks noChangeAspect="1" noChangeArrowheads="1"/>
          </p:cNvPicPr>
          <p:nvPr/>
        </p:nvPicPr>
        <p:blipFill>
          <a:blip r:embed="rId58" cstate="print"/>
          <a:srcRect/>
          <a:stretch>
            <a:fillRect/>
          </a:stretch>
        </p:blipFill>
        <p:spPr bwMode="auto">
          <a:xfrm>
            <a:off x="4139025" y="4477087"/>
            <a:ext cx="252000" cy="252000"/>
          </a:xfrm>
          <a:prstGeom prst="ellipse">
            <a:avLst/>
          </a:prstGeom>
          <a:noFill/>
        </p:spPr>
      </p:pic>
      <p:pic>
        <p:nvPicPr>
          <p:cNvPr id="265" name="Picture 264" descr="France.jpg"/>
          <p:cNvPicPr>
            <a:picLocks noChangeAspect="1"/>
          </p:cNvPicPr>
          <p:nvPr/>
        </p:nvPicPr>
        <p:blipFill>
          <a:blip r:embed="rId54" cstate="print"/>
          <a:stretch>
            <a:fillRect/>
          </a:stretch>
        </p:blipFill>
        <p:spPr>
          <a:xfrm>
            <a:off x="3899495" y="3953147"/>
            <a:ext cx="252000" cy="252000"/>
          </a:xfrm>
          <a:prstGeom prst="rect">
            <a:avLst/>
          </a:prstGeom>
        </p:spPr>
      </p:pic>
      <p:pic>
        <p:nvPicPr>
          <p:cNvPr id="266" name="Picture 265" descr="Hungary.jpg"/>
          <p:cNvPicPr>
            <a:picLocks noChangeAspect="1"/>
          </p:cNvPicPr>
          <p:nvPr/>
        </p:nvPicPr>
        <p:blipFill>
          <a:blip r:embed="rId62" cstate="print"/>
          <a:stretch>
            <a:fillRect/>
          </a:stretch>
        </p:blipFill>
        <p:spPr>
          <a:xfrm>
            <a:off x="2686050" y="4841940"/>
            <a:ext cx="252000" cy="253358"/>
          </a:xfrm>
          <a:prstGeom prst="rect">
            <a:avLst/>
          </a:prstGeom>
        </p:spPr>
      </p:pic>
      <p:pic>
        <p:nvPicPr>
          <p:cNvPr id="268" name="Picture 267" descr="Italy.jpg"/>
          <p:cNvPicPr>
            <a:picLocks noChangeAspect="1"/>
          </p:cNvPicPr>
          <p:nvPr/>
        </p:nvPicPr>
        <p:blipFill>
          <a:blip r:embed="rId50" cstate="print"/>
          <a:stretch>
            <a:fillRect/>
          </a:stretch>
        </p:blipFill>
        <p:spPr>
          <a:xfrm>
            <a:off x="3547368" y="3987186"/>
            <a:ext cx="252000" cy="252000"/>
          </a:xfrm>
          <a:prstGeom prst="ellipse">
            <a:avLst/>
          </a:prstGeom>
        </p:spPr>
      </p:pic>
      <p:pic>
        <p:nvPicPr>
          <p:cNvPr id="269" name="Picture 268" descr="Netherlands.jpg"/>
          <p:cNvPicPr>
            <a:picLocks noChangeAspect="1"/>
          </p:cNvPicPr>
          <p:nvPr/>
        </p:nvPicPr>
        <p:blipFill>
          <a:blip r:embed="rId56" cstate="print"/>
          <a:stretch>
            <a:fillRect/>
          </a:stretch>
        </p:blipFill>
        <p:spPr>
          <a:xfrm>
            <a:off x="5127399" y="4513636"/>
            <a:ext cx="252000" cy="252000"/>
          </a:xfrm>
          <a:prstGeom prst="ellipse">
            <a:avLst/>
          </a:prstGeom>
        </p:spPr>
      </p:pic>
      <p:pic>
        <p:nvPicPr>
          <p:cNvPr id="270" name="Picture 9" descr="C:\Users\KMastorakis\Desktop\NORWAY.jpg"/>
          <p:cNvPicPr>
            <a:picLocks noChangeAspect="1" noChangeArrowheads="1"/>
          </p:cNvPicPr>
          <p:nvPr/>
        </p:nvPicPr>
        <p:blipFill>
          <a:blip r:embed="rId59" cstate="print"/>
          <a:srcRect/>
          <a:stretch>
            <a:fillRect/>
          </a:stretch>
        </p:blipFill>
        <p:spPr bwMode="auto">
          <a:xfrm>
            <a:off x="7020233" y="4106510"/>
            <a:ext cx="252000" cy="252000"/>
          </a:xfrm>
          <a:prstGeom prst="ellipse">
            <a:avLst/>
          </a:prstGeom>
          <a:noFill/>
        </p:spPr>
      </p:pic>
      <p:grpSp>
        <p:nvGrpSpPr>
          <p:cNvPr id="3" name="Group 276"/>
          <p:cNvGrpSpPr/>
          <p:nvPr/>
        </p:nvGrpSpPr>
        <p:grpSpPr>
          <a:xfrm>
            <a:off x="2785086" y="4729087"/>
            <a:ext cx="252000" cy="252000"/>
            <a:chOff x="5090048" y="4630604"/>
            <a:chExt cx="252000" cy="252000"/>
          </a:xfrm>
        </p:grpSpPr>
        <p:pic>
          <p:nvPicPr>
            <p:cNvPr id="272" name="Picture 11" descr="https://encrypted-tbn1.gstatic.com/images?q=tbn:ANd9GcTONKpwE8WEyeUCYX7ekfahvZ3m-YAZSoMksyBgT4ieMShN0GKY"/>
            <p:cNvPicPr>
              <a:picLocks noChangeAspect="1" noChangeArrowheads="1"/>
            </p:cNvPicPr>
            <p:nvPr/>
          </p:nvPicPr>
          <p:blipFill>
            <a:blip r:embed="rId63" cstate="print"/>
            <a:srcRect/>
            <a:stretch>
              <a:fillRect/>
            </a:stretch>
          </p:blipFill>
          <p:spPr bwMode="auto">
            <a:xfrm>
              <a:off x="5090048" y="4630604"/>
              <a:ext cx="252000" cy="252000"/>
            </a:xfrm>
            <a:prstGeom prst="ellipse">
              <a:avLst/>
            </a:prstGeom>
            <a:noFill/>
          </p:spPr>
        </p:pic>
        <p:sp>
          <p:nvSpPr>
            <p:cNvPr id="276" name="Oval 275"/>
            <p:cNvSpPr/>
            <p:nvPr/>
          </p:nvSpPr>
          <p:spPr bwMode="auto">
            <a:xfrm>
              <a:off x="5090048" y="4634204"/>
              <a:ext cx="244800" cy="244800"/>
            </a:xfrm>
            <a:prstGeom prst="ellipse">
              <a:avLst/>
            </a:prstGeom>
            <a:noFill/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l-GR" sz="1000">
                <a:solidFill>
                  <a:schemeClr val="accent2"/>
                </a:solidFill>
                <a:latin typeface="+mj-lt"/>
              </a:endParaRPr>
            </a:p>
          </p:txBody>
        </p:sp>
      </p:grpSp>
      <p:pic>
        <p:nvPicPr>
          <p:cNvPr id="279" name="Picture 278" descr="Spain.jpg"/>
          <p:cNvPicPr>
            <a:picLocks noChangeAspect="1"/>
          </p:cNvPicPr>
          <p:nvPr/>
        </p:nvPicPr>
        <p:blipFill>
          <a:blip r:embed="rId51" cstate="print"/>
          <a:stretch>
            <a:fillRect/>
          </a:stretch>
        </p:blipFill>
        <p:spPr>
          <a:xfrm>
            <a:off x="3064766" y="4243682"/>
            <a:ext cx="252000" cy="249305"/>
          </a:xfrm>
          <a:prstGeom prst="ellipse">
            <a:avLst/>
          </a:prstGeom>
        </p:spPr>
      </p:pic>
      <p:pic>
        <p:nvPicPr>
          <p:cNvPr id="281" name="Picture 13" descr="http://www.veryicon.com/icon/png/Flag/Rounded%20World%20Flags/Slovakia%20Flag.png"/>
          <p:cNvPicPr>
            <a:picLocks noChangeAspect="1" noChangeArrowheads="1"/>
          </p:cNvPicPr>
          <p:nvPr/>
        </p:nvPicPr>
        <p:blipFill>
          <a:blip r:embed="rId64" cstate="print"/>
          <a:srcRect/>
          <a:stretch>
            <a:fillRect/>
          </a:stretch>
        </p:blipFill>
        <p:spPr bwMode="auto">
          <a:xfrm>
            <a:off x="2286413" y="4462091"/>
            <a:ext cx="252000" cy="252000"/>
          </a:xfrm>
          <a:prstGeom prst="rect">
            <a:avLst/>
          </a:prstGeom>
          <a:noFill/>
        </p:spPr>
      </p:pic>
      <p:pic>
        <p:nvPicPr>
          <p:cNvPr id="92" name="Picture 91" descr="Germany.jpg"/>
          <p:cNvPicPr>
            <a:picLocks noChangeAspect="1"/>
          </p:cNvPicPr>
          <p:nvPr/>
        </p:nvPicPr>
        <p:blipFill>
          <a:blip r:embed="rId55" cstate="print"/>
          <a:stretch>
            <a:fillRect/>
          </a:stretch>
        </p:blipFill>
        <p:spPr>
          <a:xfrm>
            <a:off x="4562068" y="3943459"/>
            <a:ext cx="252000" cy="252000"/>
          </a:xfrm>
          <a:prstGeom prst="ellipse">
            <a:avLst/>
          </a:prstGeom>
        </p:spPr>
      </p:pic>
      <p:pic>
        <p:nvPicPr>
          <p:cNvPr id="282" name="Picture 7" descr="C:\Users\KMastorakis\Desktop\UK.jpg"/>
          <p:cNvPicPr>
            <a:picLocks noChangeAspect="1" noChangeArrowheads="1"/>
          </p:cNvPicPr>
          <p:nvPr/>
        </p:nvPicPr>
        <p:blipFill>
          <a:blip r:embed="rId57" cstate="print"/>
          <a:srcRect/>
          <a:stretch>
            <a:fillRect/>
          </a:stretch>
        </p:blipFill>
        <p:spPr bwMode="auto">
          <a:xfrm>
            <a:off x="3808734" y="4879148"/>
            <a:ext cx="252000" cy="252000"/>
          </a:xfrm>
          <a:prstGeom prst="rect">
            <a:avLst/>
          </a:prstGeom>
          <a:noFill/>
        </p:spPr>
      </p:pic>
      <p:pic>
        <p:nvPicPr>
          <p:cNvPr id="259" name="Picture 258" descr="Greece.png"/>
          <p:cNvPicPr>
            <a:picLocks noChangeAspect="1"/>
          </p:cNvPicPr>
          <p:nvPr/>
        </p:nvPicPr>
        <p:blipFill>
          <a:blip r:embed="rId65" cstate="print"/>
          <a:stretch>
            <a:fillRect/>
          </a:stretch>
        </p:blipFill>
        <p:spPr>
          <a:xfrm>
            <a:off x="2260542" y="3583768"/>
            <a:ext cx="288000" cy="288000"/>
          </a:xfrm>
          <a:prstGeom prst="rect">
            <a:avLst/>
          </a:prstGeom>
        </p:spPr>
      </p:pic>
      <p:pic>
        <p:nvPicPr>
          <p:cNvPr id="280" name="Picture 279" descr="Sweden.jpg"/>
          <p:cNvPicPr>
            <a:picLocks noChangeAspect="1"/>
          </p:cNvPicPr>
          <p:nvPr/>
        </p:nvPicPr>
        <p:blipFill>
          <a:blip r:embed="rId60" cstate="print"/>
          <a:stretch>
            <a:fillRect/>
          </a:stretch>
        </p:blipFill>
        <p:spPr>
          <a:xfrm>
            <a:off x="4520069" y="4850627"/>
            <a:ext cx="252000" cy="252000"/>
          </a:xfrm>
          <a:prstGeom prst="ellipse">
            <a:avLst/>
          </a:prstGeom>
        </p:spPr>
      </p:pic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604FDB2A-F0F1-48CA-BE64-CF78B17C04E3}"/>
              </a:ext>
            </a:extLst>
          </p:cNvPr>
          <p:cNvCxnSpPr>
            <a:cxnSpLocks/>
          </p:cNvCxnSpPr>
          <p:nvPr/>
        </p:nvCxnSpPr>
        <p:spPr>
          <a:xfrm>
            <a:off x="468748" y="1648910"/>
            <a:ext cx="11254499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ktangel 76">
            <a:extLst>
              <a:ext uri="{FF2B5EF4-FFF2-40B4-BE49-F238E27FC236}">
                <a16:creationId xmlns:a16="http://schemas.microsoft.com/office/drawing/2014/main" id="{F3D8C4E2-7F9E-4BBC-84B1-C516DF9AD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747" y="1659797"/>
            <a:ext cx="9515703" cy="318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72000" rIns="0" bIns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1600" b="1" noProof="1">
                <a:solidFill>
                  <a:schemeClr val="accent1"/>
                </a:solidFill>
                <a:cs typeface="Arial" charset="0"/>
              </a:rPr>
              <a:t>Price per SU (in €/SU) and country GDP – (MAT/03/23)</a:t>
            </a:r>
          </a:p>
        </p:txBody>
      </p:sp>
      <p:sp>
        <p:nvSpPr>
          <p:cNvPr id="134" name="TextBox 133"/>
          <p:cNvSpPr txBox="1">
            <a:spLocks/>
          </p:cNvSpPr>
          <p:nvPr/>
        </p:nvSpPr>
        <p:spPr>
          <a:xfrm>
            <a:off x="9165067" y="4354943"/>
            <a:ext cx="864000" cy="272415"/>
          </a:xfrm>
          <a:prstGeom prst="roundRect">
            <a:avLst/>
          </a:prstGeom>
          <a:solidFill>
            <a:srgbClr val="00B6F6"/>
          </a:solidFill>
          <a:ln w="19050">
            <a:solidFill>
              <a:srgbClr val="0099CC"/>
            </a:solidFill>
            <a:prstDash val="solid"/>
          </a:ln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800" b="1" i="1" dirty="0">
                <a:solidFill>
                  <a:schemeClr val="bg1"/>
                </a:solidFill>
                <a:latin typeface="+mj-lt"/>
              </a:rPr>
              <a:t>Average price per SU 0.14 €</a:t>
            </a:r>
          </a:p>
        </p:txBody>
      </p:sp>
      <p:sp>
        <p:nvSpPr>
          <p:cNvPr id="113" name="Oval 112"/>
          <p:cNvSpPr/>
          <p:nvPr/>
        </p:nvSpPr>
        <p:spPr>
          <a:xfrm>
            <a:off x="11606368" y="58982"/>
            <a:ext cx="216000" cy="216000"/>
          </a:xfrm>
          <a:prstGeom prst="ellipse">
            <a:avLst/>
          </a:prstGeom>
          <a:solidFill>
            <a:srgbClr val="F2F2F2"/>
          </a:solidFill>
          <a:ln w="19050" cap="flat" cmpd="sng" algn="ctr">
            <a:solidFill>
              <a:srgbClr val="E9E9E9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en-US" sz="1600" b="1" kern="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B</a:t>
            </a:r>
          </a:p>
        </p:txBody>
      </p:sp>
      <p:sp>
        <p:nvSpPr>
          <p:cNvPr id="114" name="Oval 113"/>
          <p:cNvSpPr/>
          <p:nvPr/>
        </p:nvSpPr>
        <p:spPr>
          <a:xfrm>
            <a:off x="11332356" y="58982"/>
            <a:ext cx="216000" cy="216000"/>
          </a:xfrm>
          <a:prstGeom prst="ellipse">
            <a:avLst/>
          </a:prstGeom>
          <a:solidFill>
            <a:srgbClr val="F2F2F2"/>
          </a:solidFill>
          <a:ln w="19050" cap="flat" cmpd="sng" algn="ctr">
            <a:solidFill>
              <a:srgbClr val="E9E9E9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en-US" sz="1600" b="1" kern="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A</a:t>
            </a:r>
          </a:p>
        </p:txBody>
      </p:sp>
      <p:sp>
        <p:nvSpPr>
          <p:cNvPr id="115" name="Oval 114"/>
          <p:cNvSpPr/>
          <p:nvPr/>
        </p:nvSpPr>
        <p:spPr>
          <a:xfrm>
            <a:off x="11880381" y="58982"/>
            <a:ext cx="216000" cy="216000"/>
          </a:xfrm>
          <a:prstGeom prst="ellipse">
            <a:avLst/>
          </a:prstGeom>
          <a:solidFill>
            <a:srgbClr val="00B0F0"/>
          </a:solidFill>
          <a:ln w="1905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en-US" sz="1600" b="1" kern="0" dirty="0">
                <a:solidFill>
                  <a:srgbClr val="FFFFFF"/>
                </a:solidFill>
                <a:latin typeface="+mj-lt"/>
              </a:rPr>
              <a:t>C</a:t>
            </a: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E046F503-32AE-440F-952A-9CB529282F16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9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37065D82-B246-4862-A884-61FE7C271EDE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9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9" name="Text Placeholder 66">
            <a:extLst>
              <a:ext uri="{FF2B5EF4-FFF2-40B4-BE49-F238E27FC236}">
                <a16:creationId xmlns:a16="http://schemas.microsoft.com/office/drawing/2014/main" id="{3446AB67-5573-4248-880D-FC69971375C2}"/>
              </a:ext>
            </a:extLst>
          </p:cNvPr>
          <p:cNvSpPr txBox="1">
            <a:spLocks/>
          </p:cNvSpPr>
          <p:nvPr/>
        </p:nvSpPr>
        <p:spPr>
          <a:xfrm>
            <a:off x="477013" y="6397157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ource: IQVIA data (MAT/03/23); IQVIA analysis; GDP rates as per OECD data - US dollars/capita, 2022 or latest available</a:t>
            </a:r>
          </a:p>
        </p:txBody>
      </p:sp>
      <p:sp>
        <p:nvSpPr>
          <p:cNvPr id="4" name="Text Placeholder 67">
            <a:extLst>
              <a:ext uri="{FF2B5EF4-FFF2-40B4-BE49-F238E27FC236}">
                <a16:creationId xmlns:a16="http://schemas.microsoft.com/office/drawing/2014/main" id="{D250A574-5068-80E7-2F90-28346AFE844F}"/>
              </a:ext>
            </a:extLst>
          </p:cNvPr>
          <p:cNvSpPr txBox="1">
            <a:spLocks/>
          </p:cNvSpPr>
          <p:nvPr/>
        </p:nvSpPr>
        <p:spPr>
          <a:xfrm>
            <a:off x="477012" y="6118280"/>
            <a:ext cx="11246241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Note 1: </a:t>
            </a:r>
            <a:r>
              <a:rPr lang="en-US" dirty="0"/>
              <a:t>Based on Pharmacy-Purchase-Prices (PPPs); </a:t>
            </a:r>
            <a:r>
              <a:rPr lang="en-US" b="1" dirty="0"/>
              <a:t>Note 2: </a:t>
            </a:r>
            <a:r>
              <a:rPr lang="en-US" dirty="0"/>
              <a:t>Numbers through the retail-pharmacy channel and for prescription-bound drugs only for all countries;</a:t>
            </a:r>
          </a:p>
        </p:txBody>
      </p:sp>
    </p:spTree>
    <p:extLst>
      <p:ext uri="{BB962C8B-B14F-4D97-AF65-F5344CB8AC3E}">
        <p14:creationId xmlns:p14="http://schemas.microsoft.com/office/powerpoint/2010/main" val="2952271981"/>
      </p:ext>
    </p:extLst>
  </p:cSld>
  <p:clrMapOvr>
    <a:masterClrMapping/>
  </p:clrMapOvr>
  <p:transition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Rectangle 45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2888793"/>
              </p:ext>
            </p:ext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0" imgH="0" progId="TCLayout.ActiveDocument.1">
                  <p:embed/>
                </p:oleObj>
              </mc:Choice>
              <mc:Fallback>
                <p:oleObj name="think-cell Slide" r:id="rId49" imgW="0" imgH="0" progId="TCLayout.ActiveDocument.1">
                  <p:embed/>
                  <p:pic>
                    <p:nvPicPr>
                      <p:cNvPr id="8194" name="Rectangle 4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6" name="Rectangle 46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78661E91-E6DF-64AE-F7F9-2928761315B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4276958"/>
              </p:ext>
            </p:extLst>
          </p:nvPr>
        </p:nvGraphicFramePr>
        <p:xfrm>
          <a:off x="442913" y="2605088"/>
          <a:ext cx="10506075" cy="2533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95" name="Rectangle 94"/>
          <p:cNvSpPr/>
          <p:nvPr>
            <p:custDataLst>
              <p:tags r:id="rId3"/>
            </p:custDataLst>
          </p:nvPr>
        </p:nvSpPr>
        <p:spPr bwMode="auto">
          <a:xfrm>
            <a:off x="4402138" y="5086350"/>
            <a:ext cx="165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4ED34601-BE2B-424D-AF70-B67A9CD7212E}" type="datetime'''''''''E''''''''''''''''''''''''''''''''S'''''''''''''''''''">
              <a:rPr lang="en-US" sz="900">
                <a:latin typeface="Arial"/>
                <a:cs typeface="Arial"/>
                <a:sym typeface="Arial"/>
              </a:rPr>
              <a:pPr algn="ctr"/>
              <a:t>ES</a:t>
            </a:fld>
            <a:endParaRPr lang="el-GR" sz="900" dirty="0">
              <a:latin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6D74B79-3252-4F30-A0DA-E4B419AF92D6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503363" y="2705100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E3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8F31355-23F9-4C15-9004-C0A34DCAF9AF}" type="datetime'''''''''''''''''6.''''''''6''''''''''''''''''''%'''''''">
              <a:rPr lang="en-US" altLang="en-US" sz="900" smtClean="0">
                <a:solidFill>
                  <a:schemeClr val="tx1"/>
                </a:solidFill>
                <a:effectLst/>
              </a:rPr>
              <a:pPr/>
              <a:t>6.6%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A518519-8EC8-F9A1-0A22-6863E2EA97CB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2889250" y="32226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D2E7FE8-3014-4DD8-877A-89B7B79F8C6E}" type="datetime'''''''''''''''''''5''0''''.6''''''%'''''''''''">
              <a:rPr lang="en-US" altLang="en-US" sz="900" smtClean="0">
                <a:solidFill>
                  <a:schemeClr val="tx1"/>
                </a:solidFill>
              </a:rPr>
              <a:pPr/>
              <a:t>50.6%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90" name="Rectangle 89"/>
          <p:cNvSpPr/>
          <p:nvPr>
            <p:custDataLst>
              <p:tags r:id="rId6"/>
            </p:custDataLst>
          </p:nvPr>
        </p:nvSpPr>
        <p:spPr bwMode="auto">
          <a:xfrm>
            <a:off x="10963275" y="4911725"/>
            <a:ext cx="482600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>
                <a:latin typeface="Arial"/>
                <a:cs typeface="Arial"/>
                <a:sym typeface="Arial"/>
              </a:rPr>
              <a:t>Analogue</a:t>
            </a:r>
          </a:p>
          <a:p>
            <a:r>
              <a:rPr lang="en-US" sz="900" dirty="0">
                <a:latin typeface="Arial"/>
                <a:cs typeface="Arial"/>
                <a:sym typeface="Arial"/>
              </a:rPr>
              <a:t>countries</a:t>
            </a:r>
            <a:endParaRPr lang="el-GR" sz="900" dirty="0">
              <a:latin typeface="Arial"/>
              <a:cs typeface="Arial"/>
              <a:sym typeface="Arial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F349FCC-1E83-EBA3-502F-8DEE175BCCA7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9979025" y="29257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DEC30F5-8991-42A6-AC2F-F72982CE2808}" type="datetime'''''''''''1''''''''4''''''''''''''''.''''8''''''%'">
              <a:rPr lang="en-US" altLang="en-US" sz="900" smtClean="0">
                <a:solidFill>
                  <a:schemeClr val="bg1"/>
                </a:solidFill>
              </a:rPr>
              <a:pPr/>
              <a:t>14.8%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CEA884-6F66-2955-34C7-F7CE27A5338F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471613" y="33147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2D2D1EB-31A5-47F3-BD09-B4DD063B4D92}" type="datetime'2''5.''''''''''''1''''''''''''''''''''''''''''''''%'''">
              <a:rPr lang="en-US" altLang="en-US" sz="900" smtClean="0">
                <a:solidFill>
                  <a:schemeClr val="bg1"/>
                </a:solidFill>
                <a:effectLst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5.1%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4" name="Rectangle 183"/>
          <p:cNvSpPr/>
          <p:nvPr>
            <p:custDataLst>
              <p:tags r:id="rId9"/>
            </p:custDataLst>
          </p:nvPr>
        </p:nvSpPr>
        <p:spPr bwMode="auto">
          <a:xfrm>
            <a:off x="760413" y="2125663"/>
            <a:ext cx="361950" cy="4095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900" dirty="0">
                <a:latin typeface="Arial"/>
                <a:cs typeface="Arial"/>
                <a:sym typeface="Arial"/>
              </a:rPr>
              <a:t>% </a:t>
            </a:r>
            <a:r>
              <a:rPr lang="en-US" sz="900" dirty="0">
                <a:latin typeface="Arial"/>
                <a:cs typeface="Arial"/>
                <a:sym typeface="Arial"/>
              </a:rPr>
              <a:t>PPP</a:t>
            </a:r>
            <a:endParaRPr lang="en-US" sz="900" baseline="30000" dirty="0">
              <a:latin typeface="Arial"/>
              <a:cs typeface="Arial"/>
              <a:sym typeface="Arial"/>
            </a:endParaRPr>
          </a:p>
          <a:p>
            <a:pPr algn="ctr"/>
            <a:r>
              <a:rPr lang="en-US" sz="900" dirty="0">
                <a:latin typeface="Arial"/>
                <a:cs typeface="Arial"/>
                <a:sym typeface="Arial"/>
              </a:rPr>
              <a:t>Value</a:t>
            </a:r>
            <a:br>
              <a:rPr lang="el-GR" sz="900" dirty="0">
                <a:latin typeface="Arial"/>
                <a:cs typeface="Arial"/>
                <a:sym typeface="Arial"/>
              </a:rPr>
            </a:br>
            <a:r>
              <a:rPr lang="en-US" sz="900" dirty="0">
                <a:latin typeface="Arial"/>
                <a:cs typeface="Arial"/>
                <a:sym typeface="Arial"/>
              </a:rPr>
              <a:t>Sales</a:t>
            </a:r>
            <a:endParaRPr lang="el-GR" sz="900" dirty="0">
              <a:latin typeface="Arial"/>
              <a:cs typeface="Arial"/>
              <a:sym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51D06EF-E48E-3DCF-A207-9F9EF517DE86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1471613" y="29003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5A090D6-05A8-42D8-8793-948B829DE675}" type="datetime'''''''''''''''''1''0.''''''''1%'''">
              <a:rPr lang="en-US" altLang="en-US" sz="900" smtClean="0">
                <a:solidFill>
                  <a:schemeClr val="bg1"/>
                </a:solidFill>
              </a:rPr>
              <a:pPr/>
              <a:t>10.1%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BECB1F-F870-31DB-B9B5-C1A8531E3EF4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1471613" y="42941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5EB0C8-A315-461C-9D76-ADD8CFBCB4C5}" type="datetime'''''''''''5''''''''8''''''''''''''''.''''''''''2''''''%'''''">
              <a:rPr lang="en-US" altLang="en-US" sz="900" smtClean="0">
                <a:solidFill>
                  <a:schemeClr val="bg1"/>
                </a:solidFill>
                <a:effectLst/>
                <a:cs typeface="Arial" panose="020B0604020202020204" pitchFamily="34" charset="0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8.2%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Rectangle 68"/>
          <p:cNvSpPr/>
          <p:nvPr>
            <p:custDataLst>
              <p:tags r:id="rId12"/>
            </p:custDataLst>
          </p:nvPr>
        </p:nvSpPr>
        <p:spPr bwMode="auto">
          <a:xfrm>
            <a:off x="1536700" y="5086350"/>
            <a:ext cx="227013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EC73EA60-53BF-48E0-9915-7B649F341039}" type="datetime'''''''''''''''''''''''''''''G''''''''R'''''''">
              <a:rPr lang="en-US" sz="900">
                <a:latin typeface="Arial"/>
                <a:cs typeface="Arial"/>
                <a:sym typeface="Arial"/>
              </a:rPr>
              <a:pPr algn="ctr"/>
              <a:t>GR</a:t>
            </a:fld>
            <a:r>
              <a:rPr lang="en-US" sz="900" baseline="30000" dirty="0">
                <a:latin typeface="Arial"/>
                <a:cs typeface="Arial"/>
                <a:sym typeface="Arial"/>
              </a:rPr>
              <a:t>2</a:t>
            </a:r>
            <a:endParaRPr lang="el-GR" sz="900" dirty="0">
              <a:latin typeface="Arial"/>
              <a:cs typeface="Arial"/>
              <a:sym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7595F5B-D1DE-90E4-D1D2-5305FAA3C185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8561388" y="42624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AA2B34A-3CD5-4C11-892B-B9C0833E4AFC}" type="datetime'''''''''''''''''''''''''''''''1''''3''.''8''''''''''%'''''''''">
              <a:rPr lang="en-US" altLang="en-US" sz="900" smtClean="0">
                <a:solidFill>
                  <a:schemeClr val="bg1"/>
                </a:solidFill>
              </a:rPr>
              <a:pPr/>
              <a:t>13.8%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6EDEC80-8768-F02E-EDED-0143F4ED5B24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2889250" y="39576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57032F5-F7A8-482C-9435-324F090DBF31}" type="datetime'''''1''''1''.9''''''''''''''''''''''''''''''''''''''''''%'''">
              <a:rPr lang="en-US" altLang="en-US" sz="900" smtClean="0">
                <a:solidFill>
                  <a:schemeClr val="bg1"/>
                </a:solidFill>
              </a:rPr>
              <a:pPr/>
              <a:t>11.9%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77942E2-DF2D-311C-EFB3-6A5B7949C5F7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2889250" y="42767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70011F0-8F5F-4746-B818-DF7579084855}" type="datetime'''''''''''''''1''''''''''''''5.''''''3''''''''%'''''''''">
              <a:rPr lang="en-US" altLang="en-US" sz="900" smtClean="0">
                <a:solidFill>
                  <a:schemeClr val="bg1"/>
                </a:solidFill>
              </a:rPr>
              <a:pPr/>
              <a:t>15.3%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60C25F8-D532-E15F-7337-1B2F774A578F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10010775" y="2689225"/>
            <a:ext cx="292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E3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9B3DD8F-E24B-4CD2-BBA3-FD17EBB8F214}" type="datetime'5''.''''''''''''''''3''''%'''''">
              <a:rPr lang="en-US" altLang="en-US" sz="900" smtClean="0">
                <a:solidFill>
                  <a:schemeClr val="tx1"/>
                </a:solidFill>
                <a:effectLst/>
              </a:rPr>
              <a:pPr/>
              <a:t>5.3%</a:t>
            </a:fld>
            <a:endParaRPr lang="en-US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DA2A308-75B4-391B-D7EE-D426F866F08E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2889250" y="47180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896FC0A-BA5D-49F9-94E1-B7E3A4BA4E12}" type="datetime'''''''''''2''2''''.2%'''''''''''''">
              <a:rPr lang="en-US" altLang="en-US" sz="900" smtClean="0">
                <a:solidFill>
                  <a:schemeClr val="bg1"/>
                </a:solidFill>
              </a:rPr>
              <a:pPr/>
              <a:t>22.2%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73" name="Rectangle 72"/>
          <p:cNvSpPr/>
          <p:nvPr>
            <p:custDataLst>
              <p:tags r:id="rId18"/>
            </p:custDataLst>
          </p:nvPr>
        </p:nvSpPr>
        <p:spPr bwMode="auto">
          <a:xfrm>
            <a:off x="2984500" y="5086350"/>
            <a:ext cx="165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898E667E-8D33-4A92-B900-E1C6A049C4E7}" type="datetime'''''''''''''''''''''''''''''''''B''''''E'''''''''''''">
              <a:rPr lang="en-US" sz="900">
                <a:latin typeface="Arial"/>
                <a:cs typeface="Arial"/>
                <a:sym typeface="Arial"/>
              </a:rPr>
              <a:pPr algn="ctr"/>
              <a:t>BE</a:t>
            </a:fld>
            <a:endParaRPr lang="el-GR" sz="900">
              <a:latin typeface="Arial"/>
              <a:cs typeface="Arial"/>
              <a:sym typeface="Arial"/>
            </a:endParaRPr>
          </a:p>
        </p:txBody>
      </p:sp>
      <p:sp>
        <p:nvSpPr>
          <p:cNvPr id="218" name="Text Placeholder 57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358063" y="2657475"/>
            <a:ext cx="292100" cy="136525"/>
          </a:xfrm>
          <a:prstGeom prst="rect">
            <a:avLst/>
          </a:prstGeom>
          <a:solidFill>
            <a:srgbClr val="CAE3FF"/>
          </a:solidFill>
          <a:effectLst/>
        </p:spPr>
        <p:txBody>
          <a:bodyPr vert="horz" wrap="none" lIns="15875" tIns="0" rIns="15875" bIns="0" numCol="1" spc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2C17D37-137B-4794-BD97-D0EC85C10611}" type="datetime'''''''''''2''''.''''''''''6''''''''''''''''''''''''''''''%'">
              <a:rPr lang="en-US" altLang="en-US" sz="900" smtClean="0">
                <a:solidFill>
                  <a:schemeClr val="tx1"/>
                </a:solidFill>
                <a:effectLst/>
                <a:latin typeface="+mn-lt"/>
                <a:cs typeface="+mn-cs"/>
              </a:rPr>
              <a:pPr/>
              <a:t>2.6%</a:t>
            </a:fld>
            <a:endParaRPr lang="el-GR" sz="900">
              <a:solidFill>
                <a:schemeClr val="tx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7BB4343-B3A5-0ABC-B2AE-632E4758DEBF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4306888" y="27559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3831C7B-7D0F-4B4C-9471-102CC0F8E085}" type="datetime'''''''''''1''''''''''0''''.''9%'''''">
              <a:rPr lang="en-US" altLang="en-US" sz="900" smtClean="0">
                <a:solidFill>
                  <a:schemeClr val="tx1"/>
                </a:solidFill>
              </a:rPr>
              <a:pPr/>
              <a:t>10.9%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0F257C8-DEB2-6C1C-5BA3-CEBA2F6481C9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4306888" y="30829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FC23A24-19FA-4640-B22B-B269143558F7}" type="datetime'''''''''1''''''''7''''''''''''''''.''''''''''''0''%'">
              <a:rPr lang="en-US" altLang="en-US" sz="900" smtClean="0">
                <a:solidFill>
                  <a:schemeClr val="bg1"/>
                </a:solidFill>
                <a:effectLst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7.0%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B31830-6D69-5645-44DF-5BFB16691709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4306888" y="36083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42E455A-1C67-4239-AE8E-A3007C2AEA01}" type="datetime'''''''2''7''.''''''6''''''''''''''''%'''''''''''''''''''''">
              <a:rPr lang="en-US" altLang="en-US" sz="900" smtClean="0">
                <a:solidFill>
                  <a:schemeClr val="bg1"/>
                </a:solidFill>
              </a:rPr>
              <a:pPr/>
              <a:t>27.6%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645CC93-80F6-E306-5B3D-8DDC9E273B71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7143750" y="40354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4BCA36B-BC23-4F46-B546-69194C8BBF7D}" type="datetime'''8''0''''''''''''''''.''''''''''''''3%'''">
              <a:rPr lang="en-US" altLang="en-US" sz="900" smtClean="0">
                <a:solidFill>
                  <a:schemeClr val="bg1"/>
                </a:solidFill>
              </a:rPr>
              <a:pPr/>
              <a:t>80.3%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3A00F4A-750C-11D2-D1AA-2C11E6CF37E2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4306888" y="44561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7EA2F96-3688-4765-A778-B8689CCAA7DD}" type="datetime'''''4''''''''''4''''''''''.5%'''''">
              <a:rPr lang="en-US" altLang="en-US" sz="900" smtClean="0">
                <a:solidFill>
                  <a:schemeClr val="bg1"/>
                </a:solidFill>
              </a:rPr>
              <a:pPr/>
              <a:t>44.5%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49A153F-2FCA-5DED-1B78-D464CDC08375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5724525" y="32464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CB254A5-3898-40D8-B981-4AC36E2F29D1}" type="datetime'''''''''''''''''5''''''''''''''''''''''''''''''2''''.7''%'">
              <a:rPr lang="en-US" altLang="en-US" sz="900" smtClean="0">
                <a:solidFill>
                  <a:schemeClr val="tx1"/>
                </a:solidFill>
              </a:rPr>
              <a:pPr/>
              <a:t>52.7%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9AFB4E8-E1CF-FE14-473D-360FA42226FD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5724525" y="39893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5BD3467-705C-4D06-B355-5AC6B7F70888}" type="datetime'''''''1''''''''0.''4''''''''''''''''''''''%'''''''''''''">
              <a:rPr lang="en-US" altLang="en-US" sz="900" smtClean="0">
                <a:solidFill>
                  <a:schemeClr val="bg1"/>
                </a:solidFill>
              </a:rPr>
              <a:pPr/>
              <a:t>10.4%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11AA94C-46EC-8CAE-E7B8-676717FD6634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5724525" y="426720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6DE6691-21BB-47F2-8E5E-7287E0985D01}" type="datetime'''''''''''''1''''3''.''''''''''''''3''''''''''''''%'''''''''''">
              <a:rPr lang="en-US" altLang="en-US" sz="900" smtClean="0">
                <a:solidFill>
                  <a:schemeClr val="bg1"/>
                </a:solidFill>
              </a:rPr>
              <a:pPr/>
              <a:t>13.3%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932903D-9356-4E9E-2AA3-AB32B9508066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5724525" y="47021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49A5323-8C27-4004-BDCF-C4A0C77DB72D}" type="datetime'''''''''''2''3''''''''''''.''''''''''''''6%'''''''''''''''">
              <a:rPr lang="en-US" altLang="en-US" sz="900" smtClean="0">
                <a:solidFill>
                  <a:schemeClr val="bg1"/>
                </a:solidFill>
              </a:rPr>
              <a:pPr/>
              <a:t>23.6%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96" name="Rectangle 95"/>
          <p:cNvSpPr/>
          <p:nvPr>
            <p:custDataLst>
              <p:tags r:id="rId29"/>
            </p:custDataLst>
          </p:nvPr>
        </p:nvSpPr>
        <p:spPr bwMode="auto">
          <a:xfrm>
            <a:off x="5819775" y="5086350"/>
            <a:ext cx="165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D30DFD46-6B77-4922-8E5D-1047CB9D523B}" type="datetime'''''F''''''''R'''''''''''''''''''''''''">
              <a:rPr lang="en-US" sz="900">
                <a:latin typeface="Arial"/>
                <a:cs typeface="Arial"/>
                <a:sym typeface="Arial"/>
              </a:rPr>
              <a:pPr algn="ctr"/>
              <a:t>FR</a:t>
            </a:fld>
            <a:endParaRPr lang="el-GR" sz="900">
              <a:latin typeface="Arial"/>
              <a:cs typeface="Arial"/>
              <a:sym typeface="Arial"/>
            </a:endParaRPr>
          </a:p>
        </p:txBody>
      </p:sp>
      <p:sp>
        <p:nvSpPr>
          <p:cNvPr id="217" name="Text Placeholder 56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994525" y="2719388"/>
            <a:ext cx="292100" cy="136525"/>
          </a:xfrm>
          <a:prstGeom prst="rect">
            <a:avLst/>
          </a:prstGeom>
          <a:solidFill>
            <a:srgbClr val="25B4FF"/>
          </a:solidFill>
          <a:effectLst/>
        </p:spPr>
        <p:txBody>
          <a:bodyPr vert="horz" wrap="none" lIns="15875" tIns="0" rIns="15875" bIns="0" numCol="1" spc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8C1A607-B639-4F57-9600-47B3B0C9E4BA}" type="datetime'2''''''''''.''''''''''''6''''''''''%'''''''''''''''''">
              <a:rPr lang="en-US" altLang="en-US" sz="9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2.6%</a:t>
            </a:fld>
            <a:endParaRPr lang="el-GR" sz="900">
              <a:solidFill>
                <a:schemeClr val="bg1"/>
              </a:solidFill>
              <a:latin typeface="+mn-lt"/>
              <a:cs typeface="+mn-cs"/>
              <a:sym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31FF87-CAF9-B46F-58B0-E5E56797297F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7143750" y="291941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5AD7C15-7B65-41F6-8F67-046A005EE73F}" type="datetime'''''''''''''''''''1''''''''''4''''.''''5''''''''%'''''''''''">
              <a:rPr lang="en-US" altLang="en-US" sz="900" smtClean="0">
                <a:solidFill>
                  <a:schemeClr val="bg1"/>
                </a:solidFill>
              </a:rPr>
              <a:pPr/>
              <a:t>14.5%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060237A-96C6-6919-7783-DC603AC8FCE8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9979025" y="34385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88D96FE-7A38-4B4E-8B19-1A59A3386849}" type="datetime'2''8''''''''''''''''''''''''''''.8''''''''''''''%'''">
              <a:rPr lang="en-US" altLang="en-US" sz="900" smtClean="0">
                <a:solidFill>
                  <a:schemeClr val="bg1"/>
                </a:solidFill>
              </a:rPr>
              <a:pPr/>
              <a:t>28.8%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98" name="Rectangle 97"/>
          <p:cNvSpPr/>
          <p:nvPr>
            <p:custDataLst>
              <p:tags r:id="rId33"/>
            </p:custDataLst>
          </p:nvPr>
        </p:nvSpPr>
        <p:spPr bwMode="auto">
          <a:xfrm>
            <a:off x="7264400" y="5086350"/>
            <a:ext cx="1143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5279734E-93FD-4F40-AF98-13CC9E81087F}" type="datetime'''''''''''''''''''''''''''''''I''''''''''''''''T'''''''">
              <a:rPr lang="en-US" sz="900">
                <a:latin typeface="Arial"/>
                <a:cs typeface="Arial"/>
                <a:sym typeface="Arial"/>
              </a:rPr>
              <a:pPr algn="ctr"/>
              <a:t>IT</a:t>
            </a:fld>
            <a:endParaRPr lang="el-GR" sz="900">
              <a:latin typeface="Arial"/>
              <a:cs typeface="Arial"/>
              <a:sym typeface="Arial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C8C62BF-ABD3-ECDE-52E7-7BD431C175F8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8561388" y="32464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221E207-DDFB-4ADA-85CA-DC969346A764}" type="datetime'''''''''''''''''''5''2''.6''''''''''''%'''''''''''">
              <a:rPr lang="en-US" altLang="en-US" sz="900" smtClean="0">
                <a:solidFill>
                  <a:schemeClr val="tx1"/>
                </a:solidFill>
              </a:rPr>
              <a:pPr/>
              <a:t>52.6%</a:t>
            </a:fld>
            <a:endParaRPr lang="en-US" sz="9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78F6E0A-2149-2313-51B1-5CD9344EE28A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8561388" y="39830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5B4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CCD1694-2758-4C62-89D6-E0097B86AC81}" type="datetime'''''''''''''1''''''0''.''''''''''0''''''''''''''%'">
              <a:rPr lang="en-US" altLang="en-US" sz="900" smtClean="0">
                <a:solidFill>
                  <a:schemeClr val="bg1"/>
                </a:solidFill>
                <a:effectLst/>
              </a:rPr>
              <a:pPr/>
              <a:t>10.0%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E88E34E-AEB9-DA6C-1CA7-D5FE4CBC3E36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8561388" y="470217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038211F-94CA-441C-A287-C63B1331FB9A}" type="datetime'''''2''''''''''3''''''''''.''''''''6''''''''''''''%'''''''">
              <a:rPr lang="en-US" altLang="en-US" sz="900" smtClean="0">
                <a:solidFill>
                  <a:schemeClr val="bg1"/>
                </a:solidFill>
              </a:rPr>
              <a:pPr/>
              <a:t>23.6%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76" name="Rectangle 75"/>
          <p:cNvSpPr/>
          <p:nvPr>
            <p:custDataLst>
              <p:tags r:id="rId37"/>
            </p:custDataLst>
          </p:nvPr>
        </p:nvSpPr>
        <p:spPr bwMode="auto">
          <a:xfrm>
            <a:off x="8678863" y="5086350"/>
            <a:ext cx="1206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7928A523-AF47-47CA-8420-3DC9BC5E5666}" type="datetime'''''''''I''E'''''">
              <a:rPr lang="en-US" sz="900">
                <a:latin typeface="Arial"/>
                <a:cs typeface="Arial"/>
                <a:sym typeface="Arial"/>
              </a:rPr>
              <a:pPr algn="ctr"/>
              <a:t>IE</a:t>
            </a:fld>
            <a:endParaRPr lang="el-GR" sz="900">
              <a:latin typeface="Arial"/>
              <a:cs typeface="Arial"/>
              <a:sym typeface="Arial"/>
            </a:endParaRPr>
          </a:p>
        </p:txBody>
      </p:sp>
      <p:sp>
        <p:nvSpPr>
          <p:cNvPr id="74" name="Rectangle 73"/>
          <p:cNvSpPr/>
          <p:nvPr>
            <p:custDataLst>
              <p:tags r:id="rId38"/>
            </p:custDataLst>
          </p:nvPr>
        </p:nvSpPr>
        <p:spPr bwMode="auto">
          <a:xfrm>
            <a:off x="10077450" y="5086350"/>
            <a:ext cx="1587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958DFAD4-C723-45BB-9C19-7E581E33AC75}" type="datetime'''''''''''''''''''''''''''''''''''''''''''''''''''''P''T'''''">
              <a:rPr lang="en-US" sz="900">
                <a:latin typeface="Arial"/>
                <a:cs typeface="Arial"/>
                <a:sym typeface="Arial"/>
              </a:rPr>
              <a:pPr algn="ctr"/>
              <a:t>PT</a:t>
            </a:fld>
            <a:endParaRPr lang="el-GR" sz="900">
              <a:latin typeface="Arial"/>
              <a:cs typeface="Arial"/>
              <a:sym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CD9AEE6-AF16-9F23-FC04-F9D416663275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9979025" y="4378325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0850F1E-8C36-4114-BB08-EE46D3CB9C58}" type="datetime'5''1''''''''''''''''''''''''''''''''''''''.''''''''1''''''''%'">
              <a:rPr lang="en-US" altLang="en-US" sz="900" smtClean="0">
                <a:solidFill>
                  <a:schemeClr val="bg1"/>
                </a:solidFill>
              </a:rPr>
              <a:pPr/>
              <a:t>51.1%</a:t>
            </a:fld>
            <a:endParaRPr lang="en-US" sz="9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75" name="Rectangle 174"/>
          <p:cNvSpPr/>
          <p:nvPr>
            <p:custDataLst>
              <p:tags r:id="rId40"/>
            </p:custDataLst>
          </p:nvPr>
        </p:nvSpPr>
        <p:spPr bwMode="auto">
          <a:xfrm>
            <a:off x="10653713" y="3163888"/>
            <a:ext cx="160338" cy="120650"/>
          </a:xfrm>
          <a:prstGeom prst="rect">
            <a:avLst/>
          </a:prstGeom>
          <a:solidFill>
            <a:srgbClr val="005187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l-GR" sz="1000">
              <a:latin typeface="Verdana" pitchFamily="34" charset="0"/>
            </a:endParaRPr>
          </a:p>
        </p:txBody>
      </p:sp>
      <p:sp>
        <p:nvSpPr>
          <p:cNvPr id="204" name="Rectangle 203"/>
          <p:cNvSpPr/>
          <p:nvPr>
            <p:custDataLst>
              <p:tags r:id="rId41"/>
            </p:custDataLst>
          </p:nvPr>
        </p:nvSpPr>
        <p:spPr bwMode="auto">
          <a:xfrm>
            <a:off x="10653713" y="2601913"/>
            <a:ext cx="160338" cy="120650"/>
          </a:xfrm>
          <a:prstGeom prst="rect">
            <a:avLst/>
          </a:prstGeom>
          <a:solidFill>
            <a:srgbClr val="CAE3FF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400" dirty="0">
              <a:latin typeface="Arial"/>
            </a:endParaRPr>
          </a:p>
        </p:txBody>
      </p:sp>
      <p:sp>
        <p:nvSpPr>
          <p:cNvPr id="206" name="Rectangle 205"/>
          <p:cNvSpPr/>
          <p:nvPr>
            <p:custDataLst>
              <p:tags r:id="rId42"/>
            </p:custDataLst>
          </p:nvPr>
        </p:nvSpPr>
        <p:spPr bwMode="auto">
          <a:xfrm>
            <a:off x="10653713" y="2976563"/>
            <a:ext cx="160338" cy="1206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400" dirty="0">
              <a:latin typeface="Arial"/>
            </a:endParaRPr>
          </a:p>
        </p:txBody>
      </p:sp>
      <p:sp>
        <p:nvSpPr>
          <p:cNvPr id="205" name="Rectangle 204"/>
          <p:cNvSpPr/>
          <p:nvPr>
            <p:custDataLst>
              <p:tags r:id="rId43"/>
            </p:custDataLst>
          </p:nvPr>
        </p:nvSpPr>
        <p:spPr bwMode="auto">
          <a:xfrm>
            <a:off x="10653713" y="2789238"/>
            <a:ext cx="160338" cy="120650"/>
          </a:xfrm>
          <a:prstGeom prst="rect">
            <a:avLst/>
          </a:prstGeom>
          <a:solidFill>
            <a:srgbClr val="25B4FF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400" dirty="0">
              <a:latin typeface="Arial"/>
            </a:endParaRPr>
          </a:p>
        </p:txBody>
      </p:sp>
      <p:sp>
        <p:nvSpPr>
          <p:cNvPr id="198" name="Text Placeholder 40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0864850" y="2598738"/>
            <a:ext cx="320675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AF061460-C5FC-411D-8551-5427833BC399}" type="datetime'''''&gt;''''''''''1''''''''''''''''''''''''''''''''0''''0'">
              <a:rPr lang="en-US" sz="900">
                <a:solidFill>
                  <a:schemeClr val="tx1"/>
                </a:solidFill>
                <a:sym typeface="Arial"/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&gt;100</a:t>
            </a:fld>
            <a:r>
              <a:rPr lang="en-US" sz="900" dirty="0">
                <a:solidFill>
                  <a:schemeClr val="tx1"/>
                </a:solidFill>
                <a:sym typeface="Arial"/>
              </a:rPr>
              <a:t>€</a:t>
            </a:r>
            <a:endParaRPr lang="el-GR" sz="9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99" name="Text Placeholder 41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0864850" y="2786063"/>
            <a:ext cx="577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6B0700F3-A722-4A24-891E-CE6248D8DC63}" type="datetime'''''5''''''0.''''0''''''''''1''''-10''0'''''''">
              <a:rPr lang="en-US" sz="900">
                <a:solidFill>
                  <a:schemeClr val="tx1"/>
                </a:solidFill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50.01-100</a:t>
            </a:fld>
            <a:r>
              <a:rPr lang="en-US" sz="900">
                <a:solidFill>
                  <a:schemeClr val="tx1"/>
                </a:solidFill>
                <a:sym typeface="Arial"/>
              </a:rPr>
              <a:t>€</a:t>
            </a:r>
            <a:endParaRPr lang="el-GR" sz="9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75" name="Rectangle 74"/>
          <p:cNvSpPr/>
          <p:nvPr>
            <p:custDataLst>
              <p:tags r:id="rId46"/>
            </p:custDataLst>
          </p:nvPr>
        </p:nvSpPr>
        <p:spPr bwMode="auto">
          <a:xfrm>
            <a:off x="10864850" y="3160713"/>
            <a:ext cx="292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ECB89EE1-8A48-416B-803C-32949EE59282}" type="datetime'0''''''''''''''''''-''''''''''''''''2''0'''''''''''''''''">
              <a:rPr lang="en-US" sz="900">
                <a:latin typeface="Arial"/>
                <a:cs typeface="Arial"/>
                <a:sym typeface="Arial"/>
              </a:rPr>
              <a:pPr/>
              <a:t>0-20</a:t>
            </a:fld>
            <a:r>
              <a:rPr lang="en-US" sz="900">
                <a:latin typeface="Arial"/>
                <a:cs typeface="Arial"/>
                <a:sym typeface="Arial"/>
              </a:rPr>
              <a:t>€</a:t>
            </a:r>
            <a:endParaRPr lang="el-GR" sz="900" dirty="0">
              <a:latin typeface="Arial"/>
              <a:cs typeface="Arial"/>
              <a:sym typeface="Arial"/>
            </a:endParaRPr>
          </a:p>
        </p:txBody>
      </p:sp>
      <p:sp>
        <p:nvSpPr>
          <p:cNvPr id="200" name="Text Placeholder 42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0864850" y="2973388"/>
            <a:ext cx="5143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F645CF69-50B0-4023-AE86-193658F89260}" type="datetime'2''''0''''.0''''1''''''''''''-''''50'''''''">
              <a:rPr lang="en-US" sz="900">
                <a:solidFill>
                  <a:schemeClr val="tx1"/>
                </a:solidFill>
              </a:rPr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20.01-50</a:t>
            </a:fld>
            <a:r>
              <a:rPr lang="en-US" sz="900">
                <a:solidFill>
                  <a:schemeClr val="tx1"/>
                </a:solidFill>
                <a:sym typeface="Arial"/>
              </a:rPr>
              <a:t>€</a:t>
            </a:r>
            <a:endParaRPr lang="el-GR" sz="900" dirty="0">
              <a:solidFill>
                <a:schemeClr val="tx1"/>
              </a:solidFill>
              <a:sym typeface="Arial"/>
            </a:endParaRPr>
          </a:p>
        </p:txBody>
      </p:sp>
      <p:pic>
        <p:nvPicPr>
          <p:cNvPr id="185" name="Picture 184" descr="Belgium.jpg"/>
          <p:cNvPicPr>
            <a:picLocks noChangeAspect="1"/>
          </p:cNvPicPr>
          <p:nvPr/>
        </p:nvPicPr>
        <p:blipFill>
          <a:blip r:embed="rId51" cstate="print"/>
          <a:stretch>
            <a:fillRect/>
          </a:stretch>
        </p:blipFill>
        <p:spPr>
          <a:xfrm>
            <a:off x="2898293" y="5364162"/>
            <a:ext cx="324000" cy="324000"/>
          </a:xfrm>
          <a:prstGeom prst="rect">
            <a:avLst/>
          </a:prstGeom>
        </p:spPr>
      </p:pic>
      <p:pic>
        <p:nvPicPr>
          <p:cNvPr id="187" name="Picture 186" descr="Italy.jpg"/>
          <p:cNvPicPr>
            <a:picLocks noChangeAspect="1"/>
          </p:cNvPicPr>
          <p:nvPr/>
        </p:nvPicPr>
        <p:blipFill>
          <a:blip r:embed="rId52" cstate="print"/>
          <a:stretch>
            <a:fillRect/>
          </a:stretch>
        </p:blipFill>
        <p:spPr>
          <a:xfrm>
            <a:off x="7155980" y="5364162"/>
            <a:ext cx="324000" cy="324000"/>
          </a:xfrm>
          <a:prstGeom prst="rect">
            <a:avLst/>
          </a:prstGeom>
        </p:spPr>
      </p:pic>
      <p:pic>
        <p:nvPicPr>
          <p:cNvPr id="188" name="Picture 187" descr="Portugal.jpg"/>
          <p:cNvPicPr>
            <a:picLocks noChangeAspect="1"/>
          </p:cNvPicPr>
          <p:nvPr/>
        </p:nvPicPr>
        <p:blipFill>
          <a:blip r:embed="rId53" cstate="print"/>
          <a:stretch>
            <a:fillRect/>
          </a:stretch>
        </p:blipFill>
        <p:spPr>
          <a:xfrm>
            <a:off x="9992104" y="5364162"/>
            <a:ext cx="324000" cy="324000"/>
          </a:xfrm>
          <a:prstGeom prst="rect">
            <a:avLst/>
          </a:prstGeom>
        </p:spPr>
      </p:pic>
      <p:pic>
        <p:nvPicPr>
          <p:cNvPr id="191" name="Picture 4" descr="C:\Users\KMastorakis\Desktop\IRELAND.jpg"/>
          <p:cNvPicPr>
            <a:picLocks noChangeAspect="1" noChangeArrowheads="1"/>
          </p:cNvPicPr>
          <p:nvPr/>
        </p:nvPicPr>
        <p:blipFill>
          <a:blip r:embed="rId54" cstate="print"/>
          <a:srcRect/>
          <a:stretch>
            <a:fillRect/>
          </a:stretch>
        </p:blipFill>
        <p:spPr bwMode="auto">
          <a:xfrm>
            <a:off x="8574042" y="5364162"/>
            <a:ext cx="324000" cy="324000"/>
          </a:xfrm>
          <a:prstGeom prst="rect">
            <a:avLst/>
          </a:prstGeom>
        </p:spPr>
      </p:pic>
      <p:pic>
        <p:nvPicPr>
          <p:cNvPr id="93" name="Picture 92" descr="Spain.jpg"/>
          <p:cNvPicPr>
            <a:picLocks noChangeAspect="1"/>
          </p:cNvPicPr>
          <p:nvPr/>
        </p:nvPicPr>
        <p:blipFill>
          <a:blip r:embed="rId55" cstate="print"/>
          <a:stretch>
            <a:fillRect/>
          </a:stretch>
        </p:blipFill>
        <p:spPr>
          <a:xfrm>
            <a:off x="4316355" y="5364162"/>
            <a:ext cx="327501" cy="324000"/>
          </a:xfrm>
          <a:prstGeom prst="rect">
            <a:avLst/>
          </a:prstGeom>
        </p:spPr>
      </p:pic>
      <p:pic>
        <p:nvPicPr>
          <p:cNvPr id="105" name="Picture 104" descr="France.jpg"/>
          <p:cNvPicPr>
            <a:picLocks noChangeAspect="1"/>
          </p:cNvPicPr>
          <p:nvPr/>
        </p:nvPicPr>
        <p:blipFill>
          <a:blip r:embed="rId56" cstate="print"/>
          <a:stretch>
            <a:fillRect/>
          </a:stretch>
        </p:blipFill>
        <p:spPr>
          <a:xfrm>
            <a:off x="5737918" y="5364162"/>
            <a:ext cx="324000" cy="324000"/>
          </a:xfrm>
          <a:prstGeom prst="rect">
            <a:avLst/>
          </a:prstGeom>
        </p:spPr>
      </p:pic>
      <p:pic>
        <p:nvPicPr>
          <p:cNvPr id="100" name="Picture 99" descr="Greece.png"/>
          <p:cNvPicPr>
            <a:picLocks noChangeAspect="1"/>
          </p:cNvPicPr>
          <p:nvPr/>
        </p:nvPicPr>
        <p:blipFill>
          <a:blip r:embed="rId57" cstate="print"/>
          <a:stretch>
            <a:fillRect/>
          </a:stretch>
        </p:blipFill>
        <p:spPr>
          <a:xfrm>
            <a:off x="1444231" y="5342770"/>
            <a:ext cx="360000" cy="360000"/>
          </a:xfrm>
          <a:prstGeom prst="rect">
            <a:avLst/>
          </a:prstGeom>
        </p:spPr>
      </p:pic>
      <p:sp>
        <p:nvSpPr>
          <p:cNvPr id="64" name="Text Placeholder 63"/>
          <p:cNvSpPr>
            <a:spLocks noGrp="1"/>
          </p:cNvSpPr>
          <p:nvPr>
            <p:ph type="body" sz="quarter" idx="18"/>
          </p:nvPr>
        </p:nvSpPr>
        <p:spPr>
          <a:xfrm>
            <a:off x="477012" y="5982859"/>
            <a:ext cx="11246241" cy="246221"/>
          </a:xfrm>
        </p:spPr>
        <p:txBody>
          <a:bodyPr/>
          <a:lstStyle/>
          <a:p>
            <a:pPr eaLnBrk="0" hangingPunct="0">
              <a:lnSpc>
                <a:spcPct val="100000"/>
              </a:lnSpc>
              <a:spcBef>
                <a:spcPts val="100"/>
              </a:spcBef>
            </a:pPr>
            <a:r>
              <a:rPr lang="en-US" b="1" dirty="0"/>
              <a:t>Note 1: </a:t>
            </a:r>
            <a:r>
              <a:rPr lang="en-US" dirty="0"/>
              <a:t>Based on PPP of Mar-2023 for Greece; </a:t>
            </a:r>
            <a:r>
              <a:rPr lang="en-US" b="1" dirty="0"/>
              <a:t>Note 2: </a:t>
            </a:r>
            <a:r>
              <a:rPr lang="en-US" dirty="0"/>
              <a:t>Excluding L.3816 drugs for Greece; </a:t>
            </a:r>
            <a:r>
              <a:rPr lang="en-US" b="1" dirty="0"/>
              <a:t>Note 3: </a:t>
            </a:r>
            <a:r>
              <a:rPr lang="en-US" dirty="0"/>
              <a:t>Sales through the retail-pharmacy channel and for prescription-bound drugs only for all countries; </a:t>
            </a:r>
            <a:r>
              <a:rPr lang="en-US" b="1" dirty="0"/>
              <a:t>Note </a:t>
            </a:r>
            <a:r>
              <a:rPr lang="en-GB" b="1" dirty="0"/>
              <a:t>4: BE</a:t>
            </a:r>
            <a:r>
              <a:rPr lang="en-GB" dirty="0"/>
              <a:t>=Belgium; </a:t>
            </a:r>
            <a:r>
              <a:rPr lang="en-GB" b="1" dirty="0"/>
              <a:t>FR</a:t>
            </a:r>
            <a:r>
              <a:rPr lang="en-GB" dirty="0"/>
              <a:t>=France; </a:t>
            </a:r>
            <a:r>
              <a:rPr lang="en-GB" b="1" dirty="0"/>
              <a:t>GR</a:t>
            </a:r>
            <a:r>
              <a:rPr lang="en-GB" dirty="0"/>
              <a:t>=Greece; </a:t>
            </a:r>
            <a:r>
              <a:rPr lang="en-GB" b="1" dirty="0"/>
              <a:t>I</a:t>
            </a:r>
            <a:r>
              <a:rPr lang="el-GR" b="1" dirty="0"/>
              <a:t>Ε</a:t>
            </a:r>
            <a:r>
              <a:rPr lang="en-GB" dirty="0"/>
              <a:t>=Ireland; </a:t>
            </a:r>
            <a:r>
              <a:rPr lang="en-GB" b="1" dirty="0"/>
              <a:t>IT</a:t>
            </a:r>
            <a:r>
              <a:rPr lang="en-GB" dirty="0"/>
              <a:t>=Italy; </a:t>
            </a:r>
            <a:r>
              <a:rPr lang="en-GB" b="1" dirty="0"/>
              <a:t>PT</a:t>
            </a:r>
            <a:r>
              <a:rPr lang="en-GB" dirty="0"/>
              <a:t>=Portugal; </a:t>
            </a:r>
            <a:r>
              <a:rPr lang="en-GB" b="1" dirty="0"/>
              <a:t>ES</a:t>
            </a:r>
            <a:r>
              <a:rPr lang="en-GB" dirty="0"/>
              <a:t>=Spain;</a:t>
            </a:r>
            <a:r>
              <a:rPr lang="en-GB" b="1" dirty="0"/>
              <a:t> UK</a:t>
            </a:r>
            <a:r>
              <a:rPr lang="en-GB" dirty="0"/>
              <a:t>=United Kingdom;</a:t>
            </a:r>
            <a:r>
              <a:rPr lang="en-US" dirty="0"/>
              <a:t> </a:t>
            </a:r>
            <a:endParaRPr lang="el-GR" dirty="0"/>
          </a:p>
        </p:txBody>
      </p:sp>
      <p:sp>
        <p:nvSpPr>
          <p:cNvPr id="62" name="Text Placeholder 6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Sales distribution by price group (PPP level) – Prescription drugs</a:t>
            </a:r>
          </a:p>
        </p:txBody>
      </p:sp>
      <p:sp>
        <p:nvSpPr>
          <p:cNvPr id="61" name="Title 60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+mn-lt"/>
              </a:rPr>
              <a:t>Greece has similar price distribution to Portugal, having most drugs at low price points</a:t>
            </a: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604FDB2A-F0F1-48CA-BE64-CF78B17C04E3}"/>
              </a:ext>
            </a:extLst>
          </p:cNvPr>
          <p:cNvCxnSpPr>
            <a:cxnSpLocks/>
          </p:cNvCxnSpPr>
          <p:nvPr/>
        </p:nvCxnSpPr>
        <p:spPr>
          <a:xfrm>
            <a:off x="468748" y="1648910"/>
            <a:ext cx="11254499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ktangel 76">
            <a:extLst>
              <a:ext uri="{FF2B5EF4-FFF2-40B4-BE49-F238E27FC236}">
                <a16:creationId xmlns:a16="http://schemas.microsoft.com/office/drawing/2014/main" id="{F3D8C4E2-7F9E-4BBC-84B1-C516DF9AD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747" y="1659797"/>
            <a:ext cx="9515703" cy="318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72000" rIns="0" bIns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1600" b="1" noProof="1">
                <a:solidFill>
                  <a:schemeClr val="accent1"/>
                </a:solidFill>
                <a:cs typeface="Arial" charset="0"/>
              </a:rPr>
              <a:t>Value Sales by price group at PPP level – (MAT/03/23)</a:t>
            </a:r>
          </a:p>
        </p:txBody>
      </p:sp>
      <p:sp>
        <p:nvSpPr>
          <p:cNvPr id="70" name="Oval 69"/>
          <p:cNvSpPr/>
          <p:nvPr/>
        </p:nvSpPr>
        <p:spPr>
          <a:xfrm>
            <a:off x="11606368" y="58982"/>
            <a:ext cx="216000" cy="216000"/>
          </a:xfrm>
          <a:prstGeom prst="ellipse">
            <a:avLst/>
          </a:prstGeom>
          <a:solidFill>
            <a:srgbClr val="00B0F0"/>
          </a:solidFill>
          <a:ln w="1905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en-US" sz="1600" b="1" kern="0" dirty="0">
                <a:solidFill>
                  <a:srgbClr val="FFFFFF"/>
                </a:solidFill>
                <a:latin typeface="+mj-lt"/>
              </a:rPr>
              <a:t>B</a:t>
            </a:r>
          </a:p>
        </p:txBody>
      </p:sp>
      <p:sp>
        <p:nvSpPr>
          <p:cNvPr id="71" name="Oval 70"/>
          <p:cNvSpPr/>
          <p:nvPr/>
        </p:nvSpPr>
        <p:spPr>
          <a:xfrm>
            <a:off x="11332356" y="58982"/>
            <a:ext cx="216000" cy="216000"/>
          </a:xfrm>
          <a:prstGeom prst="ellipse">
            <a:avLst/>
          </a:prstGeom>
          <a:solidFill>
            <a:srgbClr val="00B0F0"/>
          </a:solidFill>
          <a:ln w="1905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en-US" sz="1600" b="1" kern="0" dirty="0">
                <a:solidFill>
                  <a:srgbClr val="FFFFFF"/>
                </a:solidFill>
                <a:latin typeface="+mj-lt"/>
              </a:rPr>
              <a:t>A</a:t>
            </a:r>
          </a:p>
        </p:txBody>
      </p:sp>
      <p:sp>
        <p:nvSpPr>
          <p:cNvPr id="72" name="Oval 71"/>
          <p:cNvSpPr/>
          <p:nvPr/>
        </p:nvSpPr>
        <p:spPr>
          <a:xfrm>
            <a:off x="11880381" y="58982"/>
            <a:ext cx="216000" cy="216000"/>
          </a:xfrm>
          <a:prstGeom prst="ellipse">
            <a:avLst/>
          </a:prstGeom>
          <a:solidFill>
            <a:srgbClr val="00B0F0"/>
          </a:solidFill>
          <a:ln w="1905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en-US" sz="1600" b="1" kern="0" dirty="0">
                <a:solidFill>
                  <a:srgbClr val="FFFFFF"/>
                </a:solidFill>
                <a:latin typeface="+mj-lt"/>
              </a:rPr>
              <a:t>C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2394FF30-4A87-46D6-8C16-A5335135D11F}"/>
              </a:ext>
            </a:extLst>
          </p:cNvPr>
          <p:cNvSpPr txBox="1">
            <a:spLocks/>
          </p:cNvSpPr>
          <p:nvPr/>
        </p:nvSpPr>
        <p:spPr>
          <a:xfrm>
            <a:off x="477013" y="6397157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ource: IQVIA data (MAT/03/23), IQVIA analysis</a:t>
            </a:r>
          </a:p>
        </p:txBody>
      </p:sp>
    </p:spTree>
    <p:extLst>
      <p:ext uri="{BB962C8B-B14F-4D97-AF65-F5344CB8AC3E}">
        <p14:creationId xmlns:p14="http://schemas.microsoft.com/office/powerpoint/2010/main" val="3298816871"/>
      </p:ext>
    </p:extLst>
  </p:cSld>
  <p:clrMapOvr>
    <a:masterClrMapping/>
  </p:clrMapOvr>
  <p:transition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Rectangle 45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63783135"/>
              </p:ext>
            </p:ext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8194" name="Rectangle 4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6" name="Rectangle 46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8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84639EA-33BB-5FD2-7294-1AAE01CA3F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harma expenditure in retail channel per country was increased the last 3 years from ~3% (United Kingdom) to ~23% (Austria)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F18C197-201D-9DED-326B-A3B051AED7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7012" y="1124076"/>
            <a:ext cx="11246241" cy="276999"/>
          </a:xfrm>
        </p:spPr>
        <p:txBody>
          <a:bodyPr/>
          <a:lstStyle/>
          <a:p>
            <a:r>
              <a:rPr lang="en-US" sz="2000" i="1" dirty="0">
                <a:solidFill>
                  <a:schemeClr val="accent1"/>
                </a:solidFill>
              </a:rPr>
              <a:t>Pharma expenditure of Rx in retail channel per country</a:t>
            </a:r>
            <a:endParaRPr lang="en-US" sz="800" i="1" baseline="30000" dirty="0">
              <a:solidFill>
                <a:schemeClr val="accent1"/>
              </a:solidFill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4D2FA7E-F3A0-C61A-7F22-7695DFEC30F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ource: IQVIA data (MAT/03/23), IQVIA analysis</a:t>
            </a:r>
          </a:p>
        </p:txBody>
      </p:sp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EA57EE1D-879F-CFAD-27D2-0F5F0C57D4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9890002"/>
              </p:ext>
            </p:extLst>
          </p:nvPr>
        </p:nvGraphicFramePr>
        <p:xfrm>
          <a:off x="962448" y="2353121"/>
          <a:ext cx="10267105" cy="3021678"/>
        </p:xfrm>
        <a:graphic>
          <a:graphicData uri="http://schemas.openxmlformats.org/drawingml/2006/table">
            <a:tbl>
              <a:tblPr/>
              <a:tblGrid>
                <a:gridCol w="1411105">
                  <a:extLst>
                    <a:ext uri="{9D8B030D-6E8A-4147-A177-3AD203B41FA5}">
                      <a16:colId xmlns:a16="http://schemas.microsoft.com/office/drawing/2014/main" val="1709327334"/>
                    </a:ext>
                  </a:extLst>
                </a:gridCol>
                <a:gridCol w="1476000">
                  <a:extLst>
                    <a:ext uri="{9D8B030D-6E8A-4147-A177-3AD203B41FA5}">
                      <a16:colId xmlns:a16="http://schemas.microsoft.com/office/drawing/2014/main" val="2528085271"/>
                    </a:ext>
                  </a:extLst>
                </a:gridCol>
                <a:gridCol w="1476000">
                  <a:extLst>
                    <a:ext uri="{9D8B030D-6E8A-4147-A177-3AD203B41FA5}">
                      <a16:colId xmlns:a16="http://schemas.microsoft.com/office/drawing/2014/main" val="2447371386"/>
                    </a:ext>
                  </a:extLst>
                </a:gridCol>
                <a:gridCol w="1476000">
                  <a:extLst>
                    <a:ext uri="{9D8B030D-6E8A-4147-A177-3AD203B41FA5}">
                      <a16:colId xmlns:a16="http://schemas.microsoft.com/office/drawing/2014/main" val="2257626347"/>
                    </a:ext>
                  </a:extLst>
                </a:gridCol>
                <a:gridCol w="1476000">
                  <a:extLst>
                    <a:ext uri="{9D8B030D-6E8A-4147-A177-3AD203B41FA5}">
                      <a16:colId xmlns:a16="http://schemas.microsoft.com/office/drawing/2014/main" val="4281342918"/>
                    </a:ext>
                  </a:extLst>
                </a:gridCol>
                <a:gridCol w="1476000">
                  <a:extLst>
                    <a:ext uri="{9D8B030D-6E8A-4147-A177-3AD203B41FA5}">
                      <a16:colId xmlns:a16="http://schemas.microsoft.com/office/drawing/2014/main" val="2797480127"/>
                    </a:ext>
                  </a:extLst>
                </a:gridCol>
                <a:gridCol w="1476000">
                  <a:extLst>
                    <a:ext uri="{9D8B030D-6E8A-4147-A177-3AD203B41FA5}">
                      <a16:colId xmlns:a16="http://schemas.microsoft.com/office/drawing/2014/main" val="3521426326"/>
                    </a:ext>
                  </a:extLst>
                </a:gridCol>
              </a:tblGrid>
              <a:tr h="54939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ountry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MAT/03/21</a:t>
                      </a:r>
                      <a:b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Pharma expend </a:t>
                      </a:r>
                      <a:r>
                        <a:rPr lang="en-US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B€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MAT/03/22 </a:t>
                      </a:r>
                      <a:b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Pharma expend </a:t>
                      </a:r>
                      <a:r>
                        <a:rPr lang="en-US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B€)</a:t>
                      </a:r>
                      <a:endParaRPr lang="en-US" sz="105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1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Growth Rate </a:t>
                      </a:r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(MAT/03/21-MAT/03/22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MAT/03/23 </a:t>
                      </a:r>
                      <a:b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Pharma expend </a:t>
                      </a:r>
                      <a:r>
                        <a:rPr lang="en-US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B€)</a:t>
                      </a:r>
                      <a:endParaRPr lang="en-US" sz="105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1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Growth Rate </a:t>
                      </a:r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(MAT/03/22-MAT/03/23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1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Growth Rate </a:t>
                      </a:r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(MAT/03/21-MAT/03/23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262472"/>
                  </a:ext>
                </a:extLst>
              </a:tr>
              <a:tr h="27469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reece</a:t>
                      </a:r>
                    </a:p>
                  </a:txBody>
                  <a:tcPr marL="182880" marT="762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7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9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7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0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5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b="1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,5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9480784"/>
                  </a:ext>
                </a:extLst>
              </a:tr>
              <a:tr h="27469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ustria</a:t>
                      </a:r>
                    </a:p>
                  </a:txBody>
                  <a:tcPr marL="182880" marT="762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,7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,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,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3723156"/>
                  </a:ext>
                </a:extLst>
              </a:tr>
              <a:tr h="27469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elgium</a:t>
                      </a:r>
                    </a:p>
                  </a:txBody>
                  <a:tcPr marL="182880" marT="762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,6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,9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,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873379"/>
                  </a:ext>
                </a:extLst>
              </a:tr>
              <a:tr h="27469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rance</a:t>
                      </a:r>
                    </a:p>
                  </a:txBody>
                  <a:tcPr marL="182880" marT="762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,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,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,6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,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,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,7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139995"/>
                  </a:ext>
                </a:extLst>
              </a:tr>
              <a:tr h="27469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rmany</a:t>
                      </a:r>
                    </a:p>
                  </a:txBody>
                  <a:tcPr marL="182880" marT="762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5,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8,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,6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,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,2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8360047"/>
                  </a:ext>
                </a:extLst>
              </a:tr>
              <a:tr h="27469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taly</a:t>
                      </a:r>
                    </a:p>
                  </a:txBody>
                  <a:tcPr marL="182880" marT="762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,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,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6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,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,7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9252452"/>
                  </a:ext>
                </a:extLst>
              </a:tr>
              <a:tr h="27469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rtugal</a:t>
                      </a:r>
                    </a:p>
                  </a:txBody>
                  <a:tcPr marL="182880" marT="762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,8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,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,5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8670031"/>
                  </a:ext>
                </a:extLst>
              </a:tr>
              <a:tr h="27469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ain</a:t>
                      </a:r>
                    </a:p>
                  </a:txBody>
                  <a:tcPr marL="182880" marT="762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,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,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,4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,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4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,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458211"/>
                  </a:ext>
                </a:extLst>
              </a:tr>
              <a:tr h="27469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K</a:t>
                      </a:r>
                    </a:p>
                  </a:txBody>
                  <a:tcPr marL="182880" marT="762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,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,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 </a:t>
                      </a:r>
                      <a:r>
                        <a:rPr lang="en-US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,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852357"/>
                  </a:ext>
                </a:extLst>
              </a:tr>
            </a:tbl>
          </a:graphicData>
        </a:graphic>
      </p:graphicFrame>
      <p:pic>
        <p:nvPicPr>
          <p:cNvPr id="22" name="Picture 21">
            <a:extLst>
              <a:ext uri="{FF2B5EF4-FFF2-40B4-BE49-F238E27FC236}">
                <a16:creationId xmlns:a16="http://schemas.microsoft.com/office/drawing/2014/main" id="{695F011C-9D15-4190-57DB-879AA4A41DA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4223" y="3227510"/>
            <a:ext cx="182880" cy="18288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9B442687-ED6D-B807-B215-6E58572DF52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4223" y="3503244"/>
            <a:ext cx="182880" cy="18288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C56D2FE-266E-35E5-64F5-46755CEDF41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4223" y="3778978"/>
            <a:ext cx="182880" cy="18288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2AEC8FE-2A1E-5281-61C3-69377DE84AF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4223" y="4054712"/>
            <a:ext cx="182880" cy="18288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17FED1FF-9146-F043-B69A-080D1907595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4223" y="4330446"/>
            <a:ext cx="182880" cy="18288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D752D677-A531-DF76-8EA1-E3D0924DC0CA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4223" y="4606180"/>
            <a:ext cx="182880" cy="18288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37B131C-F32B-0B6E-D57B-C4C9125194C4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4223" y="4881914"/>
            <a:ext cx="182880" cy="18288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03467ED8-12A5-A45D-8363-8B2D703FBCDD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4223" y="5157650"/>
            <a:ext cx="182880" cy="182880"/>
          </a:xfrm>
          <a:prstGeom prst="rect">
            <a:avLst/>
          </a:prstGeom>
        </p:spPr>
      </p:pic>
      <p:sp>
        <p:nvSpPr>
          <p:cNvPr id="7" name="Text Placeholder 138">
            <a:extLst>
              <a:ext uri="{FF2B5EF4-FFF2-40B4-BE49-F238E27FC236}">
                <a16:creationId xmlns:a16="http://schemas.microsoft.com/office/drawing/2014/main" id="{981ECB85-104C-8133-8EB1-E729EC513C63}"/>
              </a:ext>
            </a:extLst>
          </p:cNvPr>
          <p:cNvSpPr txBox="1">
            <a:spLocks/>
          </p:cNvSpPr>
          <p:nvPr/>
        </p:nvSpPr>
        <p:spPr>
          <a:xfrm>
            <a:off x="477012" y="6118280"/>
            <a:ext cx="11246241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Note 1: </a:t>
            </a:r>
            <a:r>
              <a:rPr lang="en-US" dirty="0"/>
              <a:t>Based on PPP of Mar-2023 for Greece; </a:t>
            </a:r>
            <a:r>
              <a:rPr lang="en-US" b="1" dirty="0"/>
              <a:t>Note 2: </a:t>
            </a:r>
            <a:r>
              <a:rPr lang="en-US" dirty="0"/>
              <a:t>Excluding L.3816 drugs for Greece; </a:t>
            </a:r>
            <a:r>
              <a:rPr lang="en-US" b="1" dirty="0"/>
              <a:t>Note 3: </a:t>
            </a:r>
            <a:r>
              <a:rPr lang="en-US" dirty="0"/>
              <a:t>Sales through the retail-pharmacy channel and for prescription-bound drugs only for all countries;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1BAE2FC-57ED-9AC0-7A0B-BB5AFDEBB2B7}"/>
              </a:ext>
            </a:extLst>
          </p:cNvPr>
          <p:cNvCxnSpPr>
            <a:cxnSpLocks/>
          </p:cNvCxnSpPr>
          <p:nvPr/>
        </p:nvCxnSpPr>
        <p:spPr>
          <a:xfrm>
            <a:off x="468748" y="1648910"/>
            <a:ext cx="11254499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ktangel 76">
            <a:extLst>
              <a:ext uri="{FF2B5EF4-FFF2-40B4-BE49-F238E27FC236}">
                <a16:creationId xmlns:a16="http://schemas.microsoft.com/office/drawing/2014/main" id="{E9877185-40D8-31E4-80D2-6196FF4465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747" y="1659797"/>
            <a:ext cx="9515703" cy="318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72000" rIns="0" bIns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1600" b="1" noProof="1">
                <a:solidFill>
                  <a:schemeClr val="accent1"/>
                </a:solidFill>
                <a:cs typeface="Arial" charset="0"/>
              </a:rPr>
              <a:t>Pharma expenditure (in Billions €) of Rx per country – (MAT/03/23)</a:t>
            </a:r>
          </a:p>
        </p:txBody>
      </p:sp>
      <p:pic>
        <p:nvPicPr>
          <p:cNvPr id="5" name="Picture 4" descr="Greece.png">
            <a:extLst>
              <a:ext uri="{FF2B5EF4-FFF2-40B4-BE49-F238E27FC236}">
                <a16:creationId xmlns:a16="http://schemas.microsoft.com/office/drawing/2014/main" id="{589FA4B8-F3A4-76D2-84ED-8A540DE085F0}"/>
              </a:ext>
            </a:extLst>
          </p:cNvPr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2037663" y="2937704"/>
            <a:ext cx="216000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54042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Rectangle 45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85952871"/>
              </p:ext>
            </p:ext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0" imgH="0" progId="TCLayout.ActiveDocument.1">
                  <p:embed/>
                </p:oleObj>
              </mc:Choice>
              <mc:Fallback>
                <p:oleObj name="think-cell Slide" r:id="rId35" imgW="0" imgH="0" progId="TCLayout.ActiveDocument.1">
                  <p:embed/>
                  <p:pic>
                    <p:nvPicPr>
                      <p:cNvPr id="8194" name="Rectangle 4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6" name="Rectangle 46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800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84639EA-33BB-5FD2-7294-1AAE01CA3F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UK and Germany have the highest market shares of generic drugs, while Portugal and Austria have the lowest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4D2FA7E-F3A0-C61A-7F22-7695DFEC30F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013" y="6397157"/>
            <a:ext cx="7560000" cy="110800"/>
          </a:xfrm>
        </p:spPr>
        <p:txBody>
          <a:bodyPr/>
          <a:lstStyle/>
          <a:p>
            <a:r>
              <a:rPr lang="en-US" dirty="0"/>
              <a:t>Source: IQVIA data (MAT/03/23), IQVIA analysis</a:t>
            </a: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5ADCCA8F-0F3F-AF98-4488-DE45010B52F5}"/>
              </a:ext>
            </a:extLst>
          </p:cNvPr>
          <p:cNvSpPr txBox="1">
            <a:spLocks/>
          </p:cNvSpPr>
          <p:nvPr/>
        </p:nvSpPr>
        <p:spPr>
          <a:xfrm>
            <a:off x="477012" y="1124076"/>
            <a:ext cx="1124624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i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rket shares of Gx (in volume of standard units and value of sales) per country</a:t>
            </a:r>
          </a:p>
        </p:txBody>
      </p:sp>
      <p:graphicFrame>
        <p:nvGraphicFramePr>
          <p:cNvPr id="8308" name="Chart 8307">
            <a:extLst>
              <a:ext uri="{FF2B5EF4-FFF2-40B4-BE49-F238E27FC236}">
                <a16:creationId xmlns:a16="http://schemas.microsoft.com/office/drawing/2014/main" id="{F138BCD1-F13B-10B7-F6A3-573B26F4982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6809750"/>
              </p:ext>
            </p:extLst>
          </p:nvPr>
        </p:nvGraphicFramePr>
        <p:xfrm>
          <a:off x="661988" y="2640013"/>
          <a:ext cx="10868025" cy="2398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793A79FA-0908-5D5F-1E83-EB7A7E287D5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9572625" y="4999038"/>
            <a:ext cx="180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2AC9782-C655-410E-8237-E36485341A1D}" type="datetime'E''''''''''''''''''S'''''''''''''''''">
              <a:rPr lang="en-US" altLang="en-US" sz="1000" b="1" smtClean="0">
                <a:solidFill>
                  <a:schemeClr val="tx1"/>
                </a:solidFill>
              </a:rPr>
              <a:pPr/>
              <a:t>ES</a:t>
            </a:fld>
            <a:endParaRPr lang="el-GR" sz="1000" b="1" dirty="0" err="1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EA60F3-F360-2429-377B-F53C8678BD35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428875" y="4999038"/>
            <a:ext cx="196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D4F23B2-F2DE-4BDE-A4B0-A26627001AC0}" type="datetime'''''''''''''''''''''''''''U''''''''K'''''''''">
              <a:rPr lang="en-US" altLang="en-US" sz="1000" b="1" smtClean="0">
                <a:solidFill>
                  <a:schemeClr val="tx1"/>
                </a:solidFill>
              </a:rPr>
              <a:pPr/>
              <a:t>UK</a:t>
            </a:fld>
            <a:endParaRPr lang="el-GR" sz="1000" b="1" dirty="0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666BDB6-5007-B228-35B0-0E7C9AEA229B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6165850" y="256063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8775A58-87D3-4B93-A8A4-D57BFC46C948}" type="datetime'''''''''7''7''''''''''''''''''''''''''''%'''''''''''''''''''''">
              <a:rPr lang="el-GR" altLang="en-US" sz="1000" smtClean="0">
                <a:solidFill>
                  <a:schemeClr val="tx1"/>
                </a:solidFill>
              </a:rPr>
              <a:pPr/>
              <a:t>77%</a:t>
            </a:fld>
            <a:endParaRPr lang="el-GR" sz="1000" dirty="0" err="1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F2A239B-BDA0-D182-083E-BF6E844C357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758488" y="4999038"/>
            <a:ext cx="1889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C5E7482-F7EE-4395-AE07-DCC2B1C3703F}" type="datetime'''''''''''''''''''''''''''''B''''E'''''''''''''''''''''''''''">
              <a:rPr lang="en-US" altLang="en-US" sz="1000" b="1" smtClean="0">
                <a:solidFill>
                  <a:schemeClr val="tx1"/>
                </a:solidFill>
              </a:rPr>
              <a:pPr/>
              <a:t>BE</a:t>
            </a:fld>
            <a:endParaRPr lang="el-GR" sz="1000" b="1" dirty="0" err="1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581E80B-89C9-7FAD-9CF7-D81F1AA6A45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818063" y="49990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813EAFB-E5B6-4FC1-A7C1-EEA53987A64B}" type="datetime'''''''''''''''''''''''''''''''''''''P''''''T'''">
              <a:rPr lang="en-US" altLang="en-US" sz="1000" b="1" smtClean="0">
                <a:solidFill>
                  <a:schemeClr val="tx1"/>
                </a:solidFill>
              </a:rPr>
              <a:pPr/>
              <a:t>PT</a:t>
            </a:fld>
            <a:endParaRPr lang="el-GR" sz="1000" b="1" dirty="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4A80062-D387-77E2-DE3B-5A6ADBFB98C4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625850" y="4999038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53DE878-088C-432D-BE9C-DCE079E37BEC}" type="datetime'''''F''''''''''''''''''''''''''''''''''R'''''''''''''''''''">
              <a:rPr lang="en-US" altLang="en-US" sz="1000" b="1" smtClean="0">
                <a:solidFill>
                  <a:schemeClr val="tx1"/>
                </a:solidFill>
              </a:rPr>
              <a:pPr/>
              <a:t>FR</a:t>
            </a:fld>
            <a:endParaRPr lang="el-GR" sz="1000" b="1" dirty="0" err="1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A6D39C8-3E68-41AD-C828-71AD1090FBC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383588" y="4999038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506DCEB-8C5A-4E10-8114-6A2CD6675366}" type="datetime'''A''''''''''''''''''''''''''''''''''''''''''''''''T'''''">
              <a:rPr lang="en-US" altLang="en-US" sz="1000" b="1" smtClean="0">
                <a:solidFill>
                  <a:schemeClr val="tx1"/>
                </a:solidFill>
              </a:rPr>
              <a:pPr/>
              <a:t>AT</a:t>
            </a:fld>
            <a:endParaRPr lang="el-GR" sz="1000" b="1" dirty="0" err="1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A34BC5C-33B5-4621-C43F-38EDC573C626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6002338" y="4999038"/>
            <a:ext cx="1889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F8DD095-9BA3-4364-929D-0BD186B7D156}" type="datetime'D''''''''''''''''''''''''''''''''''''''E'''''''''''''''''">
              <a:rPr lang="en-US" altLang="en-US" sz="1000" b="1" smtClean="0">
                <a:solidFill>
                  <a:schemeClr val="tx1"/>
                </a:solidFill>
              </a:rPr>
              <a:pPr/>
              <a:t>DE</a:t>
            </a:fld>
            <a:endParaRPr lang="el-GR" sz="1000" b="1" dirty="0" err="1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7D2CEE6-AE90-23FC-2538-A4CBCFC13B17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223125" y="4999038"/>
            <a:ext cx="125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DA02C40-93CF-438C-B192-4FCA20ADAF39}" type="datetime'''I''''''''''''''''''T'''''''''''''''''">
              <a:rPr lang="en-US" altLang="en-US" sz="1000" b="1" smtClean="0">
                <a:solidFill>
                  <a:schemeClr val="tx1"/>
                </a:solidFill>
              </a:rPr>
              <a:pPr/>
              <a:t>IT</a:t>
            </a:fld>
            <a:endParaRPr lang="el-GR" sz="1000" b="1" dirty="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F60D7F8-4994-496B-9940-CB5A053BF6BD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2173288" y="369887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55141B6-9B22-4D5B-BFD0-6BD41A2CB3EF}" type="datetime'''''''''''''''''''38''''''''''%'''''''''''''''''''''''">
              <a:rPr lang="el-GR" altLang="en-US" sz="1000" smtClean="0">
                <a:solidFill>
                  <a:schemeClr val="tx1"/>
                </a:solidFill>
              </a:rPr>
              <a:pPr/>
              <a:t>38%</a:t>
            </a:fld>
            <a:endParaRPr lang="el-GR" sz="1000" dirty="0" err="1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D82897C-5764-8215-510D-27FE2BBF106C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2597150" y="261937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E64CA2A-2A28-4DB5-9773-90701DE2772D}" type="datetime'''''7''''''''''''''''''''''''''''''5''''''''''''''''''%'''">
              <a:rPr lang="el-GR" altLang="en-US" sz="1000" smtClean="0">
                <a:solidFill>
                  <a:schemeClr val="tx1"/>
                </a:solidFill>
              </a:rPr>
              <a:pPr/>
              <a:t>75%</a:t>
            </a:fld>
            <a:endParaRPr lang="el-GR" sz="1000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DFD98BA-CAC9-CE36-5CE8-CC0623F44631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3362325" y="4159250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255E88F-B135-41E2-89F0-D028ACFDDB62}" type="datetime'''''''''''''''''''''''2''2''''''''%'''''">
              <a:rPr lang="el-GR" altLang="en-US" sz="1000" smtClean="0">
                <a:solidFill>
                  <a:schemeClr val="tx1"/>
                </a:solidFill>
              </a:rPr>
              <a:pPr/>
              <a:t>22%</a:t>
            </a:fld>
            <a:endParaRPr lang="el-GR" sz="1000" dirty="0" err="1">
              <a:solidFill>
                <a:schemeClr val="tx1"/>
              </a:solidFill>
            </a:endParaRPr>
          </a:p>
        </p:txBody>
      </p:sp>
      <p:sp>
        <p:nvSpPr>
          <p:cNvPr id="8192" name="Rectangle 8191">
            <a:extLst>
              <a:ext uri="{FF2B5EF4-FFF2-40B4-BE49-F238E27FC236}">
                <a16:creationId xmlns:a16="http://schemas.microsoft.com/office/drawing/2014/main" id="{6F40F6CB-C2F5-F83E-0AEF-C06CA0C50D78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9309100" y="388302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E23E326-D244-4E89-9344-4126CF392B50}" type="datetime'''''''3''''1''''''''''''''''''''''''''''''''''''''''''''%'">
              <a:rPr lang="el-GR" altLang="en-US" sz="1000" smtClean="0">
                <a:solidFill>
                  <a:schemeClr val="tx1"/>
                </a:solidFill>
              </a:rPr>
              <a:pPr/>
              <a:t>31%</a:t>
            </a:fld>
            <a:endParaRPr lang="el-GR" sz="1000" dirty="0" err="1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0DF3FDB-7FD6-FFAD-0123-1024152B8CC2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3786188" y="287337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F715212-57D7-4796-AC4A-AD268385D4E1}" type="datetime'''''''''''6''''''''''''''6''''%'''''''''''''''">
              <a:rPr lang="el-GR" altLang="en-US" sz="1000" smtClean="0">
                <a:solidFill>
                  <a:schemeClr val="tx1"/>
                </a:solidFill>
              </a:rPr>
              <a:pPr/>
              <a:t>66%</a:t>
            </a:fld>
            <a:endParaRPr lang="el-GR" sz="1000" dirty="0" err="1">
              <a:solidFill>
                <a:schemeClr val="tx1"/>
              </a:solidFill>
            </a:endParaRPr>
          </a:p>
        </p:txBody>
      </p:sp>
      <p:sp>
        <p:nvSpPr>
          <p:cNvPr id="8303" name="Rectangle 8302">
            <a:extLst>
              <a:ext uri="{FF2B5EF4-FFF2-40B4-BE49-F238E27FC236}">
                <a16:creationId xmlns:a16="http://schemas.microsoft.com/office/drawing/2014/main" id="{4D2FF523-4F19-46D7-3615-CB8E14435F14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984250" y="409733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3B42AD1-BA40-4B7F-8908-C127539F4F89}" type="datetime'2''''''''''''4''''''''''''''''''''''''''''''''''''''''''%'''">
              <a:rPr lang="el-GR" altLang="en-US" sz="1000" smtClean="0">
                <a:solidFill>
                  <a:schemeClr val="tx1"/>
                </a:solidFill>
              </a:rPr>
              <a:pPr/>
              <a:t>24%</a:t>
            </a:fld>
            <a:endParaRPr lang="el-GR" sz="1000" dirty="0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3DBD41B-77C3-844E-A5E1-E26DAAF2048D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4551363" y="3803650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25062A0-C102-4141-8F5A-F9FD26A7EAFD}" type="datetime'''''''''''''''''3''''''4''''''''''''''''''''%'''''">
              <a:rPr lang="el-GR" altLang="en-US" sz="1000" smtClean="0">
                <a:solidFill>
                  <a:schemeClr val="tx1"/>
                </a:solidFill>
              </a:rPr>
              <a:pPr/>
              <a:t>34%</a:t>
            </a:fld>
            <a:endParaRPr lang="el-GR" sz="1000" dirty="0" err="1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1EFF9E5-E5CA-B7AB-39B4-E22039F6F1F3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4975225" y="320992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D3A8E34-2306-4432-9EDF-F40C1FEA9BDA}" type="datetime'''''''''5''5''''''''''''''''''''''''%'''''''''''''''''''''">
              <a:rPr lang="el-GR" altLang="en-US" sz="1000" smtClean="0">
                <a:solidFill>
                  <a:schemeClr val="tx1"/>
                </a:solidFill>
              </a:rPr>
              <a:pPr/>
              <a:t>55%</a:t>
            </a:fld>
            <a:endParaRPr lang="el-GR" sz="1000" dirty="0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77A47B9-2EBE-15D1-10A9-796A13917A41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5740400" y="425926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C49E81E-B510-470A-AD08-F9AEC35B6145}" type="datetime'''''''''''''''''''''1''''''''''8''%'''''''''">
              <a:rPr lang="el-GR" altLang="en-US" sz="1000" smtClean="0">
                <a:solidFill>
                  <a:schemeClr val="tx1"/>
                </a:solidFill>
              </a:rPr>
              <a:pPr/>
              <a:t>18%</a:t>
            </a:fld>
            <a:endParaRPr lang="el-GR" sz="1000" dirty="0" err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074958B-E50D-8897-0182-B8483D7D75BB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6931025" y="379888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87B4E53-4872-4743-97D6-E265A3783750}" type="datetime'''''3''''''4''''''''''''''''''''''''''''''''''''''''''%'''''''">
              <a:rPr lang="el-GR" altLang="en-US" sz="1000" smtClean="0">
                <a:solidFill>
                  <a:schemeClr val="tx1"/>
                </a:solidFill>
              </a:rPr>
              <a:pPr/>
              <a:t>34%</a:t>
            </a:fld>
            <a:endParaRPr lang="el-GR" sz="1000" dirty="0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D016D41-788D-650D-BC3F-12540C80607E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7354888" y="3379788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5BEE7F3-1D84-4D56-873E-6F7A614986B0}" type="datetime'''''''''''''''4''''''''''''''9%'''''''''''''''''''''''''''">
              <a:rPr lang="el-GR" altLang="en-US" sz="1000" smtClean="0">
                <a:solidFill>
                  <a:schemeClr val="tx1"/>
                </a:solidFill>
              </a:rPr>
              <a:pPr/>
              <a:t>49%</a:t>
            </a:fld>
            <a:endParaRPr lang="el-GR" sz="1000" dirty="0" err="1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6C6F520-2DA0-81C8-8BD6-294FAA43DC27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8120063" y="438626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48383D6-7502-4078-A8FA-E17DEC95B9A3}" type="datetime'''''1''''''''''''''4''''''''''''''''''%'''''''''''''''''''''''">
              <a:rPr lang="el-GR" altLang="en-US" sz="1000" smtClean="0">
                <a:solidFill>
                  <a:schemeClr val="tx1"/>
                </a:solidFill>
              </a:rPr>
              <a:pPr/>
              <a:t>14%</a:t>
            </a:fld>
            <a:endParaRPr lang="el-GR" sz="1000" dirty="0" err="1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CBB9571-3074-8CDD-63E0-6F796A319E58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8543925" y="3448050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3D7EB4F-5120-4E4D-A2B4-629D2478A37E}" type="datetime'''''''''''''''''''4''''''''''6%'''''''''''''''''">
              <a:rPr lang="el-GR" altLang="en-US" sz="1000" smtClean="0">
                <a:solidFill>
                  <a:schemeClr val="tx1"/>
                </a:solidFill>
              </a:rPr>
              <a:pPr/>
              <a:t>46%</a:t>
            </a:fld>
            <a:endParaRPr lang="el-GR" sz="1000" dirty="0" err="1">
              <a:solidFill>
                <a:schemeClr val="tx1"/>
              </a:solidFill>
            </a:endParaRPr>
          </a:p>
        </p:txBody>
      </p:sp>
      <p:sp>
        <p:nvSpPr>
          <p:cNvPr id="8193" name="Rectangle 8192">
            <a:extLst>
              <a:ext uri="{FF2B5EF4-FFF2-40B4-BE49-F238E27FC236}">
                <a16:creationId xmlns:a16="http://schemas.microsoft.com/office/drawing/2014/main" id="{3131F94C-A1F1-E49D-195F-410874036E96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9732963" y="320516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B86DF9F-45DA-4D31-8697-BFA6FBF1DE13}" type="datetime'''5''''''''''''''''''''''''''5''''''''%'">
              <a:rPr lang="el-GR" altLang="en-US" sz="1000" smtClean="0">
                <a:solidFill>
                  <a:schemeClr val="tx1"/>
                </a:solidFill>
              </a:rPr>
              <a:pPr/>
              <a:t>55%</a:t>
            </a:fld>
            <a:endParaRPr lang="el-GR" sz="1000" dirty="0" err="1">
              <a:solidFill>
                <a:schemeClr val="tx1"/>
              </a:solidFill>
            </a:endParaRPr>
          </a:p>
        </p:txBody>
      </p:sp>
      <p:sp>
        <p:nvSpPr>
          <p:cNvPr id="8195" name="Rectangle 8194">
            <a:extLst>
              <a:ext uri="{FF2B5EF4-FFF2-40B4-BE49-F238E27FC236}">
                <a16:creationId xmlns:a16="http://schemas.microsoft.com/office/drawing/2014/main" id="{39745028-1E53-E321-6B90-63FC70372E56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10498138" y="4264025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CCF4AC5-AC33-47A0-BBB5-11DAF82D3D89}" type="datetime'1''''''''''8''''''''''''%'''''''''">
              <a:rPr lang="el-GR" altLang="en-US" sz="1000" smtClean="0">
                <a:solidFill>
                  <a:schemeClr val="tx1"/>
                </a:solidFill>
              </a:rPr>
              <a:pPr/>
              <a:t>18%</a:t>
            </a:fld>
            <a:endParaRPr lang="el-GR" sz="1000" dirty="0" err="1">
              <a:solidFill>
                <a:schemeClr val="tx1"/>
              </a:solidFill>
            </a:endParaRPr>
          </a:p>
        </p:txBody>
      </p:sp>
      <p:sp>
        <p:nvSpPr>
          <p:cNvPr id="8197" name="Rectangle 8196">
            <a:extLst>
              <a:ext uri="{FF2B5EF4-FFF2-40B4-BE49-F238E27FC236}">
                <a16:creationId xmlns:a16="http://schemas.microsoft.com/office/drawing/2014/main" id="{BAF54427-B131-4908-344E-B965EE32679A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10922000" y="337661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C6561D7-0A91-48C7-9BA1-4626F4D7724F}" type="datetime'''''''''''''''''49''''%'''''''''''''''">
              <a:rPr lang="el-GR" altLang="en-US" sz="1000" smtClean="0">
                <a:solidFill>
                  <a:schemeClr val="tx1"/>
                </a:solidFill>
              </a:rPr>
              <a:pPr/>
              <a:t>49%</a:t>
            </a:fld>
            <a:endParaRPr lang="el-GR" sz="1000" dirty="0" err="1">
              <a:solidFill>
                <a:schemeClr val="tx1"/>
              </a:solidFill>
            </a:endParaRPr>
          </a:p>
        </p:txBody>
      </p:sp>
      <p:sp>
        <p:nvSpPr>
          <p:cNvPr id="8290" name="Rectangle 8289">
            <a:extLst>
              <a:ext uri="{FF2B5EF4-FFF2-40B4-BE49-F238E27FC236}">
                <a16:creationId xmlns:a16="http://schemas.microsoft.com/office/drawing/2014/main" id="{6B958681-01DA-4535-7954-2FED9D6340E6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1236663" y="4999038"/>
            <a:ext cx="203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B3D607D-5D68-4E24-8B71-C1972DE043CF}" type="datetime'''''''''''''''''''''''''''''''''''G''''''''''''''''''''R'''">
              <a:rPr lang="en-US" altLang="en-US" sz="1000" b="1" smtClean="0">
                <a:solidFill>
                  <a:schemeClr val="tx1"/>
                </a:solidFill>
              </a:rPr>
              <a:pPr/>
              <a:t>GR</a:t>
            </a:fld>
            <a:endParaRPr lang="el-GR" sz="1000" b="1" dirty="0" err="1">
              <a:solidFill>
                <a:schemeClr val="tx1"/>
              </a:solidFill>
            </a:endParaRPr>
          </a:p>
        </p:txBody>
      </p:sp>
      <p:sp>
        <p:nvSpPr>
          <p:cNvPr id="8300" name="Rectangle 8299">
            <a:extLst>
              <a:ext uri="{FF2B5EF4-FFF2-40B4-BE49-F238E27FC236}">
                <a16:creationId xmlns:a16="http://schemas.microsoft.com/office/drawing/2014/main" id="{A2A1A474-9E23-7A0E-A679-09206F0FB9A9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1408113" y="3700463"/>
            <a:ext cx="287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DFD2315-384D-492D-82B6-D4599D4E1EEB}" type="datetime'3''''''''''''''''''''''''''''''''''''''''''''''''8%'''''''''''">
              <a:rPr lang="el-GR" altLang="en-US" sz="1000" smtClean="0">
                <a:solidFill>
                  <a:schemeClr val="tx1"/>
                </a:solidFill>
              </a:rPr>
              <a:pPr/>
              <a:t>38%</a:t>
            </a:fld>
            <a:endParaRPr lang="el-GR" sz="1000" dirty="0" err="1">
              <a:solidFill>
                <a:schemeClr val="tx1"/>
              </a:solidFill>
            </a:endParaRPr>
          </a:p>
        </p:txBody>
      </p:sp>
      <p:sp>
        <p:nvSpPr>
          <p:cNvPr id="8198" name="Rectangle 8197">
            <a:extLst>
              <a:ext uri="{FF2B5EF4-FFF2-40B4-BE49-F238E27FC236}">
                <a16:creationId xmlns:a16="http://schemas.microsoft.com/office/drawing/2014/main" id="{E39A2941-A847-0146-6BCC-FE253E10A6F7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0491788" y="2320925"/>
            <a:ext cx="179388" cy="1333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l-GR" sz="1600" dirty="0" err="1"/>
          </a:p>
        </p:txBody>
      </p:sp>
      <p:sp>
        <p:nvSpPr>
          <p:cNvPr id="8199" name="Rectangle 8198">
            <a:extLst>
              <a:ext uri="{FF2B5EF4-FFF2-40B4-BE49-F238E27FC236}">
                <a16:creationId xmlns:a16="http://schemas.microsoft.com/office/drawing/2014/main" id="{1C47CBB3-E129-1B84-DD9F-429DEDAE1AF8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0491788" y="2524125"/>
            <a:ext cx="179388" cy="1333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l-GR" sz="1600" dirty="0" err="1"/>
          </a:p>
        </p:txBody>
      </p:sp>
      <p:sp>
        <p:nvSpPr>
          <p:cNvPr id="8200" name="Rectangle 8199">
            <a:extLst>
              <a:ext uri="{FF2B5EF4-FFF2-40B4-BE49-F238E27FC236}">
                <a16:creationId xmlns:a16="http://schemas.microsoft.com/office/drawing/2014/main" id="{17A3AF88-EC28-D916-2069-8385899BA10F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10721975" y="2316163"/>
            <a:ext cx="8413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C8FC8A9-5E66-4C37-9BD2-C2E765DC02FB}" type="datetime'Val''u''''''''''''''e ''o''f'' ''''sal''''''''''e''''s'''''">
              <a:rPr lang="en-US" altLang="en-US" sz="1000" b="1" smtClean="0">
                <a:solidFill>
                  <a:schemeClr val="tx1"/>
                </a:solidFill>
              </a:rPr>
              <a:pPr/>
              <a:t>Value of sales</a:t>
            </a:fld>
            <a:endParaRPr lang="el-GR" sz="1000" b="1" dirty="0" err="1">
              <a:solidFill>
                <a:schemeClr val="tx1"/>
              </a:solidFill>
            </a:endParaRPr>
          </a:p>
        </p:txBody>
      </p:sp>
      <p:sp>
        <p:nvSpPr>
          <p:cNvPr id="8201" name="Rectangle 8200">
            <a:extLst>
              <a:ext uri="{FF2B5EF4-FFF2-40B4-BE49-F238E27FC236}">
                <a16:creationId xmlns:a16="http://schemas.microsoft.com/office/drawing/2014/main" id="{D2B87F7B-276E-56F2-8EB8-A5E80A097AEC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10721975" y="2519363"/>
            <a:ext cx="9509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EB99CA9-8C78-497F-B4FD-21F16C7E8F72}" type="datetime'V''''''ol''''''''um''''e'''' o''f'' ''''''un''''''i''t''s'''''">
              <a:rPr lang="en-US" altLang="en-US" sz="1000" b="1" smtClean="0">
                <a:solidFill>
                  <a:schemeClr val="tx1"/>
                </a:solidFill>
              </a:rPr>
              <a:pPr/>
              <a:t>Volume of units</a:t>
            </a:fld>
            <a:endParaRPr lang="el-GR" sz="1000" b="1" dirty="0" err="1">
              <a:solidFill>
                <a:schemeClr val="tx1"/>
              </a:solidFill>
            </a:endParaRPr>
          </a:p>
        </p:txBody>
      </p:sp>
      <p:sp>
        <p:nvSpPr>
          <p:cNvPr id="8208" name="Text Placeholder 138">
            <a:extLst>
              <a:ext uri="{FF2B5EF4-FFF2-40B4-BE49-F238E27FC236}">
                <a16:creationId xmlns:a16="http://schemas.microsoft.com/office/drawing/2014/main" id="{55809B01-E701-34EA-9C69-7D372367036A}"/>
              </a:ext>
            </a:extLst>
          </p:cNvPr>
          <p:cNvSpPr txBox="1">
            <a:spLocks/>
          </p:cNvSpPr>
          <p:nvPr/>
        </p:nvSpPr>
        <p:spPr>
          <a:xfrm>
            <a:off x="477012" y="5982859"/>
            <a:ext cx="11246241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ts val="100"/>
              </a:spcBef>
            </a:pPr>
            <a:r>
              <a:rPr lang="en-US" b="1" dirty="0"/>
              <a:t>Note 1: </a:t>
            </a:r>
            <a:r>
              <a:rPr lang="en-US" dirty="0"/>
              <a:t>Based on PPP of Mar-2023 for Greece; </a:t>
            </a:r>
            <a:r>
              <a:rPr lang="en-US" b="1" dirty="0"/>
              <a:t>Note 2: </a:t>
            </a:r>
            <a:r>
              <a:rPr lang="en-US" dirty="0"/>
              <a:t>Excluding L.3816 drugs for Greece; </a:t>
            </a:r>
            <a:r>
              <a:rPr lang="en-US" b="1" dirty="0"/>
              <a:t>Note 3: </a:t>
            </a:r>
            <a:r>
              <a:rPr lang="en-US" dirty="0"/>
              <a:t>Sales through the retail-pharmacy channel and for prescription-bound drugs only for all countries; </a:t>
            </a:r>
            <a:r>
              <a:rPr lang="en-US" b="1" dirty="0"/>
              <a:t>Note </a:t>
            </a:r>
            <a:r>
              <a:rPr lang="en-GB" b="1" dirty="0"/>
              <a:t>4: GR</a:t>
            </a:r>
            <a:r>
              <a:rPr lang="en-GB" dirty="0"/>
              <a:t>=Greece; </a:t>
            </a:r>
            <a:r>
              <a:rPr lang="en-GB" b="1" dirty="0"/>
              <a:t>AT</a:t>
            </a:r>
            <a:r>
              <a:rPr lang="en-GB" dirty="0"/>
              <a:t>=Austria; </a:t>
            </a:r>
            <a:r>
              <a:rPr lang="en-GB" b="1" dirty="0"/>
              <a:t>BE</a:t>
            </a:r>
            <a:r>
              <a:rPr lang="en-GB" dirty="0"/>
              <a:t>=Belgium; </a:t>
            </a:r>
            <a:r>
              <a:rPr lang="en-GB" b="1" dirty="0"/>
              <a:t>FR</a:t>
            </a:r>
            <a:r>
              <a:rPr lang="en-GB" dirty="0"/>
              <a:t>=France; </a:t>
            </a:r>
            <a:r>
              <a:rPr lang="en-GB" b="1" dirty="0"/>
              <a:t>DE</a:t>
            </a:r>
            <a:r>
              <a:rPr lang="en-GB" dirty="0"/>
              <a:t>=Germany; </a:t>
            </a:r>
            <a:r>
              <a:rPr lang="en-GB" b="1" dirty="0"/>
              <a:t>IT</a:t>
            </a:r>
            <a:r>
              <a:rPr lang="en-GB" dirty="0"/>
              <a:t>=Italy;</a:t>
            </a:r>
            <a:r>
              <a:rPr lang="en-GB" b="1" dirty="0"/>
              <a:t> PT</a:t>
            </a:r>
            <a:r>
              <a:rPr lang="en-GB" dirty="0"/>
              <a:t>=Portugal; </a:t>
            </a:r>
            <a:r>
              <a:rPr lang="en-GB" b="1" dirty="0"/>
              <a:t>ES</a:t>
            </a:r>
            <a:r>
              <a:rPr lang="en-GB" dirty="0"/>
              <a:t>=Spain;</a:t>
            </a:r>
            <a:r>
              <a:rPr lang="en-GB" b="1" dirty="0"/>
              <a:t> UK</a:t>
            </a:r>
            <a:r>
              <a:rPr lang="en-GB" dirty="0"/>
              <a:t>=United Kingdom;</a:t>
            </a:r>
            <a:r>
              <a:rPr lang="en-US" dirty="0"/>
              <a:t> </a:t>
            </a:r>
            <a:endParaRPr lang="el-GR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C7BCE3-5F73-0093-86F5-23D29CCCAEAE}"/>
              </a:ext>
            </a:extLst>
          </p:cNvPr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3425" y="5303838"/>
            <a:ext cx="265113" cy="26511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B58B816-75EB-BE3F-9034-DCBD21FE8674}"/>
              </a:ext>
            </a:extLst>
          </p:cNvPr>
          <p:cNvPicPr>
            <a:picLocks noChangeAspect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9438" y="5322888"/>
            <a:ext cx="249238" cy="24923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22CA445-C326-3175-5B40-A5961FA654CB}"/>
              </a:ext>
            </a:extLst>
          </p:cNvPr>
          <p:cNvPicPr>
            <a:picLocks noChangeAspect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450" y="5322888"/>
            <a:ext cx="263525" cy="26352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CC8F4C1-2C93-F24A-7967-2A5EF0D14957}"/>
              </a:ext>
            </a:extLst>
          </p:cNvPr>
          <p:cNvPicPr>
            <a:picLocks noChangeAspect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7413" y="5295900"/>
            <a:ext cx="263525" cy="26352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522E74D-1463-F65E-3DCC-F83217571EA3}"/>
              </a:ext>
            </a:extLst>
          </p:cNvPr>
          <p:cNvPicPr>
            <a:picLocks noChangeAspect="1"/>
          </p:cNvPicPr>
          <p:nvPr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1688" y="5303838"/>
            <a:ext cx="265113" cy="26511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9C5E7E5-AA1A-5241-907D-9A0CDDDC3B79}"/>
              </a:ext>
            </a:extLst>
          </p:cNvPr>
          <p:cNvPicPr>
            <a:picLocks noChangeAspect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6788" y="5322888"/>
            <a:ext cx="265113" cy="26511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F997AB5-81B9-E9C0-513D-5C80B23E7CAD}"/>
              </a:ext>
            </a:extLst>
          </p:cNvPr>
          <p:cNvPicPr>
            <a:picLocks noChangeAspect="1"/>
          </p:cNvPicPr>
          <p:nvPr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5638" y="5305425"/>
            <a:ext cx="263525" cy="263525"/>
          </a:xfrm>
          <a:prstGeom prst="rect">
            <a:avLst/>
          </a:prstGeom>
        </p:spPr>
      </p:pic>
      <p:pic>
        <p:nvPicPr>
          <p:cNvPr id="8202" name="Picture 8201">
            <a:extLst>
              <a:ext uri="{FF2B5EF4-FFF2-40B4-BE49-F238E27FC236}">
                <a16:creationId xmlns:a16="http://schemas.microsoft.com/office/drawing/2014/main" id="{B032F618-E36E-5A88-6850-CE60F71F88F6}"/>
              </a:ext>
            </a:extLst>
          </p:cNvPr>
          <p:cNvPicPr>
            <a:picLocks noChangeAspect="1"/>
          </p:cNvPicPr>
          <p:nvPr/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3475" y="5322888"/>
            <a:ext cx="265113" cy="265113"/>
          </a:xfrm>
          <a:prstGeom prst="rect">
            <a:avLst/>
          </a:prstGeom>
        </p:spPr>
      </p:pic>
      <p:cxnSp>
        <p:nvCxnSpPr>
          <p:cNvPr id="8281" name="Straight Connector 8280">
            <a:extLst>
              <a:ext uri="{FF2B5EF4-FFF2-40B4-BE49-F238E27FC236}">
                <a16:creationId xmlns:a16="http://schemas.microsoft.com/office/drawing/2014/main" id="{DA9BF41A-5546-0C0D-E155-6DB14F31D6D1}"/>
              </a:ext>
            </a:extLst>
          </p:cNvPr>
          <p:cNvCxnSpPr>
            <a:cxnSpLocks/>
          </p:cNvCxnSpPr>
          <p:nvPr/>
        </p:nvCxnSpPr>
        <p:spPr>
          <a:xfrm>
            <a:off x="468748" y="1648910"/>
            <a:ext cx="11254499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82" name="Rektangel 76">
            <a:extLst>
              <a:ext uri="{FF2B5EF4-FFF2-40B4-BE49-F238E27FC236}">
                <a16:creationId xmlns:a16="http://schemas.microsoft.com/office/drawing/2014/main" id="{72EA9833-2EC1-F604-5C46-D29C7E53F1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747" y="1659797"/>
            <a:ext cx="9515703" cy="318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72000" rIns="0" bIns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1600" b="1" noProof="1">
                <a:solidFill>
                  <a:schemeClr val="accent1"/>
                </a:solidFill>
                <a:cs typeface="Arial" charset="0"/>
              </a:rPr>
              <a:t>Market shares of Gx per country – (MAT/03/23)</a:t>
            </a:r>
          </a:p>
        </p:txBody>
      </p:sp>
      <p:pic>
        <p:nvPicPr>
          <p:cNvPr id="8307" name="Picture 8306" descr="Greece.png">
            <a:extLst>
              <a:ext uri="{FF2B5EF4-FFF2-40B4-BE49-F238E27FC236}">
                <a16:creationId xmlns:a16="http://schemas.microsoft.com/office/drawing/2014/main" id="{C523CA1C-0BCD-273F-49E5-2C6151A4B814}"/>
              </a:ext>
            </a:extLst>
          </p:cNvPr>
          <p:cNvPicPr>
            <a:picLocks noChangeAspect="1"/>
          </p:cNvPicPr>
          <p:nvPr/>
        </p:nvPicPr>
        <p:blipFill>
          <a:blip r:embed="rId45" cstate="print"/>
          <a:stretch>
            <a:fillRect/>
          </a:stretch>
        </p:blipFill>
        <p:spPr>
          <a:xfrm>
            <a:off x="1194445" y="5289817"/>
            <a:ext cx="324000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74177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ease contact us for more information</a:t>
            </a:r>
          </a:p>
        </p:txBody>
      </p:sp>
      <p:sp>
        <p:nvSpPr>
          <p:cNvPr id="17" name="Rektangel 76">
            <a:extLst>
              <a:ext uri="{FF2B5EF4-FFF2-40B4-BE49-F238E27FC236}">
                <a16:creationId xmlns:a16="http://schemas.microsoft.com/office/drawing/2014/main" id="{A9ED50E5-F723-44D2-947E-E961635130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4932" y="1218624"/>
            <a:ext cx="5391737" cy="1097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7200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kos Kostar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neral Manager, Gree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lephone: +30 6947 008 207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8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-Mail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Kostaras@gr.imshealth.com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A3E0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D5A86BD-10C9-4445-B13E-7C610597E71D}"/>
              </a:ext>
            </a:extLst>
          </p:cNvPr>
          <p:cNvCxnSpPr/>
          <p:nvPr/>
        </p:nvCxnSpPr>
        <p:spPr>
          <a:xfrm>
            <a:off x="4446671" y="1105367"/>
            <a:ext cx="7265904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ktangel 76">
            <a:extLst>
              <a:ext uri="{FF2B5EF4-FFF2-40B4-BE49-F238E27FC236}">
                <a16:creationId xmlns:a16="http://schemas.microsoft.com/office/drawing/2014/main" id="{A9ED50E5-F723-44D2-947E-E961635130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4931" y="2542418"/>
            <a:ext cx="7257644" cy="1303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7200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stantinos Georgio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d of Consulting, Gree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lephone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+mn-cs"/>
              </a:rPr>
              <a:t>+30 6908 445 281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86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-Mail: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+mn-cs"/>
              </a:rPr>
              <a:t>konstantinos.georgiou@iqvia.com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A3E0"/>
              </a:solidFill>
              <a:effectLst/>
              <a:uLnTx/>
              <a:uFillTx/>
              <a:latin typeface="Arial" panose="020B0604020202020204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A3E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5A86BD-10C9-4445-B13E-7C610597E71D}"/>
              </a:ext>
            </a:extLst>
          </p:cNvPr>
          <p:cNvCxnSpPr/>
          <p:nvPr/>
        </p:nvCxnSpPr>
        <p:spPr>
          <a:xfrm>
            <a:off x="4446670" y="2429161"/>
            <a:ext cx="7265905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D5A86BD-10C9-4445-B13E-7C610597E71D}"/>
              </a:ext>
            </a:extLst>
          </p:cNvPr>
          <p:cNvCxnSpPr/>
          <p:nvPr/>
        </p:nvCxnSpPr>
        <p:spPr>
          <a:xfrm>
            <a:off x="4446669" y="3752955"/>
            <a:ext cx="7265906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ktangel 76">
            <a:extLst>
              <a:ext uri="{FF2B5EF4-FFF2-40B4-BE49-F238E27FC236}">
                <a16:creationId xmlns:a16="http://schemas.microsoft.com/office/drawing/2014/main" id="{A9ED50E5-F723-44D2-947E-E961635130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63192" y="3866212"/>
            <a:ext cx="5391737" cy="1057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7200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tros Vamvakar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r. Consultant, Gree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lephone: +30 6947 306 87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-Mail: 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tros.vamvakaris@iqvia.com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A3E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D5A86BD-10C9-4445-B13E-7C610597E71D}"/>
              </a:ext>
            </a:extLst>
          </p:cNvPr>
          <p:cNvCxnSpPr/>
          <p:nvPr/>
        </p:nvCxnSpPr>
        <p:spPr>
          <a:xfrm>
            <a:off x="4463192" y="5076748"/>
            <a:ext cx="7260061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FE929811-9672-4A0D-B8A7-0EFAA8ECF7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68746" y="1105367"/>
            <a:ext cx="3748626" cy="4961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87620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330D6E1-2AC1-410D-B893-FFE6ECFF8A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330D6E1-2AC1-410D-B893-FFE6ECFF8A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28D7DE98-696A-43BD-99C9-30170452DEF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en-US" sz="36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1A5DDDA-5D32-4992-837B-29EB655A5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59764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D09AF58E-1C25-4905-9A27-221B6B44A0A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28160" y="835016"/>
            <a:ext cx="6999461" cy="4999475"/>
          </a:xfrm>
        </p:spPr>
        <p:txBody>
          <a:bodyPr/>
          <a:lstStyle/>
          <a:p>
            <a:pPr marL="0" indent="0">
              <a:spcBef>
                <a:spcPts val="1200"/>
              </a:spcBef>
              <a:buNone/>
              <a:tabLst>
                <a:tab pos="8296275" algn="r"/>
              </a:tabLst>
            </a:pPr>
            <a:endParaRPr lang="en-US" dirty="0"/>
          </a:p>
          <a:p>
            <a:pPr>
              <a:spcBef>
                <a:spcPts val="1200"/>
              </a:spcBef>
              <a:tabLst>
                <a:tab pos="8296275" algn="r"/>
              </a:tabLst>
            </a:pPr>
            <a:r>
              <a:rPr lang="en-US" dirty="0"/>
              <a:t>Market Overview</a:t>
            </a:r>
          </a:p>
          <a:p>
            <a:pPr>
              <a:spcBef>
                <a:spcPts val="1200"/>
              </a:spcBef>
              <a:buClr>
                <a:srgbClr val="00A3E0"/>
              </a:buClr>
              <a:tabLst>
                <a:tab pos="8296275" algn="r"/>
              </a:tabLst>
            </a:pPr>
            <a:r>
              <a:rPr lang="en-US" dirty="0"/>
              <a:t>Analysis by ATC</a:t>
            </a:r>
          </a:p>
          <a:p>
            <a:pPr>
              <a:spcBef>
                <a:spcPts val="1200"/>
              </a:spcBef>
              <a:buClr>
                <a:srgbClr val="00A3E0"/>
              </a:buClr>
              <a:tabLst>
                <a:tab pos="8296275" algn="r"/>
              </a:tabLst>
            </a:pPr>
            <a:r>
              <a:rPr lang="en-US" dirty="0"/>
              <a:t>Price evolution</a:t>
            </a:r>
          </a:p>
          <a:p>
            <a:pPr>
              <a:spcBef>
                <a:spcPts val="1200"/>
              </a:spcBef>
              <a:buClr>
                <a:srgbClr val="00A3E0"/>
              </a:buClr>
              <a:tabLst>
                <a:tab pos="8296275" algn="r"/>
              </a:tabLst>
            </a:pPr>
            <a:r>
              <a:rPr lang="en-US" dirty="0"/>
              <a:t>Substitution analysis (Market Dynamics)</a:t>
            </a:r>
          </a:p>
          <a:p>
            <a:pPr>
              <a:spcBef>
                <a:spcPts val="1200"/>
              </a:spcBef>
              <a:buClr>
                <a:srgbClr val="00A3E0"/>
              </a:buClr>
              <a:tabLst>
                <a:tab pos="8296275" algn="r"/>
              </a:tabLst>
            </a:pPr>
            <a:r>
              <a:rPr lang="en-US" dirty="0"/>
              <a:t>EU Benchmarking</a:t>
            </a:r>
          </a:p>
          <a:p>
            <a:pPr>
              <a:spcBef>
                <a:spcPts val="1200"/>
              </a:spcBef>
              <a:tabLst>
                <a:tab pos="8296275" algn="r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05473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D09AF58E-1C25-4905-9A27-221B6B44A0A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28160" y="835016"/>
            <a:ext cx="6999461" cy="4999475"/>
          </a:xfrm>
        </p:spPr>
        <p:txBody>
          <a:bodyPr/>
          <a:lstStyle/>
          <a:p>
            <a:pPr marL="0" indent="0">
              <a:spcBef>
                <a:spcPts val="1200"/>
              </a:spcBef>
              <a:buNone/>
              <a:tabLst>
                <a:tab pos="8296275" algn="r"/>
              </a:tabLst>
            </a:pPr>
            <a:endParaRPr lang="en-US" dirty="0"/>
          </a:p>
          <a:p>
            <a:pPr>
              <a:spcBef>
                <a:spcPts val="1200"/>
              </a:spcBef>
              <a:tabLst>
                <a:tab pos="8296275" algn="r"/>
              </a:tabLst>
            </a:pPr>
            <a:r>
              <a:rPr lang="en-US" dirty="0"/>
              <a:t>Market Overview</a:t>
            </a:r>
          </a:p>
          <a:p>
            <a:pPr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tabLst>
                <a:tab pos="8296275" algn="r"/>
              </a:tabLst>
            </a:pPr>
            <a:r>
              <a:rPr lang="en-US" dirty="0">
                <a:solidFill>
                  <a:schemeClr val="tx2">
                    <a:lumMod val="40000"/>
                    <a:lumOff val="60000"/>
                  </a:schemeClr>
                </a:solidFill>
              </a:rPr>
              <a:t>Analysis by ATC</a:t>
            </a:r>
          </a:p>
          <a:p>
            <a:pPr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tabLst>
                <a:tab pos="8296275" algn="r"/>
              </a:tabLst>
            </a:pPr>
            <a:r>
              <a:rPr lang="en-US" dirty="0">
                <a:solidFill>
                  <a:schemeClr val="tx2">
                    <a:lumMod val="40000"/>
                    <a:lumOff val="60000"/>
                  </a:schemeClr>
                </a:solidFill>
              </a:rPr>
              <a:t>Price evolution</a:t>
            </a:r>
          </a:p>
          <a:p>
            <a:pPr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tabLst>
                <a:tab pos="8296275" algn="r"/>
              </a:tabLst>
            </a:pPr>
            <a:r>
              <a:rPr lang="en-US" dirty="0">
                <a:solidFill>
                  <a:schemeClr val="tx2">
                    <a:lumMod val="40000"/>
                    <a:lumOff val="60000"/>
                  </a:schemeClr>
                </a:solidFill>
              </a:rPr>
              <a:t>Substitution analysis (Market Dynamics)</a:t>
            </a:r>
          </a:p>
          <a:p>
            <a:pPr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tabLst>
                <a:tab pos="8296275" algn="r"/>
              </a:tabLst>
            </a:pPr>
            <a:r>
              <a:rPr lang="en-US" dirty="0">
                <a:solidFill>
                  <a:schemeClr val="tx2">
                    <a:lumMod val="40000"/>
                    <a:lumOff val="60000"/>
                  </a:schemeClr>
                </a:solidFill>
              </a:rPr>
              <a:t>EU Benchmarking</a:t>
            </a:r>
          </a:p>
          <a:p>
            <a:pPr>
              <a:spcBef>
                <a:spcPts val="1200"/>
              </a:spcBef>
              <a:tabLst>
                <a:tab pos="8296275" algn="r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2823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248764A-8947-426D-9B8F-679FB0D21B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69245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592" imgH="591" progId="TCLayout.ActiveDocument.1">
                  <p:embed/>
                </p:oleObj>
              </mc:Choice>
              <mc:Fallback>
                <p:oleObj name="think-cell Slide" r:id="rId36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248764A-8947-426D-9B8F-679FB0D21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000" dirty="0" err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57001C-F64B-4E1B-8D21-DBED4E4ACF7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TOTAL marke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C2F8F7-85C5-496F-8D0F-A4F6F6E7E5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Note: Excluding all L.3816 products; Monthly-level decomposition by supply-chain drive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arket size in values (PSP) – By Reimbursable status – MAT/03/23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€4.55B the estimated pharma market size at retail prices (excl. L.3816 drugs)</a:t>
            </a:r>
          </a:p>
        </p:txBody>
      </p:sp>
      <p:cxnSp>
        <p:nvCxnSpPr>
          <p:cNvPr id="42" name="Straight Connector 41"/>
          <p:cNvCxnSpPr/>
          <p:nvPr>
            <p:custDataLst>
              <p:tags r:id="rId3"/>
            </p:custDataLst>
          </p:nvPr>
        </p:nvCxnSpPr>
        <p:spPr bwMode="auto">
          <a:xfrm>
            <a:off x="3986213" y="4178300"/>
            <a:ext cx="768350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Straight Connector 42"/>
          <p:cNvCxnSpPr/>
          <p:nvPr>
            <p:custDataLst>
              <p:tags r:id="rId4"/>
            </p:custDataLst>
          </p:nvPr>
        </p:nvCxnSpPr>
        <p:spPr bwMode="auto">
          <a:xfrm>
            <a:off x="2255838" y="4208463"/>
            <a:ext cx="768350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1" name="Straight Connector 40"/>
          <p:cNvCxnSpPr/>
          <p:nvPr>
            <p:custDataLst>
              <p:tags r:id="rId5"/>
            </p:custDataLst>
          </p:nvPr>
        </p:nvCxnSpPr>
        <p:spPr bwMode="auto">
          <a:xfrm>
            <a:off x="5716588" y="3563938"/>
            <a:ext cx="768350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35"/>
          <p:cNvCxnSpPr/>
          <p:nvPr>
            <p:custDataLst>
              <p:tags r:id="rId6"/>
            </p:custDataLst>
          </p:nvPr>
        </p:nvCxnSpPr>
        <p:spPr bwMode="auto">
          <a:xfrm>
            <a:off x="7446963" y="3387725"/>
            <a:ext cx="768350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0" name="Straight Connector 39"/>
          <p:cNvCxnSpPr/>
          <p:nvPr>
            <p:custDataLst>
              <p:tags r:id="rId7"/>
            </p:custDataLst>
          </p:nvPr>
        </p:nvCxnSpPr>
        <p:spPr bwMode="auto">
          <a:xfrm>
            <a:off x="9177338" y="3340100"/>
            <a:ext cx="768350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D86AB61E-CFE3-3734-B573-FCFC04CF2C1F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447605797"/>
              </p:ext>
            </p:extLst>
          </p:nvPr>
        </p:nvGraphicFramePr>
        <p:xfrm>
          <a:off x="549275" y="2300288"/>
          <a:ext cx="10825163" cy="2592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57" name="Rectangle 18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060950" y="4837113"/>
            <a:ext cx="349250" cy="3048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7AEE0AAE-4C8B-4939-B51C-49E30283329A}" type="datetime'I''Q''''''''V''''''''''''''I''A''''&#10;''T''o''''''t''''''al'">
              <a:rPr lang="en-US" altLang="en-US" sz="1000">
                <a:cs typeface="Arial" panose="020B0604020202020204" pitchFamily="34" charset="0"/>
              </a:rPr>
              <a:pPr/>
              <a:t>IQVIA
Total</a:t>
            </a:fld>
            <a:endParaRPr lang="en-US" sz="10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635125" y="4010025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618C2721-E4C6-4D6F-93A5-35DC9E57F627}" type="datetime'''''''''''''''3''''''''.''18'''''''''''''''''''''''''''">
              <a:rPr lang="en-US" altLang="en-US" sz="1000" smtClean="0">
                <a:solidFill>
                  <a:schemeClr val="tx1"/>
                </a:solidFill>
                <a:latin typeface="+mn-lt"/>
                <a:cs typeface="+mn-cs"/>
              </a:rPr>
              <a:pPr/>
              <a:t>3.18</a:t>
            </a:fld>
            <a:endParaRPr lang="el-GR" sz="1000" dirty="0">
              <a:solidFill>
                <a:schemeClr val="tx1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84519CE-791B-47B7-9F51-0F17E61717F9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3606800" y="4103688"/>
            <a:ext cx="279400" cy="152400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1FC12C4-C37C-4F4D-B7FD-47555FD3517C}" type="datetime'''''''''''''''0''''''''''''.''''''''''''''''02'">
              <a:rPr lang="en-US" altLang="en-US" sz="1000" smtClean="0">
                <a:solidFill>
                  <a:schemeClr val="bg1"/>
                </a:solidFill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02</a:t>
            </a:fld>
            <a:endParaRPr lang="en-US" sz="10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3861E61-56D7-4981-9CB1-728DD8EF7491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1635125" y="4162425"/>
            <a:ext cx="279400" cy="152400"/>
          </a:xfrm>
          <a:prstGeom prst="rect">
            <a:avLst/>
          </a:prstGeom>
          <a:solidFill>
            <a:srgbClr val="25B4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2B193C7-9635-483E-9830-70086938EA58}" type="datetime'''''''''0''''''.3''''3'''">
              <a:rPr lang="en-US" altLang="en-US" sz="1000" smtClean="0">
                <a:solidFill>
                  <a:schemeClr val="bg1"/>
                </a:solidFill>
                <a:effectLst/>
              </a:rPr>
              <a:pPr/>
              <a:t>0.33</a:t>
            </a:fld>
            <a:endParaRPr lang="en-US" sz="10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58" name="Rectangle 5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33437" y="2139950"/>
            <a:ext cx="15398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anchor="b">
            <a:noAutofit/>
          </a:bodyPr>
          <a:lstStyle/>
          <a:p>
            <a:pPr algn="ctr"/>
            <a:r>
              <a:rPr lang="el-GR" sz="1000" dirty="0">
                <a:latin typeface="Arial"/>
                <a:cs typeface="Arial"/>
                <a:sym typeface="Arial"/>
              </a:rPr>
              <a:t>Β€</a:t>
            </a:r>
            <a:endParaRPr lang="en-US" sz="1000" dirty="0">
              <a:latin typeface="Arial"/>
              <a:cs typeface="Arial"/>
              <a:sym typeface="Arial"/>
            </a:endParaRPr>
          </a:p>
        </p:txBody>
      </p:sp>
      <p:sp>
        <p:nvSpPr>
          <p:cNvPr id="64" name="Rectangle 45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579563" y="4837113"/>
            <a:ext cx="392112" cy="3048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DD7B1D09-1E71-4D71-A02B-80684B25EC20}" type="datetime'''''''E''''''x''''''''-''''''&#10;''fa''c''''''''t''''''o''ry'">
              <a:rPr lang="en-US" altLang="en-US" sz="1000">
                <a:cs typeface="Arial" panose="020B0604020202020204" pitchFamily="34" charset="0"/>
              </a:rPr>
              <a:pPr/>
              <a:t>Ex-
factory</a:t>
            </a:fld>
            <a:endParaRPr lang="en-US" sz="10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0E2312C-1A84-4CDF-9EB5-E3E2532BEF35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5095875" y="3519488"/>
            <a:ext cx="279400" cy="152400"/>
          </a:xfrm>
          <a:prstGeom prst="rect">
            <a:avLst/>
          </a:prstGeom>
          <a:solidFill>
            <a:srgbClr val="25B4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5E61031-CD86-471F-B6C3-94DEEFEBC6F0}" type="datetime'''''''0''''''.''''''''3''''''''6'">
              <a:rPr lang="en-US" altLang="en-US" sz="1000" smtClean="0">
                <a:solidFill>
                  <a:schemeClr val="bg1"/>
                </a:solidFill>
                <a:effectLst/>
              </a:rPr>
              <a:pPr/>
              <a:t>0.36</a:t>
            </a:fld>
            <a:endParaRPr lang="en-US" sz="1000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65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067550" y="3322638"/>
            <a:ext cx="279400" cy="152400"/>
          </a:xfrm>
          <a:prstGeom prst="rect">
            <a:avLst/>
          </a:prstGeom>
          <a:solidFill>
            <a:srgbClr val="25B4FF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7140254E-5B3D-44B7-A071-9FC99B9F8D83}" type="datetime'''''0''''''''''''''''.''''''''12'''''''''''''''''''''''">
              <a:rPr lang="en-US" altLang="en-US" sz="1000" smtClean="0">
                <a:solidFill>
                  <a:schemeClr val="bg1"/>
                </a:solidFill>
                <a:effectLst/>
                <a:latin typeface="+mn-lt"/>
                <a:cs typeface="+mn-cs"/>
              </a:rPr>
              <a:pPr/>
              <a:t>0.12</a:t>
            </a:fld>
            <a:endParaRPr lang="el-GR" sz="1000" dirty="0">
              <a:solidFill>
                <a:schemeClr val="bg1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64E760E-B4AE-49C8-AE2F-87DB7BC57C74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3125788" y="4119563"/>
            <a:ext cx="279400" cy="1524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3508116-8109-4890-A9F9-0D3C7676ECFE}" type="datetime'0''''''''''''''''''''''''''.''''''''1''''''4'">
              <a:rPr lang="en-US" altLang="en-US" sz="1000" smtClean="0">
                <a:solidFill>
                  <a:schemeClr val="bg1"/>
                </a:solidFill>
                <a:effectLst/>
              </a:rPr>
              <a:pPr/>
              <a:t>0.14</a:t>
            </a:fld>
            <a:endParaRPr lang="en-US" sz="10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556625" y="3114675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4F4EEBF-395C-4E95-9AD5-B3BBED0EA0A6}" type="datetime'''''''''''''0''''''''''''''''''''''.''2''''''6'">
              <a:rPr lang="en-US" altLang="en-US" sz="1000" smtClean="0">
                <a:solidFill>
                  <a:schemeClr val="tx1"/>
                </a:solidFill>
                <a:latin typeface="+mn-lt"/>
                <a:cs typeface="+mn-cs"/>
              </a:rPr>
              <a:pPr/>
              <a:t>0.26</a:t>
            </a:fld>
            <a:endParaRPr lang="el-GR" sz="1000" dirty="0">
              <a:solidFill>
                <a:schemeClr val="tx1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56" name="Rectangle 4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675438" y="4837113"/>
            <a:ext cx="582613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0349B373-AF4F-4347-918C-9096A5CA0F68}" type="datetime'''P''''har''m''''a''''''''''''''''''''''c''''''''''''''''''y'">
              <a:rPr lang="en-US" altLang="en-US" sz="1000">
                <a:cs typeface="Arial" panose="020B0604020202020204" pitchFamily="34" charset="0"/>
              </a:rPr>
              <a:pPr/>
              <a:t>Pharmacy</a:t>
            </a:fld>
            <a:endParaRPr lang="en-US" sz="10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63" name="Rectangle 52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203575" y="4837113"/>
            <a:ext cx="603250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D6F81739-EACF-4B17-AE4E-5B562A4FC5C0}" type="datetime'''''''''''''''W''''''''h''''ole''''''''''''''''sale'''">
              <a:rPr lang="en-US" altLang="en-US" sz="1000">
                <a:cs typeface="Arial" panose="020B0604020202020204" pitchFamily="34" charset="0"/>
              </a:rPr>
              <a:pPr/>
              <a:t>Wholesale</a:t>
            </a:fld>
            <a:endParaRPr lang="en-US" sz="10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48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095875" y="3367088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7B3E276-BA6E-4821-97A4-3D84A840D085}" type="datetime'''''''''3''''''''''''''''''''''.''''''''''''''''''3''''4'''">
              <a:rPr lang="en-US" altLang="en-US" sz="1000" smtClean="0">
                <a:solidFill>
                  <a:schemeClr val="tx1"/>
                </a:solidFill>
                <a:latin typeface="+mn-lt"/>
                <a:cs typeface="+mn-cs"/>
              </a:rPr>
              <a:pPr/>
              <a:t>3.34</a:t>
            </a:fld>
            <a:endParaRPr lang="el-GR" sz="1000" dirty="0">
              <a:solidFill>
                <a:schemeClr val="tx1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D3AFBF3-D07C-43A1-A5AC-575D74BC8B09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8797925" y="3267075"/>
            <a:ext cx="279400" cy="152400"/>
          </a:xfrm>
          <a:prstGeom prst="rect">
            <a:avLst/>
          </a:prstGeom>
          <a:solidFill>
            <a:srgbClr val="25B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57F18BD-8FBA-4FA2-A574-688E10850DEC}" type="datetime'''''0''''''''''''''.''''''0''3'''''''''''''''">
              <a:rPr lang="en-US" altLang="en-US" sz="1000" smtClean="0">
                <a:solidFill>
                  <a:schemeClr val="bg1"/>
                </a:solidFill>
                <a:effectLst/>
              </a:rPr>
              <a:pPr/>
              <a:t>0.03</a:t>
            </a:fld>
            <a:endParaRPr lang="en-US" sz="10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B28AF68-7FC4-44DD-A3CC-EBF447A33421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8316913" y="3290888"/>
            <a:ext cx="279400" cy="1524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01D69ED-F52F-46EE-9678-DE42DE1005E1}" type="datetime'''''''0''''''.''''''''''''''''''''2''''''''''3'''''''''''''">
              <a:rPr lang="en-US" altLang="en-US" sz="1000" smtClean="0">
                <a:solidFill>
                  <a:schemeClr val="bg1"/>
                </a:solidFill>
                <a:effectLst/>
              </a:rPr>
              <a:pPr/>
              <a:t>0.23</a:t>
            </a:fld>
            <a:endParaRPr lang="en-US" sz="10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55" name="Rectangle 39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8524874" y="4837113"/>
            <a:ext cx="344488" cy="3048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B3CD24C3-F651-4A3F-9AC1-CF5F26A3AE5B}" type="datetime'S''''t''''''''''a''''''''t''''''e&#10;(''''''''''''VA''''''''T'')'">
              <a:rPr lang="en-US" altLang="en-US" sz="1000">
                <a:cs typeface="Arial" panose="020B0604020202020204" pitchFamily="34" charset="0"/>
              </a:rPr>
              <a:pPr/>
              <a:t>State
(VAT)</a:t>
            </a:fld>
            <a:endParaRPr lang="en-US" sz="10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7BDCBC6-8C38-464F-BE8E-DC5C281B2F1A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10287000" y="2471738"/>
            <a:ext cx="279400" cy="152400"/>
          </a:xfrm>
          <a:prstGeom prst="rect">
            <a:avLst/>
          </a:prstGeom>
          <a:solidFill>
            <a:srgbClr val="25B4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32D60D5-1C5F-4015-9E71-1DC2597F3A33}" type="datetime'''''''0''''.''''5''''''''''''''''''''1'''''''''''''''''''''">
              <a:rPr lang="en-US" altLang="en-US" sz="1000" smtClean="0">
                <a:solidFill>
                  <a:schemeClr val="bg1"/>
                </a:solidFill>
                <a:effectLst/>
              </a:rPr>
              <a:pPr/>
              <a:t>0.51</a:t>
            </a:fld>
            <a:endParaRPr lang="en-US" sz="10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59" name="Rectangle 58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10047288" y="4837113"/>
            <a:ext cx="758825" cy="4572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7DFB10DA-3856-41E6-8E97-F66A547BE61E}" type="datetime'Tota''l''&#10;''R''e''''tai''l'''' m''arket''&#10;M''AT''/03/''2''''3'">
              <a:rPr lang="en-US" altLang="en-US" sz="1000" smtClean="0">
                <a:effectLst/>
              </a:rPr>
              <a:pPr/>
              <a:t>Total
Retail market
MAT/03/23</a:t>
            </a:fld>
            <a:endParaRPr lang="en-US" sz="10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60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365500" y="3951288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3F5BBA2-C5AB-414B-86E8-24F0E540996F}" type="datetime'''''''''0''''''.''''''''''''''''''''''''''''''''''16'''''''''">
              <a:rPr lang="en-US" altLang="en-US" sz="1000" smtClean="0">
                <a:solidFill>
                  <a:schemeClr val="tx1"/>
                </a:solidFill>
                <a:latin typeface="+mn-lt"/>
                <a:cs typeface="+mn-cs"/>
              </a:rPr>
              <a:pPr/>
              <a:t>0.16</a:t>
            </a:fld>
            <a:endParaRPr lang="el-GR" sz="1000" dirty="0">
              <a:solidFill>
                <a:schemeClr val="tx1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62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826250" y="3170238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5C9F8C5-C6C4-4323-AD6A-4FE4FE0D4406}" type="datetime'''''0''''''''''.''''9''''''''5'''''''''''''''''''''">
              <a:rPr lang="en-US" altLang="en-US" sz="1000" smtClean="0">
                <a:solidFill>
                  <a:schemeClr val="tx1"/>
                </a:solidFill>
                <a:latin typeface="+mn-lt"/>
                <a:cs typeface="+mn-cs"/>
              </a:rPr>
              <a:pPr/>
              <a:t>0.95</a:t>
            </a:fld>
            <a:endParaRPr lang="el-GR" sz="1000" dirty="0">
              <a:solidFill>
                <a:schemeClr val="tx1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287000" y="2319338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6558EA6-88E0-4F60-B9F7-3120AEE1A895}" type="datetime'''''4.''''''''''''''''5''''''''''''''''''''5'''''''''''''''">
              <a:rPr lang="en-US" altLang="en-US" sz="1000" smtClean="0">
                <a:solidFill>
                  <a:schemeClr val="tx1"/>
                </a:solidFill>
                <a:latin typeface="+mn-lt"/>
                <a:cs typeface="+mn-cs"/>
              </a:rPr>
              <a:pPr/>
              <a:t>4.55</a:t>
            </a:fld>
            <a:endParaRPr lang="el-GR" sz="1000" dirty="0">
              <a:solidFill>
                <a:schemeClr val="tx1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71" name="Rectangle 70"/>
          <p:cNvSpPr/>
          <p:nvPr>
            <p:custDataLst>
              <p:tags r:id="rId30"/>
            </p:custDataLst>
          </p:nvPr>
        </p:nvSpPr>
        <p:spPr bwMode="auto">
          <a:xfrm>
            <a:off x="1217613" y="1857375"/>
            <a:ext cx="179388" cy="133350"/>
          </a:xfrm>
          <a:prstGeom prst="rect">
            <a:avLst/>
          </a:prstGeom>
          <a:solidFill>
            <a:srgbClr val="25B4FF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400" dirty="0">
              <a:latin typeface="Arial"/>
            </a:endParaRPr>
          </a:p>
        </p:txBody>
      </p:sp>
      <p:sp>
        <p:nvSpPr>
          <p:cNvPr id="72" name="Rectangle 71"/>
          <p:cNvSpPr/>
          <p:nvPr>
            <p:custDataLst>
              <p:tags r:id="rId31"/>
            </p:custDataLst>
          </p:nvPr>
        </p:nvSpPr>
        <p:spPr bwMode="auto">
          <a:xfrm>
            <a:off x="1217613" y="2060575"/>
            <a:ext cx="179388" cy="133350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400" dirty="0">
              <a:latin typeface="Arial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447800" y="1852613"/>
            <a:ext cx="10556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B8AA4C22-6C02-43F3-8776-DAE1608F5FC8}" type="datetime'''''''N''''on-''''R''''''''eim''b''ur''s''''a''''bl''e'">
              <a:rPr lang="el-GR" altLang="en-US" sz="1000">
                <a:solidFill>
                  <a:schemeClr val="tx1"/>
                </a:solidFill>
              </a:rPr>
              <a:pPr/>
              <a:t>Non-Reimbursable</a:t>
            </a:fld>
            <a:endParaRPr lang="el-GR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447800" y="2055813"/>
            <a:ext cx="781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72137CF9-6EC1-43F1-86B0-6B50FD5FF88E}" type="datetime'R''''''''''''e''i''''mbur''''s''''''''''a''''''''''b''le'''">
              <a:rPr lang="el-GR" altLang="en-US" sz="1000">
                <a:solidFill>
                  <a:schemeClr val="tx1"/>
                </a:solidFill>
              </a:rPr>
              <a:pPr/>
              <a:t>Reimbursable</a:t>
            </a:fld>
            <a:endParaRPr lang="el-GR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Rectangle 76"/>
          <p:cNvSpPr>
            <a:spLocks/>
          </p:cNvSpPr>
          <p:nvPr/>
        </p:nvSpPr>
        <p:spPr bwMode="auto">
          <a:xfrm>
            <a:off x="4714856" y="2177680"/>
            <a:ext cx="1038225" cy="3636000"/>
          </a:xfrm>
          <a:prstGeom prst="rect">
            <a:avLst/>
          </a:prstGeom>
          <a:noFill/>
          <a:ln w="9525" cap="flat" cmpd="sng" algn="ctr">
            <a:solidFill>
              <a:srgbClr val="005187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endParaRPr lang="en-US" sz="1000" dirty="0"/>
          </a:p>
        </p:txBody>
      </p:sp>
      <p:sp>
        <p:nvSpPr>
          <p:cNvPr id="78" name="Text Box 76"/>
          <p:cNvSpPr txBox="1">
            <a:spLocks noChangeArrowheads="1"/>
          </p:cNvSpPr>
          <p:nvPr/>
        </p:nvSpPr>
        <p:spPr bwMode="auto">
          <a:xfrm>
            <a:off x="363855" y="5426075"/>
            <a:ext cx="884237" cy="2746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5000"/>
              </a:lnSpc>
              <a:defRPr/>
            </a:pPr>
            <a:r>
              <a:rPr lang="en-US" sz="1050" i="1" dirty="0">
                <a:latin typeface="+mj-lt"/>
                <a:cs typeface="Arial" charset="0"/>
              </a:rPr>
              <a:t>% Share of Retail price:</a:t>
            </a:r>
          </a:p>
        </p:txBody>
      </p:sp>
      <p:sp>
        <p:nvSpPr>
          <p:cNvPr id="79" name="Oval 65"/>
          <p:cNvSpPr>
            <a:spLocks noChangeArrowheads="1"/>
          </p:cNvSpPr>
          <p:nvPr/>
        </p:nvSpPr>
        <p:spPr bwMode="auto">
          <a:xfrm>
            <a:off x="1466284" y="5410564"/>
            <a:ext cx="540000" cy="3240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n-US" sz="1100" dirty="0"/>
              <a:t>69.8%</a:t>
            </a:r>
          </a:p>
        </p:txBody>
      </p:sp>
      <p:sp>
        <p:nvSpPr>
          <p:cNvPr id="80" name="Oval 66"/>
          <p:cNvSpPr>
            <a:spLocks noChangeArrowheads="1"/>
          </p:cNvSpPr>
          <p:nvPr/>
        </p:nvSpPr>
        <p:spPr bwMode="auto">
          <a:xfrm>
            <a:off x="3209746" y="5407025"/>
            <a:ext cx="540000" cy="3240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n-US" sz="1100" dirty="0">
                <a:latin typeface="+mj-lt"/>
              </a:rPr>
              <a:t>3.6%</a:t>
            </a:r>
          </a:p>
        </p:txBody>
      </p:sp>
      <p:sp>
        <p:nvSpPr>
          <p:cNvPr id="81" name="Oval 68"/>
          <p:cNvSpPr>
            <a:spLocks noChangeArrowheads="1"/>
          </p:cNvSpPr>
          <p:nvPr/>
        </p:nvSpPr>
        <p:spPr bwMode="auto">
          <a:xfrm>
            <a:off x="6696670" y="5407025"/>
            <a:ext cx="540000" cy="3240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n-US" sz="1100" dirty="0">
                <a:latin typeface="+mj-lt"/>
              </a:rPr>
              <a:t>20.9%</a:t>
            </a:r>
          </a:p>
        </p:txBody>
      </p:sp>
      <p:sp>
        <p:nvSpPr>
          <p:cNvPr id="82" name="Oval 68"/>
          <p:cNvSpPr>
            <a:spLocks noChangeArrowheads="1"/>
          </p:cNvSpPr>
          <p:nvPr/>
        </p:nvSpPr>
        <p:spPr bwMode="auto">
          <a:xfrm>
            <a:off x="8440131" y="5371964"/>
            <a:ext cx="540000" cy="3240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>
              <a:defRPr/>
            </a:pPr>
            <a:r>
              <a:rPr lang="en-US" sz="1100">
                <a:latin typeface="+mj-lt"/>
              </a:rPr>
              <a:t>5.7%</a:t>
            </a:r>
            <a:endParaRPr lang="en-US" sz="1100" dirty="0">
              <a:latin typeface="+mj-lt"/>
            </a:endParaRPr>
          </a:p>
        </p:txBody>
      </p:sp>
      <p:sp>
        <p:nvSpPr>
          <p:cNvPr id="83" name="TextBox 188"/>
          <p:cNvSpPr txBox="1">
            <a:spLocks/>
          </p:cNvSpPr>
          <p:nvPr/>
        </p:nvSpPr>
        <p:spPr bwMode="auto">
          <a:xfrm>
            <a:off x="4714856" y="5883275"/>
            <a:ext cx="1038225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n-US" sz="1100" i="1" dirty="0">
                <a:latin typeface="+mj-lt"/>
              </a:rPr>
              <a:t>Market at PPP</a:t>
            </a:r>
          </a:p>
        </p:txBody>
      </p:sp>
      <p:sp>
        <p:nvSpPr>
          <p:cNvPr id="84" name="TextBox 188"/>
          <p:cNvSpPr txBox="1">
            <a:spLocks/>
          </p:cNvSpPr>
          <p:nvPr/>
        </p:nvSpPr>
        <p:spPr bwMode="auto">
          <a:xfrm>
            <a:off x="9906136" y="5883275"/>
            <a:ext cx="1038225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n-US" sz="1100" i="1" dirty="0">
                <a:latin typeface="+mj-lt"/>
              </a:rPr>
              <a:t>Market at PSP</a:t>
            </a:r>
          </a:p>
        </p:txBody>
      </p:sp>
      <p:sp>
        <p:nvSpPr>
          <p:cNvPr id="85" name="Oval 67"/>
          <p:cNvSpPr>
            <a:spLocks noChangeArrowheads="1"/>
          </p:cNvSpPr>
          <p:nvPr/>
        </p:nvSpPr>
        <p:spPr bwMode="auto">
          <a:xfrm>
            <a:off x="4953208" y="5407025"/>
            <a:ext cx="540000" cy="324000"/>
          </a:xfrm>
          <a:prstGeom prst="round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100" dirty="0">
                <a:latin typeface="+mj-lt"/>
              </a:rPr>
              <a:t>73.4%</a:t>
            </a:r>
          </a:p>
        </p:txBody>
      </p:sp>
      <p:sp>
        <p:nvSpPr>
          <p:cNvPr id="86" name="Rectangle 85"/>
          <p:cNvSpPr>
            <a:spLocks/>
          </p:cNvSpPr>
          <p:nvPr/>
        </p:nvSpPr>
        <p:spPr bwMode="auto">
          <a:xfrm>
            <a:off x="9906136" y="2177680"/>
            <a:ext cx="1038225" cy="3636000"/>
          </a:xfrm>
          <a:prstGeom prst="rect">
            <a:avLst/>
          </a:prstGeom>
          <a:noFill/>
          <a:ln w="9525" cap="flat" cmpd="sng" algn="ctr">
            <a:solidFill>
              <a:srgbClr val="005187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endParaRPr lang="en-US" sz="1000" dirty="0"/>
          </a:p>
        </p:txBody>
      </p:sp>
      <p:sp>
        <p:nvSpPr>
          <p:cNvPr id="87" name="Rounded Rectangular Callout 86"/>
          <p:cNvSpPr>
            <a:spLocks/>
          </p:cNvSpPr>
          <p:nvPr/>
        </p:nvSpPr>
        <p:spPr bwMode="auto">
          <a:xfrm>
            <a:off x="2443187" y="3311888"/>
            <a:ext cx="914400" cy="360000"/>
          </a:xfrm>
          <a:prstGeom prst="wedgeRoundRectCallout">
            <a:avLst>
              <a:gd name="adj1" fmla="val 34927"/>
              <a:gd name="adj2" fmla="val 103305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 dirty="0">
                <a:latin typeface="+mj-lt"/>
              </a:rPr>
              <a:t>Margin of </a:t>
            </a:r>
            <a:r>
              <a:rPr lang="en-US" sz="1000" b="1" dirty="0">
                <a:latin typeface="+mj-lt"/>
              </a:rPr>
              <a:t>4.9</a:t>
            </a:r>
            <a:r>
              <a:rPr kumimoji="0" lang="en-US" sz="1000" b="1" i="0" u="none" strike="noStrike" cap="none" normalizeH="0" baseline="0" dirty="0">
                <a:ln>
                  <a:noFill/>
                </a:ln>
                <a:effectLst/>
                <a:latin typeface="+mj-lt"/>
              </a:rPr>
              <a:t>%</a:t>
            </a:r>
          </a:p>
        </p:txBody>
      </p:sp>
      <p:sp>
        <p:nvSpPr>
          <p:cNvPr id="88" name="Rounded Rectangular Callout 87"/>
          <p:cNvSpPr/>
          <p:nvPr/>
        </p:nvSpPr>
        <p:spPr bwMode="auto">
          <a:xfrm>
            <a:off x="6990264" y="3915671"/>
            <a:ext cx="1116000" cy="504000"/>
          </a:xfrm>
          <a:prstGeom prst="wedgeRoundRectCallout">
            <a:avLst>
              <a:gd name="adj1" fmla="val -32798"/>
              <a:gd name="adj2" fmla="val -96976"/>
              <a:gd name="adj3" fmla="val 16667"/>
            </a:avLst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 dirty="0">
                <a:latin typeface="+mj-lt"/>
              </a:rPr>
              <a:t>Margin of </a:t>
            </a:r>
            <a:r>
              <a:rPr lang="en-US" sz="1000" b="1" dirty="0">
                <a:latin typeface="+mj-lt"/>
              </a:rPr>
              <a:t>22.2</a:t>
            </a:r>
            <a:r>
              <a:rPr kumimoji="0" lang="en-US" sz="1000" b="1" i="0" u="none" strike="noStrike" cap="none" normalizeH="0" baseline="0" dirty="0">
                <a:ln>
                  <a:noFill/>
                </a:ln>
                <a:effectLst/>
                <a:latin typeface="+mj-lt"/>
              </a:rPr>
              <a:t>%</a:t>
            </a:r>
          </a:p>
          <a:p>
            <a:pPr algn="ctr"/>
            <a:r>
              <a:rPr lang="en-US" sz="1000" dirty="0">
                <a:latin typeface="+mj-lt"/>
              </a:rPr>
              <a:t>(before VAT)</a:t>
            </a: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267F5764-944E-49B8-B4D5-D193805B4F5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013" y="6397157"/>
            <a:ext cx="7560000" cy="110800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E755191-8C00-48D5-A1F8-1E64A0504BC7}"/>
              </a:ext>
            </a:extLst>
          </p:cNvPr>
          <p:cNvSpPr/>
          <p:nvPr/>
        </p:nvSpPr>
        <p:spPr>
          <a:xfrm>
            <a:off x="549275" y="2051050"/>
            <a:ext cx="466726" cy="27860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US" sz="1200" dirty="0" err="1"/>
          </a:p>
        </p:txBody>
      </p:sp>
    </p:spTree>
    <p:extLst>
      <p:ext uri="{BB962C8B-B14F-4D97-AF65-F5344CB8AC3E}">
        <p14:creationId xmlns:p14="http://schemas.microsoft.com/office/powerpoint/2010/main" val="36633751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27295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16" imgH="216" progId="TCLayout.ActiveDocument.1">
                  <p:embed/>
                </p:oleObj>
              </mc:Choice>
              <mc:Fallback>
                <p:oleObj name="think-cell Slide" r:id="rId23" imgW="216" imgH="21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900" dirty="0" err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81CFA0-80DC-4449-8855-9808D501710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TOTAL marke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D442E71-130C-42A9-AB4D-AD95D55696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7012" y="6007481"/>
            <a:ext cx="11246241" cy="221599"/>
          </a:xfrm>
        </p:spPr>
        <p:txBody>
          <a:bodyPr/>
          <a:lstStyle/>
          <a:p>
            <a:r>
              <a:rPr lang="en-US" dirty="0"/>
              <a:t>1. Products segmentation is based on their segmentation status at quarterly &amp; monthly level; 2. Products segmentation is based on their segmentation status at monthly level</a:t>
            </a:r>
          </a:p>
          <a:p>
            <a:r>
              <a:rPr lang="en-US" dirty="0"/>
              <a:t>Note: Excluding all L.3816 products; Classification by On patent, Off patent, Generics and Others is based on </a:t>
            </a:r>
            <a:r>
              <a:rPr lang="en-US" dirty="0" err="1"/>
              <a:t>Sfee</a:t>
            </a:r>
            <a:r>
              <a:rPr lang="en-US" dirty="0"/>
              <a:t>/IQVIA flag; Other includes mainly vaccines</a:t>
            </a:r>
            <a:r>
              <a:rPr lang="el-GR" dirty="0"/>
              <a:t>, </a:t>
            </a:r>
            <a:r>
              <a:rPr lang="en-US" dirty="0"/>
              <a:t>supplements</a:t>
            </a:r>
            <a:r>
              <a:rPr lang="el-GR" dirty="0"/>
              <a:t> </a:t>
            </a:r>
            <a:r>
              <a:rPr lang="en-US" dirty="0"/>
              <a:t>and diabetes tes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arket size in values (PSP) – By product segment – MAT/03/23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~27% the value market share of Generics in MAT/03/23</a:t>
            </a:r>
          </a:p>
        </p:txBody>
      </p:sp>
      <p:sp>
        <p:nvSpPr>
          <p:cNvPr id="28" name="Rektangel 76">
            <a:extLst>
              <a:ext uri="{FF2B5EF4-FFF2-40B4-BE49-F238E27FC236}">
                <a16:creationId xmlns:a16="http://schemas.microsoft.com/office/drawing/2014/main" id="{326E7F72-577B-4989-AB04-FF61C654E8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3253" y="1659797"/>
            <a:ext cx="5399999" cy="318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72000" rIns="0" bIns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1600" b="1" noProof="1">
                <a:solidFill>
                  <a:schemeClr val="accent1"/>
                </a:solidFill>
                <a:cs typeface="Arial" charset="0"/>
              </a:rPr>
              <a:t>Reimbursable status</a:t>
            </a:r>
            <a:r>
              <a:rPr lang="en-US" sz="1600" b="1" baseline="30000" noProof="1">
                <a:solidFill>
                  <a:schemeClr val="accent1"/>
                </a:solidFill>
                <a:cs typeface="Arial" charset="0"/>
              </a:rPr>
              <a:t>2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CAFF733-F603-40D8-B3EB-CA141AB2231F}"/>
              </a:ext>
            </a:extLst>
          </p:cNvPr>
          <p:cNvCxnSpPr/>
          <p:nvPr/>
        </p:nvCxnSpPr>
        <p:spPr>
          <a:xfrm>
            <a:off x="6323254" y="1648910"/>
            <a:ext cx="5399999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8013B28-9A55-4FE6-BB8E-257F5C8E0954}"/>
              </a:ext>
            </a:extLst>
          </p:cNvPr>
          <p:cNvCxnSpPr/>
          <p:nvPr/>
        </p:nvCxnSpPr>
        <p:spPr>
          <a:xfrm>
            <a:off x="468748" y="1648910"/>
            <a:ext cx="5399999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ktangel 76">
            <a:extLst>
              <a:ext uri="{FF2B5EF4-FFF2-40B4-BE49-F238E27FC236}">
                <a16:creationId xmlns:a16="http://schemas.microsoft.com/office/drawing/2014/main" id="{F3D8C4E2-7F9E-4BBC-84B1-C516DF9AD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747" y="1659797"/>
            <a:ext cx="5399999" cy="318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72000" rIns="0" bIns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1600" b="1" noProof="1">
                <a:solidFill>
                  <a:schemeClr val="accent1"/>
                </a:solidFill>
                <a:cs typeface="Arial" charset="0"/>
              </a:rPr>
              <a:t>Patent status</a:t>
            </a:r>
            <a:r>
              <a:rPr lang="en-US" sz="1600" b="1" baseline="30000" noProof="1">
                <a:solidFill>
                  <a:schemeClr val="accent1"/>
                </a:solidFill>
                <a:cs typeface="Arial" charset="0"/>
              </a:rPr>
              <a:t>1</a:t>
            </a:r>
          </a:p>
        </p:txBody>
      </p:sp>
      <p:cxnSp>
        <p:nvCxnSpPr>
          <p:cNvPr id="23" name="Straight Connector 167"/>
          <p:cNvCxnSpPr>
            <a:cxnSpLocks noChangeShapeType="1"/>
          </p:cNvCxnSpPr>
          <p:nvPr>
            <p:custDataLst>
              <p:tags r:id="rId3"/>
            </p:custDataLst>
          </p:nvPr>
        </p:nvCxnSpPr>
        <p:spPr bwMode="auto">
          <a:xfrm>
            <a:off x="4332288" y="2554288"/>
            <a:ext cx="403225" cy="0"/>
          </a:xfrm>
          <a:prstGeom prst="line">
            <a:avLst/>
          </a:prstGeom>
          <a:noFill/>
          <a:ln w="3175" algn="ctr">
            <a:solidFill>
              <a:schemeClr val="tx1"/>
            </a:solidFill>
            <a:prstDash val="lgDash"/>
            <a:round/>
            <a:headEnd/>
            <a:tailEnd/>
          </a:ln>
        </p:spPr>
      </p:cxnSp>
      <p:cxnSp>
        <p:nvCxnSpPr>
          <p:cNvPr id="35" name="Straight Connector 34"/>
          <p:cNvCxnSpPr/>
          <p:nvPr>
            <p:custDataLst>
              <p:tags r:id="rId4"/>
            </p:custDataLst>
          </p:nvPr>
        </p:nvCxnSpPr>
        <p:spPr bwMode="auto">
          <a:xfrm>
            <a:off x="1611313" y="4365625"/>
            <a:ext cx="401638" cy="0"/>
          </a:xfrm>
          <a:prstGeom prst="line">
            <a:avLst/>
          </a:prstGeom>
          <a:ln w="3175" cmpd="sng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146"/>
          <p:cNvCxnSpPr>
            <a:cxnSpLocks noChangeShapeType="1"/>
          </p:cNvCxnSpPr>
          <p:nvPr>
            <p:custDataLst>
              <p:tags r:id="rId5"/>
            </p:custDataLst>
          </p:nvPr>
        </p:nvCxnSpPr>
        <p:spPr bwMode="auto">
          <a:xfrm>
            <a:off x="3425825" y="3046413"/>
            <a:ext cx="401638" cy="0"/>
          </a:xfrm>
          <a:prstGeom prst="line">
            <a:avLst/>
          </a:prstGeom>
          <a:noFill/>
          <a:ln w="3175" algn="ctr">
            <a:solidFill>
              <a:schemeClr val="tx1"/>
            </a:solidFill>
            <a:prstDash val="lgDash"/>
            <a:round/>
            <a:headEnd/>
            <a:tailEnd/>
          </a:ln>
        </p:spPr>
      </p:cxnSp>
      <p:cxnSp>
        <p:nvCxnSpPr>
          <p:cNvPr id="31" name="Straight Connector 134"/>
          <p:cNvCxnSpPr>
            <a:cxnSpLocks noChangeShapeType="1"/>
          </p:cNvCxnSpPr>
          <p:nvPr>
            <p:custDataLst>
              <p:tags r:id="rId6"/>
            </p:custDataLst>
          </p:nvPr>
        </p:nvCxnSpPr>
        <p:spPr bwMode="auto">
          <a:xfrm>
            <a:off x="2517775" y="3689350"/>
            <a:ext cx="403225" cy="0"/>
          </a:xfrm>
          <a:prstGeom prst="line">
            <a:avLst/>
          </a:prstGeom>
          <a:noFill/>
          <a:ln w="3175" algn="ctr">
            <a:solidFill>
              <a:schemeClr val="tx1"/>
            </a:solidFill>
            <a:prstDash val="lgDash"/>
            <a:round/>
            <a:headEnd/>
            <a:tailEnd/>
          </a:ln>
        </p:spPr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ED51378-5EA9-E658-2B7F-E94949726BDF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80423816"/>
              </p:ext>
            </p:extLst>
          </p:nvPr>
        </p:nvGraphicFramePr>
        <p:xfrm>
          <a:off x="635000" y="2225675"/>
          <a:ext cx="4889500" cy="2833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41" name="Rectangle 13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854575" y="5006975"/>
            <a:ext cx="26670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4C404154-FE8E-44E2-BA6A-76EE889748F5}" type="datetime'T''''''''''''''''''''''o''t''al'''''''''''''''''">
              <a:rPr lang="en-US" altLang="en-US" sz="900">
                <a:cs typeface="Arial" panose="020B0604020202020204" pitchFamily="34" charset="0"/>
              </a:rPr>
              <a:pPr/>
              <a:t>Total</a:t>
            </a:fld>
            <a:endParaRPr lang="en-US" sz="9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47" name="Rectangle 13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008188" y="5006975"/>
            <a:ext cx="51435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A905BD8A-9F8E-4732-8446-8D97AD4BE10D}" type="datetime'''O''''ff'''' ''''''''p''''''''''a''''te''''''''''n''''''''t'">
              <a:rPr lang="en-US" altLang="en-US" sz="900">
                <a:cs typeface="Arial" panose="020B0604020202020204" pitchFamily="34" charset="0"/>
              </a:rPr>
              <a:pPr/>
              <a:t>Off patent</a:t>
            </a:fld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49" name="Rectangle 13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101725" y="5006975"/>
            <a:ext cx="51435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1881DABB-995D-4970-A8E4-97EFA9917E7E}" type="datetime'''On'''' p''''''''a''t''''''''e''n''''''''''''''''''''''''t'''">
              <a:rPr lang="en-US" altLang="en-US" sz="900">
                <a:cs typeface="Arial" panose="020B0604020202020204" pitchFamily="34" charset="0"/>
              </a:rPr>
              <a:pPr/>
              <a:t>On patent</a:t>
            </a:fld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40" name="Rectangle 139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35025" y="2082800"/>
            <a:ext cx="13970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b"/>
          <a:lstStyle/>
          <a:p>
            <a:pPr algn="ctr"/>
            <a:r>
              <a:rPr lang="el-GR" sz="900" dirty="0">
                <a:latin typeface="Arial"/>
                <a:cs typeface="Arial"/>
                <a:sym typeface="Arial"/>
              </a:rPr>
              <a:t>Β€</a:t>
            </a:r>
            <a:endParaRPr lang="en-US" sz="900" dirty="0">
              <a:latin typeface="Arial"/>
              <a:cs typeface="Arial"/>
              <a:sym typeface="Arial"/>
            </a:endParaRPr>
          </a:p>
        </p:txBody>
      </p:sp>
      <p:sp>
        <p:nvSpPr>
          <p:cNvPr id="45" name="Rectangle 147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967038" y="5006975"/>
            <a:ext cx="41275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C2A1582B-01E8-4816-A7BB-FFE86C935251}" type="datetime'''Ge''n''''e''''''''''''''''''''''''''r''''ic'''''''''''''''">
              <a:rPr lang="en-US" altLang="en-US" sz="900">
                <a:cs typeface="Arial" panose="020B0604020202020204" pitchFamily="34" charset="0"/>
              </a:rPr>
              <a:pPr/>
              <a:t>Generic</a:t>
            </a:fld>
            <a:endParaRPr lang="en-US" sz="9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43" name="Rectangle 168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930650" y="5006975"/>
            <a:ext cx="29845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/>
          <a:lstStyle/>
          <a:p>
            <a:pPr algn="ctr"/>
            <a:fld id="{8ADBDA59-19D9-49FB-82FB-D64E7179D5D7}" type="datetime'''O''''''''''''''''''''t''''''he''r'''''''''''''''''''''''">
              <a:rPr lang="en-US" altLang="en-US" sz="900">
                <a:cs typeface="Arial" panose="020B0604020202020204" pitchFamily="34" charset="0"/>
              </a:rPr>
              <a:pPr/>
              <a:t>Other</a:t>
            </a:fld>
            <a:endParaRPr lang="en-US" sz="9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51" name="Straight Connector 127"/>
          <p:cNvCxnSpPr>
            <a:cxnSpLocks noChangeShapeType="1"/>
          </p:cNvCxnSpPr>
          <p:nvPr>
            <p:custDataLst>
              <p:tags r:id="rId14"/>
            </p:custDataLst>
          </p:nvPr>
        </p:nvCxnSpPr>
        <p:spPr bwMode="auto">
          <a:xfrm>
            <a:off x="9447212" y="2554288"/>
            <a:ext cx="673100" cy="0"/>
          </a:xfrm>
          <a:prstGeom prst="line">
            <a:avLst/>
          </a:prstGeom>
          <a:noFill/>
          <a:ln w="3175" algn="ctr">
            <a:solidFill>
              <a:schemeClr val="tx1"/>
            </a:solidFill>
            <a:prstDash val="lgDash"/>
            <a:round/>
            <a:headEnd/>
            <a:tailEnd/>
          </a:ln>
        </p:spPr>
      </p:cxnSp>
      <p:cxnSp>
        <p:nvCxnSpPr>
          <p:cNvPr id="52" name="Straight Connector 126"/>
          <p:cNvCxnSpPr>
            <a:cxnSpLocks noChangeShapeType="1"/>
          </p:cNvCxnSpPr>
          <p:nvPr>
            <p:custDataLst>
              <p:tags r:id="rId15"/>
            </p:custDataLst>
          </p:nvPr>
        </p:nvCxnSpPr>
        <p:spPr bwMode="auto">
          <a:xfrm>
            <a:off x="7934325" y="2824163"/>
            <a:ext cx="671513" cy="0"/>
          </a:xfrm>
          <a:prstGeom prst="line">
            <a:avLst/>
          </a:prstGeom>
          <a:noFill/>
          <a:ln w="3175" algn="ctr">
            <a:solidFill>
              <a:schemeClr val="tx1"/>
            </a:solidFill>
            <a:prstDash val="lgDash"/>
            <a:round/>
            <a:headEnd/>
            <a:tailEnd/>
          </a:ln>
        </p:spPr>
      </p:cxn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7693DA7F-AF39-3EBF-2327-F33DD587D16D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137667368"/>
              </p:ext>
            </p:extLst>
          </p:nvPr>
        </p:nvGraphicFramePr>
        <p:xfrm>
          <a:off x="6486525" y="2225675"/>
          <a:ext cx="4894263" cy="2833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D72FA40-3201-4389-A517-30BEFC6328AB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9026525" y="2528887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Rectangle 132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686550" y="2082800"/>
            <a:ext cx="139700" cy="1365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none" lIns="0" tIns="0" rIns="0" bIns="0" anchor="b"/>
          <a:lstStyle/>
          <a:p>
            <a:pPr algn="ctr"/>
            <a:r>
              <a:rPr lang="el-GR" sz="900" dirty="0">
                <a:latin typeface="Arial"/>
                <a:cs typeface="Arial"/>
                <a:sym typeface="Arial"/>
              </a:rPr>
              <a:t>Β€</a:t>
            </a:r>
            <a:endParaRPr lang="en-US" sz="900" dirty="0">
              <a:latin typeface="Arial"/>
              <a:cs typeface="Arial"/>
              <a:sym typeface="Arial"/>
            </a:endParaRPr>
          </a:p>
        </p:txBody>
      </p:sp>
      <p:sp>
        <p:nvSpPr>
          <p:cNvPr id="57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667750" y="5006975"/>
            <a:ext cx="717550" cy="27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055FC18-E60E-4E8F-BE48-400EDC623B2B}" type="datetime'''''''No''''n-&#10;''''R''e''i''''''''''m''''b''ur''s''ab''le'">
              <a:rPr lang="en-US" altLang="en-US" sz="900" smtClean="0">
                <a:solidFill>
                  <a:schemeClr val="tx1"/>
                </a:solidFill>
              </a:rPr>
              <a:pPr/>
              <a:t>Non-
Reimbursable</a:t>
            </a:fld>
            <a:endParaRPr lang="el-GR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154863" y="5006975"/>
            <a:ext cx="7175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71B83F69-A735-45FE-B6E4-4FCFB4974555}" type="datetime'R''''''''''''''ei''''m''''b''u''''''''rs''a''''b''le'">
              <a:rPr lang="en-US" altLang="en-US" sz="900" smtClean="0">
                <a:solidFill>
                  <a:schemeClr val="tx1"/>
                </a:solidFill>
              </a:rPr>
              <a:pPr/>
              <a:t>Reimbursable</a:t>
            </a:fld>
            <a:endParaRPr lang="el-GR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0407650" y="5006975"/>
            <a:ext cx="266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C3764F7-3A7A-4768-9283-20689AD4FE29}" type="datetime'''''''''''T''''''''''o''''''t''''''''a''l'''''''''">
              <a:rPr lang="el-GR" altLang="en-US" sz="900">
                <a:solidFill>
                  <a:schemeClr val="tx1"/>
                </a:solidFill>
              </a:rPr>
              <a:pPr/>
              <a:t>Total</a:t>
            </a:fld>
            <a:endParaRPr lang="el-GR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Oval 65"/>
          <p:cNvSpPr>
            <a:spLocks noChangeArrowheads="1"/>
          </p:cNvSpPr>
          <p:nvPr/>
        </p:nvSpPr>
        <p:spPr bwMode="auto">
          <a:xfrm>
            <a:off x="2038882" y="5427662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>
              <a:defRPr/>
            </a:pPr>
            <a:r>
              <a:rPr lang="en-US" sz="1000" dirty="0">
                <a:latin typeface="+mn-lt"/>
              </a:rPr>
              <a:t>28.1%</a:t>
            </a:r>
          </a:p>
        </p:txBody>
      </p:sp>
      <p:sp>
        <p:nvSpPr>
          <p:cNvPr id="62" name="Oval 65"/>
          <p:cNvSpPr>
            <a:spLocks noChangeArrowheads="1"/>
          </p:cNvSpPr>
          <p:nvPr/>
        </p:nvSpPr>
        <p:spPr bwMode="auto">
          <a:xfrm>
            <a:off x="1116292" y="5427662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>
              <a:defRPr/>
            </a:pPr>
            <a:r>
              <a:rPr lang="en-US" sz="1000" dirty="0">
                <a:latin typeface="+mn-lt"/>
              </a:rPr>
              <a:t>25.0%</a:t>
            </a:r>
          </a:p>
        </p:txBody>
      </p:sp>
      <p:sp>
        <p:nvSpPr>
          <p:cNvPr id="63" name="Oval 65"/>
          <p:cNvSpPr>
            <a:spLocks noChangeArrowheads="1"/>
          </p:cNvSpPr>
          <p:nvPr/>
        </p:nvSpPr>
        <p:spPr bwMode="auto">
          <a:xfrm>
            <a:off x="3884063" y="5427662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>
              <a:defRPr/>
            </a:pPr>
            <a:r>
              <a:rPr lang="en-US" sz="1000" dirty="0">
                <a:latin typeface="+mn-lt"/>
              </a:rPr>
              <a:t>20.3%</a:t>
            </a:r>
          </a:p>
        </p:txBody>
      </p:sp>
      <p:sp>
        <p:nvSpPr>
          <p:cNvPr id="64" name="Oval 65"/>
          <p:cNvSpPr>
            <a:spLocks noChangeArrowheads="1"/>
          </p:cNvSpPr>
          <p:nvPr/>
        </p:nvSpPr>
        <p:spPr bwMode="auto">
          <a:xfrm>
            <a:off x="2961472" y="5427662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>
              <a:defRPr/>
            </a:pPr>
            <a:r>
              <a:rPr lang="en-US" sz="1000" dirty="0">
                <a:latin typeface="+mn-lt"/>
              </a:rPr>
              <a:t>26.6%</a:t>
            </a:r>
          </a:p>
        </p:txBody>
      </p:sp>
      <p:sp>
        <p:nvSpPr>
          <p:cNvPr id="65" name="Oval 65"/>
          <p:cNvSpPr>
            <a:spLocks noChangeArrowheads="1"/>
          </p:cNvSpPr>
          <p:nvPr/>
        </p:nvSpPr>
        <p:spPr bwMode="auto">
          <a:xfrm>
            <a:off x="8826507" y="5427662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>
              <a:defRPr/>
            </a:pPr>
            <a:r>
              <a:rPr lang="en-US" sz="1000" dirty="0">
                <a:latin typeface="+mn-lt"/>
              </a:rPr>
              <a:t>11.2%</a:t>
            </a:r>
          </a:p>
        </p:txBody>
      </p:sp>
      <p:sp>
        <p:nvSpPr>
          <p:cNvPr id="66" name="Oval 65"/>
          <p:cNvSpPr>
            <a:spLocks noChangeArrowheads="1"/>
          </p:cNvSpPr>
          <p:nvPr/>
        </p:nvSpPr>
        <p:spPr bwMode="auto">
          <a:xfrm>
            <a:off x="7268881" y="5427662"/>
            <a:ext cx="432000" cy="216000"/>
          </a:xfrm>
          <a:prstGeom prst="roundRect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vert="horz" wrap="none" anchor="ctr"/>
          <a:lstStyle/>
          <a:p>
            <a:pPr algn="ctr">
              <a:defRPr/>
            </a:pPr>
            <a:r>
              <a:rPr lang="en-US" sz="1000" dirty="0">
                <a:latin typeface="+mn-lt"/>
              </a:rPr>
              <a:t>88.8%</a:t>
            </a:r>
          </a:p>
        </p:txBody>
      </p:sp>
      <p:sp>
        <p:nvSpPr>
          <p:cNvPr id="84" name="Text Placeholder 1">
            <a:extLst>
              <a:ext uri="{FF2B5EF4-FFF2-40B4-BE49-F238E27FC236}">
                <a16:creationId xmlns:a16="http://schemas.microsoft.com/office/drawing/2014/main" id="{84B88BE5-3E61-B315-2829-8FA3355750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013" y="6397157"/>
            <a:ext cx="7560000" cy="110800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</p:spTree>
    <p:extLst>
      <p:ext uri="{BB962C8B-B14F-4D97-AF65-F5344CB8AC3E}">
        <p14:creationId xmlns:p14="http://schemas.microsoft.com/office/powerpoint/2010/main" val="34246661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248764A-8947-426D-9B8F-679FB0D21B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732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1" imgW="592" imgH="591" progId="TCLayout.ActiveDocument.1">
                  <p:embed/>
                </p:oleObj>
              </mc:Choice>
              <mc:Fallback>
                <p:oleObj name="think-cell Slide" r:id="rId161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248764A-8947-426D-9B8F-679FB0D21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900" dirty="0" err="1">
              <a:cs typeface="Arial" panose="020B0604020202020204" pitchFamily="34" charset="0"/>
              <a:sym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07291A-5872-4969-94EB-22AAD4A7B0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TOTAL marke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C2F8F7-85C5-496F-8D0F-A4F6F6E7E5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7012" y="6118280"/>
            <a:ext cx="11246241" cy="110800"/>
          </a:xfrm>
        </p:spPr>
        <p:txBody>
          <a:bodyPr/>
          <a:lstStyle/>
          <a:p>
            <a:r>
              <a:rPr lang="en-US" dirty="0"/>
              <a:t>Note: Excluding all L.3816 products; Total market figures (2015-2017) have been adjusted subject to IQVIA market restatement in 2018; Classification by Ox and </a:t>
            </a:r>
            <a:r>
              <a:rPr lang="en-US" dirty="0" err="1"/>
              <a:t>Gx</a:t>
            </a:r>
            <a:r>
              <a:rPr lang="en-US" dirty="0"/>
              <a:t> is based on EOF flag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arket size in values (PSP) – By product type – Quarterl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br>
              <a:rPr lang="en-US" dirty="0"/>
            </a:br>
            <a:r>
              <a:rPr lang="en-US" dirty="0"/>
              <a:t>Total market increased by 9.0% in Q1/23 vs. Q1/22</a:t>
            </a:r>
          </a:p>
        </p:txBody>
      </p:sp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703E85F9-69D9-8F69-D03C-ABE0FCFAFEF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18047838"/>
              </p:ext>
            </p:extLst>
          </p:nvPr>
        </p:nvGraphicFramePr>
        <p:xfrm>
          <a:off x="-33338" y="2287588"/>
          <a:ext cx="11839575" cy="3179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3"/>
          </a:graphicData>
        </a:graphic>
      </p:graphicFrame>
      <p:cxnSp>
        <p:nvCxnSpPr>
          <p:cNvPr id="153" name="Straight Connector 152"/>
          <p:cNvCxnSpPr/>
          <p:nvPr>
            <p:custDataLst>
              <p:tags r:id="rId4"/>
            </p:custDataLst>
          </p:nvPr>
        </p:nvCxnSpPr>
        <p:spPr bwMode="gray">
          <a:xfrm flipV="1">
            <a:off x="9955213" y="2540000"/>
            <a:ext cx="0" cy="357188"/>
          </a:xfrm>
          <a:prstGeom prst="line">
            <a:avLst/>
          </a:prstGeom>
          <a:noFill/>
          <a:ln w="12700" algn="ctr">
            <a:solidFill>
              <a:schemeClr val="hlink"/>
            </a:solidFill>
            <a:prstDash val="solid"/>
            <a:round/>
            <a:headEnd type="none"/>
            <a:tailEnd type="none"/>
          </a:ln>
          <a:effectLst/>
        </p:spPr>
      </p:cxnSp>
      <p:cxnSp>
        <p:nvCxnSpPr>
          <p:cNvPr id="151" name="Straight Connector 150"/>
          <p:cNvCxnSpPr/>
          <p:nvPr>
            <p:custDataLst>
              <p:tags r:id="rId5"/>
            </p:custDataLst>
          </p:nvPr>
        </p:nvCxnSpPr>
        <p:spPr bwMode="gray">
          <a:xfrm>
            <a:off x="11526838" y="2540000"/>
            <a:ext cx="0" cy="152400"/>
          </a:xfrm>
          <a:prstGeom prst="line">
            <a:avLst/>
          </a:prstGeom>
          <a:noFill/>
          <a:ln w="12700" algn="ctr">
            <a:solidFill>
              <a:schemeClr val="hlink"/>
            </a:solidFill>
            <a:prstDash val="solid"/>
            <a:round/>
            <a:headEnd type="none"/>
            <a:tailEnd type="triangle" w="med" len="med"/>
          </a:ln>
          <a:effectLst/>
        </p:spPr>
      </p:cxnSp>
      <p:cxnSp>
        <p:nvCxnSpPr>
          <p:cNvPr id="152" name="Straight Connector 151"/>
          <p:cNvCxnSpPr/>
          <p:nvPr>
            <p:custDataLst>
              <p:tags r:id="rId6"/>
            </p:custDataLst>
          </p:nvPr>
        </p:nvCxnSpPr>
        <p:spPr bwMode="gray">
          <a:xfrm>
            <a:off x="9955213" y="2540000"/>
            <a:ext cx="1571625" cy="0"/>
          </a:xfrm>
          <a:prstGeom prst="line">
            <a:avLst/>
          </a:prstGeom>
          <a:noFill/>
          <a:ln w="12700" algn="ctr">
            <a:solidFill>
              <a:schemeClr val="hlink"/>
            </a:solidFill>
            <a:prstDash val="solid"/>
            <a:round/>
            <a:headEnd type="none"/>
            <a:tailEnd type="none"/>
          </a:ln>
          <a:effectLst/>
        </p:spPr>
      </p:cxnSp>
      <p:sp>
        <p:nvSpPr>
          <p:cNvPr id="85" name="Text Placeholder 14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900488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06BD714-EAE8-4D60-A618-033F93FF43F7}" type="datetime'''''''''''''Q''''''''''''''''2''''''''''/''''''''1''''''8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Q2/18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188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93750" y="3340100"/>
            <a:ext cx="254000" cy="136525"/>
          </a:xfrm>
          <a:prstGeom prst="rect">
            <a:avLst/>
          </a:prstGeom>
          <a:solidFill>
            <a:srgbClr val="CAE3FF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3942D4B-5948-4914-8F09-F80BD3451253}" type="datetime'''''''''''''0''''''''''''''''''''''''''.''03''''''''''''''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0.03</a:t>
            </a:fld>
            <a:endParaRPr lang="el-GR" sz="900" dirty="0">
              <a:solidFill>
                <a:schemeClr val="tx1"/>
              </a:solidFill>
              <a:latin typeface="+mn-lt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82" name="Text Placeholder 14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508375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80AB00F-9F51-4092-88C3-50C9A5665890}" type="datetime'''''''Q''''''1/''''''''1''''8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Q1/18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174" name="Text Placeholder 14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544638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ADBAC77-E991-408D-9C49-4346C36FB6AF}" type="datetime'''Q4''''''''''''''''''''''''''/''1''''''''''''''''''6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Q4/16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100" name="Text Placeholder 14">
            <a:extLst>
              <a:ext uri="{FF2B5EF4-FFF2-40B4-BE49-F238E27FC236}">
                <a16:creationId xmlns:a16="http://schemas.microsoft.com/office/drawing/2014/main" id="{D771B976-DF3D-433E-A3A0-8BB64FD960E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043738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67E3E6EA-667C-4265-9FE7-A22543C15510}" type="datetime'Q''''''''''''''''''''''''''''''''''''2''''''/''''''''''2''0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Q2/20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5AFBC850-2CCA-4D53-8A6A-5F6A5FEE2155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4721225" y="3416300"/>
            <a:ext cx="254000" cy="1238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46B8FBB-49DD-427A-842C-F747133FF64A}" type="datetime'''''0''''''''.''''''''''1''''''''''''''''''''''''''8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18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95" name="Rectangle 294">
            <a:extLst>
              <a:ext uri="{FF2B5EF4-FFF2-40B4-BE49-F238E27FC236}">
                <a16:creationId xmlns:a16="http://schemas.microsoft.com/office/drawing/2014/main" id="{8A6ABE53-89C8-4D73-BD15-DB3EEE8F84B2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10614025" y="4454525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328863A-13D8-46B8-A9BE-3AA819826CD1}" type="datetime'''''''0''''''''''''''''''''.''''8''''''''''''''''''0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80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74" name="Rectangle 273"/>
          <p:cNvSpPr/>
          <p:nvPr>
            <p:custDataLst>
              <p:tags r:id="rId14"/>
            </p:custDataLst>
          </p:nvPr>
        </p:nvSpPr>
        <p:spPr bwMode="auto">
          <a:xfrm>
            <a:off x="261938" y="2144713"/>
            <a:ext cx="1397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ctr"/>
            <a:r>
              <a:rPr lang="el-GR" sz="900" dirty="0">
                <a:latin typeface="Arial"/>
                <a:ea typeface="Verdana"/>
                <a:cs typeface="Arial"/>
                <a:sym typeface="Arial"/>
              </a:rPr>
              <a:t>Β€</a:t>
            </a:r>
            <a:endParaRPr kumimoji="0" lang="en-US" sz="900" strike="noStrike" cap="none" normalizeH="0" dirty="0">
              <a:ln>
                <a:noFill/>
              </a:ln>
              <a:effectLst/>
              <a:latin typeface="Arial"/>
              <a:ea typeface="Verdana"/>
              <a:cs typeface="Arial"/>
              <a:sym typeface="Arial"/>
            </a:endParaRPr>
          </a:p>
        </p:txBody>
      </p:sp>
      <p:sp>
        <p:nvSpPr>
          <p:cNvPr id="249" name="Rectangle 248">
            <a:extLst>
              <a:ext uri="{FF2B5EF4-FFF2-40B4-BE49-F238E27FC236}">
                <a16:creationId xmlns:a16="http://schemas.microsoft.com/office/drawing/2014/main" id="{CD9F4242-D331-469F-B7FC-8F45473C14F7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3151188" y="3505200"/>
            <a:ext cx="254000" cy="1365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C62F27D-8BF0-40DB-B790-5A074CDD9DC1}" type="datetime'''''''0''''''''''''.''''''''''1''''''''''''''6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6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93" name="Text Placeholder 18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00050" y="3317875"/>
            <a:ext cx="254000" cy="136525"/>
          </a:xfrm>
          <a:prstGeom prst="rect">
            <a:avLst/>
          </a:prstGeom>
          <a:solidFill>
            <a:srgbClr val="CAE3FF"/>
          </a:solidFill>
          <a:effectLst/>
        </p:spPr>
        <p:txBody>
          <a:bodyPr vert="horz" wrap="none" lIns="15875" tIns="0" rIns="15875" bIns="0" numCol="1" spc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9821135-DCDA-44A3-A8C5-02F8E615CAAC}" type="datetime'''''''''''''''''''''''''''''0.''''0''''3'''''''''">
              <a:rPr lang="en-US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0.03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44AE266C-0040-4FB1-863E-AA3E5661CA5C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793750" y="3560763"/>
            <a:ext cx="254000" cy="1365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0BA6E7D-0189-4D73-9726-0A4430DEDB03}" type="datetime'''''''''''''0''''''''.''''''''''''''''''''''1''''''''''8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8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DAFB7651-099F-40E8-B57D-0DCA66B97D06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400050" y="3541713"/>
            <a:ext cx="254000" cy="1365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3548620-1384-4A56-866D-077435264420}" type="datetime'0''''''.''''''''''''''''''''1''''''''''''''''''8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8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288BD06-E967-4411-A7DE-905A66EB279D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5114925" y="3254375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5FCDA44-FD96-44ED-9DA5-9206CA28904A}" type="datetime'''0''''.''''''''''''''''''''''''''''03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0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AAD879E6-6594-476B-9352-21DFE0153EE2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400050" y="4519613"/>
            <a:ext cx="25400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591475B-B7E7-4F0B-80AB-2D6D113B371E}" type="datetime'''''''''''''0''''''''.''''''''''7''''''''''''''''''''4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74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8A46C68E-B128-45EF-9E09-A0D373D815A7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1185863" y="3638550"/>
            <a:ext cx="254000" cy="1365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ACB1605-FA3C-4555-9211-1A9C3869A226}" type="datetime'''''''0''''''''''''''''''''.''1''''''''''''''''''''''6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6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8C55D1D-1FBC-4E95-A43F-5BBCE4155C64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5114925" y="3130550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6339CBD-8106-423F-972E-DCC4789DDCA9}" type="datetime'0''''''''''.''''''''''''''''''''''9''8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98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155A751C-3F7F-41A1-9752-DB4CFCB79B2C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8256588" y="3490913"/>
            <a:ext cx="254000" cy="1238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7802822-860D-491D-AB33-30DC2FE6AE9B}" type="datetime'''''''''''''''''''''''''''''''''''''''''''0''''''''.''''''22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0.22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9" name="Text Placeholder 14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65125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C09BD4E-5D1A-448B-87D4-1A947C212703}" type="datetime'''''''''''''''''''''''''''Q''''''''1''''''''''/''''''16'''''''">
              <a:rPr lang="en-US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Q1/16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258" name="Rectangle 257">
            <a:extLst>
              <a:ext uri="{FF2B5EF4-FFF2-40B4-BE49-F238E27FC236}">
                <a16:creationId xmlns:a16="http://schemas.microsoft.com/office/drawing/2014/main" id="{DE8C6FBB-9B92-4CFE-A5AA-8685C4726A84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5114925" y="4498975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076A46F-5F44-40FE-AE76-AF85E1A1B37C}" type="datetime'''0.''7''''''6''''''''''''''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76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7723C904-E26F-460D-A065-D5701DAB2657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793750" y="4529138"/>
            <a:ext cx="25400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41A7F04-332B-4497-9400-309414A1E23C}" type="datetime'''''''0.''''''''''''''''''''''''''''''7''3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73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59" name="Text Placeholder 14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22563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6865332-23C3-4BA4-81C3-9353E018D0E2}" type="datetime'''''''''Q''''''''''''''''3''''''/1''''7''''''''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Q3/17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184" name="Text Placeholder 14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58825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5DB4305-469F-477F-B091-7D66D57831B8}" type="datetime'''Q''''''''2''''''''/''''''''''''''''''''''''''16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Q2/16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94" name="Text Placeholder 14">
            <a:extLst>
              <a:ext uri="{FF2B5EF4-FFF2-40B4-BE49-F238E27FC236}">
                <a16:creationId xmlns:a16="http://schemas.microsoft.com/office/drawing/2014/main" id="{32E3E9A1-D0E9-4D78-9F3E-EAFCB22608B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080000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1AAA6D6-BDF8-4AAD-901F-72FF8BC8D888}" type="datetime'''''''''''''Q''''''''''''''''1/''1''''9'''''''''''''''''''''''">
              <a:rPr lang="el-GR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Q1/19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179" name="Text Placeholder 14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150938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9075CA67-AC8B-4239-89FB-ED4CF4A2D7BF}" type="datetime'''''''''''Q''''''''''3''''''''''''''''''''/''1''''''''6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Q3/16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183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185863" y="3432175"/>
            <a:ext cx="254000" cy="136525"/>
          </a:xfrm>
          <a:prstGeom prst="rect">
            <a:avLst/>
          </a:prstGeom>
          <a:solidFill>
            <a:srgbClr val="CAE3FF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45274E8-AA3A-4507-AFC7-612CF4491CC4}" type="datetime'0''''''''''''''''''''''''.''''''''0''''''''''''3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0.03</a:t>
            </a:fld>
            <a:endParaRPr lang="el-GR" sz="900" dirty="0">
              <a:solidFill>
                <a:schemeClr val="tx1"/>
              </a:solidFill>
              <a:latin typeface="+mn-lt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D3F61BA4-E76E-4049-98FF-242E6DF3A451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1185863" y="4559300"/>
            <a:ext cx="25400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748FE2C-4DD6-4CBA-A928-2D60D7905353}" type="datetime'''0.''''''''''7''0''''''''''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70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30BE1547-6C99-423A-B341-CC12CC9DC185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4329113" y="3617913"/>
            <a:ext cx="254000" cy="1365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759304E-9EBA-4FF3-A712-FBF8BCDE3207}" type="datetime'''''0''''''''''''''''''''''''''''''''.''''''''''1''''''''''6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6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78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579563" y="3290888"/>
            <a:ext cx="254000" cy="136525"/>
          </a:xfrm>
          <a:prstGeom prst="rect">
            <a:avLst/>
          </a:prstGeom>
          <a:solidFill>
            <a:srgbClr val="CAE3FF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5F6147F-1510-40A0-9F72-5E8D8291EAA3}" type="datetime'''''''0''''''''''''''''.''''''''''''03''''''''''''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0.03</a:t>
            </a:fld>
            <a:endParaRPr lang="el-GR" sz="900" dirty="0">
              <a:solidFill>
                <a:schemeClr val="tx1"/>
              </a:solidFill>
              <a:latin typeface="+mn-lt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2BCB825-40CF-076C-8250-3057C020401C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11399838" y="2854325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944F920-69FD-4D5B-8D96-C7FE7B88BFB0}" type="datetime'''0''''.''''''''''''''''''''0''''''''''''3'''">
              <a:rPr lang="en-US" altLang="en-US" sz="900" smtClean="0">
                <a:solidFill>
                  <a:schemeClr val="tx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0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CA526374-9F96-43AB-991E-DED2823448F1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1579563" y="3506788"/>
            <a:ext cx="254000" cy="1365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3EE9962-9FFC-4CFC-9838-92399DF3E00D}" type="datetime'0''.''''''''''''''''''17''''''''''''''''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7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5" name="Rectangle 14"/>
          <p:cNvSpPr/>
          <p:nvPr>
            <p:custDataLst>
              <p:tags r:id="rId37"/>
            </p:custDataLst>
          </p:nvPr>
        </p:nvSpPr>
        <p:spPr bwMode="gray">
          <a:xfrm>
            <a:off x="4329113" y="3413125"/>
            <a:ext cx="25400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EF8CA33-04AD-4C80-9232-A167103BFBA3}" type="datetime'''''''''''0.''''''''''''''''''''0''''''''''3''''''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03</a:t>
            </a:fld>
            <a:endParaRPr lang="el-GR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43" name="Text Placeholder 14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116263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8FA13EA-3FC3-432B-8EFA-1473B9A9FD07}" type="datetime'''''Q''''''''4''''''''''/''''1''''''''''''''''7''''''''''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Q4/17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1F7E462B-DA73-4D21-85FC-255817AE9D3A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7864475" y="3227388"/>
            <a:ext cx="254000" cy="1238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72BADB0-1292-4951-AA1B-226C0E0A9BFA}" type="datetime'''''''0''''''.''''''''2''''''2''''''''''''''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0.22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D89F0100-CD2B-4EBF-B5BD-AD320D507CB9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1579563" y="4497388"/>
            <a:ext cx="25400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625ABC0-9283-4683-B228-D63130C59953}" type="datetime'0.''''''''7''''''''''6''''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76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73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971675" y="3344863"/>
            <a:ext cx="254000" cy="136525"/>
          </a:xfrm>
          <a:prstGeom prst="rect">
            <a:avLst/>
          </a:prstGeom>
          <a:solidFill>
            <a:srgbClr val="CAE3FF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F34E170-978B-496D-8A9D-6CD1E48E8600}" type="datetime'''0''''''''''''''.0''''''''''''''''''''3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0.03</a:t>
            </a:fld>
            <a:endParaRPr lang="el-GR" sz="900" dirty="0">
              <a:solidFill>
                <a:schemeClr val="tx1"/>
              </a:solidFill>
              <a:latin typeface="+mn-lt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BE1B8E75-3B1C-4F83-997C-9C580C8AF189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1971675" y="3559175"/>
            <a:ext cx="254000" cy="1365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14C5A0B-D03B-4A21-97A5-232D4C90CFB2}" type="datetime'''''''''''''''''0''.''''1''''''7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7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9" name="Text Placeholder 14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936750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309194F-291B-4607-9FB8-574490B26B72}" type="datetime'''''''Q1''''''''''''/''''1''''''''7''''''''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Q1/17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C99B7F73-923E-4624-94E5-B5751BBE9F98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1971675" y="4524375"/>
            <a:ext cx="25400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D59A959-BC12-4637-9718-74D89928EC14}" type="datetime'''''''''''''''0''''''''.''''''''''''''''''''''''''''73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73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8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2365375" y="3367088"/>
            <a:ext cx="254000" cy="136525"/>
          </a:xfrm>
          <a:prstGeom prst="rect">
            <a:avLst/>
          </a:prstGeom>
          <a:solidFill>
            <a:srgbClr val="CAE3FF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E2AF87E-FCAA-4FBC-A574-CDFFE269B250}" type="datetime'''''''0''.''''''''''''''''''''''''''''''''0''''''''''3''''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0.03</a:t>
            </a:fld>
            <a:endParaRPr lang="el-GR" sz="900" dirty="0">
              <a:solidFill>
                <a:schemeClr val="tx1"/>
              </a:solidFill>
              <a:latin typeface="+mn-lt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C4F19022-FBD8-48BE-8CCA-C33E43E7CD63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2365375" y="3578225"/>
            <a:ext cx="254000" cy="1365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4C400C4-D5AC-4DC2-9FAD-37B318B18947}" type="datetime'''''''''''''''''''''0.''''''''''''''''''''''''''1''6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6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5D564416-8AD6-49EB-9CAE-6909D2FAE291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2365375" y="4530725"/>
            <a:ext cx="25400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D648CAC-2FA9-4AC8-BA28-07C3C08C6E26}" type="datetime'''''''''''0''''''.7''''''''''''''''''''''''''''3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73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4" name="Text Placeholder 14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2330450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7596BE2-0ECF-4185-A4D7-7DA6E7EAD48E}" type="datetime'''''''''Q''''''''''2''''''''/''''''17''''''''''''''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Q2/17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12541BEB-9EAE-49F4-905F-DAC3BA2C8A94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3543300" y="3517900"/>
            <a:ext cx="254000" cy="1365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896456B-DB3B-4A89-B43E-745146797A8C}" type="datetime'''''''''''''''''''0''''''''''''''''.''''''''''1''''''''7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7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3D4BED9F-DD48-40CD-8E9D-B701B5A05395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10614025" y="3025775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6C33045-C7FE-4DAD-B670-89B8627DC618}" type="datetime'''''''''''''0''''''''''''''.''''''''''0''''''''''''3'''''''">
              <a:rPr lang="en-US" altLang="en-US" sz="900" smtClean="0">
                <a:solidFill>
                  <a:schemeClr val="tx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0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>
            <p:custDataLst>
              <p:tags r:id="rId51"/>
            </p:custDataLst>
          </p:nvPr>
        </p:nvSpPr>
        <p:spPr bwMode="gray">
          <a:xfrm>
            <a:off x="3543300" y="3302000"/>
            <a:ext cx="25400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04528F0-E7D8-40E3-BCDD-1613C8040531}" type="datetime'''''0''''''''''''''''''.''''''''''''''''0''''''''''''3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03</a:t>
            </a:fld>
            <a:endParaRPr lang="el-GR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3" name="Text Placeholder 2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2757488" y="3457575"/>
            <a:ext cx="254000" cy="136525"/>
          </a:xfrm>
          <a:prstGeom prst="rect">
            <a:avLst/>
          </a:prstGeom>
          <a:solidFill>
            <a:srgbClr val="CAE3FF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2ECF79C-EF06-4561-B1E2-E3D76C828380}" type="datetime'''''''0.''''''''0''''''''''''''''''''''''''3''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0.03</a:t>
            </a:fld>
            <a:endParaRPr lang="el-GR" sz="900" dirty="0">
              <a:solidFill>
                <a:schemeClr val="tx1"/>
              </a:solidFill>
              <a:latin typeface="+mn-lt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1ADF1032-9B9F-C07F-8029-B53B0FCE58CA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11399838" y="2730500"/>
            <a:ext cx="254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9680565-1BD8-4A73-B34B-BF053C21DB12}" type="datetime'''1''''''.''''1''''''''6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1.16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86B52432-165D-4E7D-BD1B-F7361BA032A6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2757488" y="3652838"/>
            <a:ext cx="254000" cy="1365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F1CA781-886C-4D51-8AF7-2E921098EFDC}" type="datetime'''''''0''''''''''''''''''''''.''''15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5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BBF0A00E-6E05-4665-B325-B515785C8374}"/>
              </a:ext>
            </a:extLst>
          </p:cNvPr>
          <p:cNvSpPr/>
          <p:nvPr>
            <p:custDataLst>
              <p:tags r:id="rId55"/>
            </p:custDataLst>
          </p:nvPr>
        </p:nvSpPr>
        <p:spPr bwMode="gray">
          <a:xfrm>
            <a:off x="7472363" y="3119438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76BAB68-D433-4DA1-809A-C437A03EDE87}" type="datetime'''''0''.''''''''''''''''''''''''''''''9''8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/>
              <a:t>0.98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5E9FF2C9-8938-4431-8A51-26C1CED68705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2757488" y="4562475"/>
            <a:ext cx="25400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E38FABF-FF69-4EE2-AE3C-1C1D461C2705}" type="datetime'''''''''0''''''.''''''''''''''''''''''7''''''''''''''0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70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F08900AB-7407-49C4-93C2-91F99A964222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6292850" y="2946400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BB65D04-FC93-4752-9707-70E1BC0959F2}" type="datetime'''''1''''''''''''''''.''''''''''''''0''''''''''6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</a:rPr>
              <a:pPr/>
              <a:t>1.06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80" name="Text Placeholder 2"/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1185863" y="3295650"/>
            <a:ext cx="2540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EDFEDA0-18D3-470F-861D-6BE0F534820D}" type="datetime'''''''''''''''''''''''''''0.''8''''''''''''''''9'''''''''''''">
              <a:rPr lang="el-GR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0.89</a:t>
            </a:fld>
            <a:endParaRPr lang="el-GR" sz="900" dirty="0">
              <a:solidFill>
                <a:schemeClr val="tx1"/>
              </a:solidFill>
              <a:latin typeface="+mn-lt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006A7892-51C4-4D60-B51D-5B2033DC44E2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3543300" y="4505325"/>
            <a:ext cx="25400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788312D-D727-4EF6-A775-D2121525E01D}" type="datetime'''''''''''''''0''''''''''''''''.''''''7''5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75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3151188" y="3298825"/>
            <a:ext cx="254000" cy="136525"/>
          </a:xfrm>
          <a:prstGeom prst="rect">
            <a:avLst/>
          </a:prstGeom>
          <a:solidFill>
            <a:srgbClr val="CAE3FF"/>
          </a:solidFill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FF24C91-C3D9-4674-92CF-50FF10597200}" type="datetime'''''''0''''''''''''''''.''''''''''''''''03''''''''''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0.03</a:t>
            </a:fld>
            <a:endParaRPr lang="el-GR" sz="900" dirty="0">
              <a:solidFill>
                <a:schemeClr val="tx1"/>
              </a:solidFill>
              <a:latin typeface="+mn-lt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4DFC2A3D-047F-4B6E-829B-FCCE71DF1A95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3151188" y="4494213"/>
            <a:ext cx="25400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6B1C96F-CAC8-44FE-9E29-56754FB38FC7}" type="datetime'''''''''0''''''''''''''''.''''''''''76''''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76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2" name="Rectangle 11"/>
          <p:cNvSpPr/>
          <p:nvPr>
            <p:custDataLst>
              <p:tags r:id="rId62"/>
            </p:custDataLst>
          </p:nvPr>
        </p:nvSpPr>
        <p:spPr bwMode="gray">
          <a:xfrm>
            <a:off x="3935413" y="3354388"/>
            <a:ext cx="254000" cy="1365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5CDFE0-F039-403E-BE67-A097D0C94D46}" type="datetime'''''''''''''''''''''0''''''''.0''''''''''''''''''3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03</a:t>
            </a:fld>
            <a:endParaRPr lang="el-GR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5B8A0835-CBEB-4810-9161-E797D308038A}"/>
              </a:ext>
            </a:extLst>
          </p:cNvPr>
          <p:cNvSpPr/>
          <p:nvPr>
            <p:custDataLst>
              <p:tags r:id="rId63"/>
            </p:custDataLst>
          </p:nvPr>
        </p:nvSpPr>
        <p:spPr bwMode="gray">
          <a:xfrm>
            <a:off x="3935413" y="3563938"/>
            <a:ext cx="254000" cy="1365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095142E-012D-43A1-B9FE-FE3CF4440B62}" type="datetime'''''0''''''''''''''''''''''.''1''7''''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7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9A1B8B8B-9D2D-47B3-BFB5-6A1D7D9CAB61}"/>
              </a:ext>
            </a:extLst>
          </p:cNvPr>
          <p:cNvSpPr/>
          <p:nvPr>
            <p:custDataLst>
              <p:tags r:id="rId64"/>
            </p:custDataLst>
          </p:nvPr>
        </p:nvSpPr>
        <p:spPr bwMode="gray">
          <a:xfrm>
            <a:off x="4721225" y="4460875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F4C8D14-F318-4B14-BFB5-B5F24E3091E3}" type="datetime'0''.''''''8''''''''''''''''''0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80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54" name="Rectangle 253">
            <a:extLst>
              <a:ext uri="{FF2B5EF4-FFF2-40B4-BE49-F238E27FC236}">
                <a16:creationId xmlns:a16="http://schemas.microsoft.com/office/drawing/2014/main" id="{2BDD8A2C-9073-4BE2-95DC-6001A79B7774}"/>
              </a:ext>
            </a:extLst>
          </p:cNvPr>
          <p:cNvSpPr/>
          <p:nvPr>
            <p:custDataLst>
              <p:tags r:id="rId65"/>
            </p:custDataLst>
          </p:nvPr>
        </p:nvSpPr>
        <p:spPr bwMode="gray">
          <a:xfrm>
            <a:off x="4329113" y="4549775"/>
            <a:ext cx="25400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C1022F7-BAF5-4E80-88DB-2BA11B7BA8A7}" type="datetime'0''''''''''''''''''''.''''7''''''1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71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C500829-5C44-4248-8D76-D460D6BEA1D3}"/>
              </a:ext>
            </a:extLst>
          </p:cNvPr>
          <p:cNvSpPr/>
          <p:nvPr>
            <p:custDataLst>
              <p:tags r:id="rId66"/>
            </p:custDataLst>
          </p:nvPr>
        </p:nvSpPr>
        <p:spPr bwMode="gray">
          <a:xfrm>
            <a:off x="4721225" y="3192463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BDE914E-8F03-412C-B707-4A73F516B7C0}" type="datetime'''0''''''''''''''''.''''''''''''''''''''''0''''''''3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0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91" name="Text Placeholder 14">
            <a:extLst>
              <a:ext uri="{FF2B5EF4-FFF2-40B4-BE49-F238E27FC236}">
                <a16:creationId xmlns:a16="http://schemas.microsoft.com/office/drawing/2014/main" id="{C828B289-34E9-44C8-883C-74FF9E74E4C7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4686300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B247A22-6CC7-4E9B-B200-60EDC0617C9D}" type="datetime'''''''Q''''''''''''''''''''''''''''4/''1''''''''''8'''''''">
              <a:rPr lang="el-GR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Q4/18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4EF40CCD-9880-4CD9-89F2-E9EC66B00753}"/>
              </a:ext>
            </a:extLst>
          </p:cNvPr>
          <p:cNvSpPr/>
          <p:nvPr>
            <p:custDataLst>
              <p:tags r:id="rId68"/>
            </p:custDataLst>
          </p:nvPr>
        </p:nvSpPr>
        <p:spPr bwMode="gray">
          <a:xfrm>
            <a:off x="5114925" y="3484563"/>
            <a:ext cx="254000" cy="1238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E93712C-0DE0-4F88-9774-AD1077F58252}" type="datetime'''0''.''1''''''''''''''''''''''''''''''''''''''''''8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18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4892AF70-FE1F-436E-8E77-F93DAE27990C}"/>
              </a:ext>
            </a:extLst>
          </p:cNvPr>
          <p:cNvSpPr/>
          <p:nvPr>
            <p:custDataLst>
              <p:tags r:id="rId69"/>
            </p:custDataLst>
          </p:nvPr>
        </p:nvSpPr>
        <p:spPr bwMode="gray">
          <a:xfrm>
            <a:off x="5507038" y="3249613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AB7F765-7222-4550-9FFD-6426331FE5FC}" type="datetime'''''''''0''.''''''''''''''''''''''''''''''''''03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/>
              <a:t>0.0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60" name="Rectangle 259">
            <a:extLst>
              <a:ext uri="{FF2B5EF4-FFF2-40B4-BE49-F238E27FC236}">
                <a16:creationId xmlns:a16="http://schemas.microsoft.com/office/drawing/2014/main" id="{6929FC16-31DB-40E1-8F78-D938CDDFC8A9}"/>
              </a:ext>
            </a:extLst>
          </p:cNvPr>
          <p:cNvSpPr/>
          <p:nvPr>
            <p:custDataLst>
              <p:tags r:id="rId70"/>
            </p:custDataLst>
          </p:nvPr>
        </p:nvSpPr>
        <p:spPr bwMode="gray">
          <a:xfrm>
            <a:off x="5507038" y="4498975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C90CF53-E929-4D02-A1FC-A44943A667D6}" type="datetime'''''''''''''0''.7''''''6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76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516F9C2E-61A3-4E9B-AC4E-C025F8F328FF}"/>
              </a:ext>
            </a:extLst>
          </p:cNvPr>
          <p:cNvSpPr/>
          <p:nvPr>
            <p:custDataLst>
              <p:tags r:id="rId71"/>
            </p:custDataLst>
          </p:nvPr>
        </p:nvSpPr>
        <p:spPr bwMode="gray">
          <a:xfrm>
            <a:off x="5507038" y="3481388"/>
            <a:ext cx="254000" cy="1238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E78E70E-46D5-4536-8DFE-C25EDAABF95F}" type="datetime'0''''.''''1''''''''''''''''9''''''''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19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96" name="Text Placeholder 14">
            <a:extLst>
              <a:ext uri="{FF2B5EF4-FFF2-40B4-BE49-F238E27FC236}">
                <a16:creationId xmlns:a16="http://schemas.microsoft.com/office/drawing/2014/main" id="{FFF60FAA-6588-4893-8976-D3387DCCC9E4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5472113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E87F5D9-72F7-49DE-A45B-919C78F3E3FE}" type="datetime'''''Q2''''''''''''''/''1''''''''''''''9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Q2/19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85C10D65-CDB9-48CA-BBA6-50AE7860CD68}"/>
              </a:ext>
            </a:extLst>
          </p:cNvPr>
          <p:cNvSpPr/>
          <p:nvPr>
            <p:custDataLst>
              <p:tags r:id="rId73"/>
            </p:custDataLst>
          </p:nvPr>
        </p:nvSpPr>
        <p:spPr bwMode="gray">
          <a:xfrm>
            <a:off x="5900738" y="3321050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1A05B2F-2254-49C2-81CB-81FC807EAD27}" type="datetime'''''''''0''''''''''''.0''''''''''''''''3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/>
              <a:t>0.0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9" name="Rectangle 8"/>
          <p:cNvSpPr/>
          <p:nvPr>
            <p:custDataLst>
              <p:tags r:id="rId74"/>
            </p:custDataLst>
          </p:nvPr>
        </p:nvSpPr>
        <p:spPr bwMode="gray">
          <a:xfrm>
            <a:off x="3543300" y="3165475"/>
            <a:ext cx="254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rtlCol="0" anchor="b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BCFBCC4-4402-462D-80DA-B9684063E4D1}" type="datetime'''''''''''''''''''0''.9''''''''''''''''''''''''''''''''5''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95</a:t>
            </a:fld>
            <a:endParaRPr lang="el-GR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A325CA68-E788-4E15-9907-2A460A1EB4AF}"/>
              </a:ext>
            </a:extLst>
          </p:cNvPr>
          <p:cNvSpPr/>
          <p:nvPr>
            <p:custDataLst>
              <p:tags r:id="rId75"/>
            </p:custDataLst>
          </p:nvPr>
        </p:nvSpPr>
        <p:spPr bwMode="gray">
          <a:xfrm>
            <a:off x="5900738" y="3548063"/>
            <a:ext cx="254000" cy="1238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F2CEA7B-C901-4EBD-96E7-C2B54EA419CB}" type="datetime'''''''''''''0''.''''1''''''9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19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939CF5E9-B971-4B91-827B-96DD79298723}"/>
              </a:ext>
            </a:extLst>
          </p:cNvPr>
          <p:cNvSpPr/>
          <p:nvPr>
            <p:custDataLst>
              <p:tags r:id="rId76"/>
            </p:custDataLst>
          </p:nvPr>
        </p:nvSpPr>
        <p:spPr bwMode="gray">
          <a:xfrm>
            <a:off x="5900738" y="4530725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0E6DDA7-69F7-4942-97C4-2E88FEBCEAE0}" type="datetime'''0''''''''''''''''''''''.''''''''7''''''''''''3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73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9" name="Text Placeholder 14">
            <a:extLst>
              <a:ext uri="{FF2B5EF4-FFF2-40B4-BE49-F238E27FC236}">
                <a16:creationId xmlns:a16="http://schemas.microsoft.com/office/drawing/2014/main" id="{AE879233-D6CE-46EF-AEF5-721FD1FBD281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5865813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2D16B6E-36D4-4E8A-8B6D-A7C0DBF586DC}" type="datetime'''''''Q''''''''3/1''9''''''''''''''''''''''''''''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Q3/19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7FDDC69C-BB71-4D18-B4A7-87FA15674409}"/>
              </a:ext>
            </a:extLst>
          </p:cNvPr>
          <p:cNvSpPr/>
          <p:nvPr>
            <p:custDataLst>
              <p:tags r:id="rId78"/>
            </p:custDataLst>
          </p:nvPr>
        </p:nvSpPr>
        <p:spPr bwMode="gray">
          <a:xfrm>
            <a:off x="6292850" y="3070225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0894C42-930F-487A-A3CA-7BFAAD0E07F4}" type="datetime'0''''''''.''''''''''0''''''''''''''''''''3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/>
              <a:t>0.0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30" name="Text Placeholder 14">
            <a:extLst>
              <a:ext uri="{FF2B5EF4-FFF2-40B4-BE49-F238E27FC236}">
                <a16:creationId xmlns:a16="http://schemas.microsoft.com/office/drawing/2014/main" id="{BC76CD71-2307-41A6-A598-FF6F94EE074C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10579100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2F58868-7D99-498F-B13E-E566E0D8BD6D}" type="datetime'''''''Q3''''''''''''''''''''/''''''''''''''''''22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ea typeface="Verdana" panose="020B0604030504040204" pitchFamily="34" charset="0"/>
                <a:cs typeface="+mn-cs"/>
              </a:rPr>
              <a:pPr/>
              <a:t>Q3/22</a:t>
            </a:fld>
            <a:endParaRPr lang="el-GR" sz="900">
              <a:solidFill>
                <a:schemeClr val="tx1"/>
              </a:solidFill>
              <a:latin typeface="+mn-lt"/>
              <a:ea typeface="Verdana" panose="020B0604030504040204" pitchFamily="34" charset="0"/>
              <a:cs typeface="+mn-cs"/>
              <a:sym typeface="Arial"/>
            </a:endParaRPr>
          </a:p>
        </p:txBody>
      </p:sp>
      <p:sp>
        <p:nvSpPr>
          <p:cNvPr id="290" name="Rectangle 289">
            <a:extLst>
              <a:ext uri="{FF2B5EF4-FFF2-40B4-BE49-F238E27FC236}">
                <a16:creationId xmlns:a16="http://schemas.microsoft.com/office/drawing/2014/main" id="{A1F51F56-CECB-4D8A-A09B-D8177DFA7456}"/>
              </a:ext>
            </a:extLst>
          </p:cNvPr>
          <p:cNvSpPr/>
          <p:nvPr>
            <p:custDataLst>
              <p:tags r:id="rId80"/>
            </p:custDataLst>
          </p:nvPr>
        </p:nvSpPr>
        <p:spPr bwMode="gray">
          <a:xfrm>
            <a:off x="10221913" y="3308350"/>
            <a:ext cx="254000" cy="1238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9226FE6-11AD-4D70-A38F-CA4CB9AA0FBF}" type="datetime'0''''''''''''''''''''''.''''''''2''''''''''5''''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</a:rPr>
              <a:pPr/>
              <a:t>0.25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DAA9D0FD-C0F2-4548-B380-8B104C15C044}"/>
              </a:ext>
            </a:extLst>
          </p:cNvPr>
          <p:cNvSpPr/>
          <p:nvPr>
            <p:custDataLst>
              <p:tags r:id="rId81"/>
            </p:custDataLst>
          </p:nvPr>
        </p:nvSpPr>
        <p:spPr bwMode="gray">
          <a:xfrm>
            <a:off x="6292850" y="3321050"/>
            <a:ext cx="254000" cy="1238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B0E8592-F307-4F6B-A3A4-ACF2703092AB}" type="datetime'0''''''''''''.''''2''''''''''''''0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0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0E65427F-7B93-4D0C-B6A6-04F8B228A42F}"/>
              </a:ext>
            </a:extLst>
          </p:cNvPr>
          <p:cNvSpPr/>
          <p:nvPr>
            <p:custDataLst>
              <p:tags r:id="rId82"/>
            </p:custDataLst>
          </p:nvPr>
        </p:nvSpPr>
        <p:spPr bwMode="gray">
          <a:xfrm>
            <a:off x="9828213" y="2935288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CAECB2F-F0A8-41C2-B8D4-DD8810AA54AA}" type="datetime'1''''''''''''''''''''.''''''''''''''''''''0''''''''''''7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sym typeface="Arial" panose="020B0604020202020204" pitchFamily="34" charset="0"/>
              </a:rPr>
              <a:pPr/>
              <a:t>1.07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A0223378-BDAE-405C-90BD-19A25045152C}"/>
              </a:ext>
            </a:extLst>
          </p:cNvPr>
          <p:cNvSpPr/>
          <p:nvPr>
            <p:custDataLst>
              <p:tags r:id="rId83"/>
            </p:custDataLst>
          </p:nvPr>
        </p:nvSpPr>
        <p:spPr bwMode="gray">
          <a:xfrm>
            <a:off x="6292850" y="4427538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2BC6003-B26F-4BE0-9643-5C8AE153471A}" type="datetime'''''''''''''''''''''''''''''''''''''''0''''''.83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83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382E6286-B586-40FE-820A-23CB8BC33975}"/>
              </a:ext>
            </a:extLst>
          </p:cNvPr>
          <p:cNvSpPr/>
          <p:nvPr>
            <p:custDataLst>
              <p:tags r:id="rId84"/>
            </p:custDataLst>
          </p:nvPr>
        </p:nvSpPr>
        <p:spPr bwMode="gray">
          <a:xfrm>
            <a:off x="7078663" y="3178175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C1B4138-813F-4704-BB1A-892445807946}" type="datetime'''''''0''''''''''''.9''''''''''''''''5''''''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/>
              <a:t>0.95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93" name="Text Placeholder 14">
            <a:extLst>
              <a:ext uri="{FF2B5EF4-FFF2-40B4-BE49-F238E27FC236}">
                <a16:creationId xmlns:a16="http://schemas.microsoft.com/office/drawing/2014/main" id="{FF2F9EDB-6617-4E97-8D8B-51C965AD1EE4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6257925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D42DA60-6473-4E8F-B033-185EB1D1A73B}" type="datetime'''''''''''''''Q''4''''/''''1''''''''''''9''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Q4/19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7E817891-E494-464C-A97C-C4B228B9908B}"/>
              </a:ext>
            </a:extLst>
          </p:cNvPr>
          <p:cNvSpPr/>
          <p:nvPr>
            <p:custDataLst>
              <p:tags r:id="rId86"/>
            </p:custDataLst>
          </p:nvPr>
        </p:nvSpPr>
        <p:spPr bwMode="gray">
          <a:xfrm>
            <a:off x="6686550" y="3087688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0D875FE-4F46-4ABE-913A-82D457590F3F}" type="datetime'''''''''0''''''''.''''''''''''''''0''''''''''''''''''''3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/>
              <a:t>0.0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9DE1B101-31BE-4DBC-8BEB-E78A2A8584B5}"/>
              </a:ext>
            </a:extLst>
          </p:cNvPr>
          <p:cNvSpPr/>
          <p:nvPr>
            <p:custDataLst>
              <p:tags r:id="rId87"/>
            </p:custDataLst>
          </p:nvPr>
        </p:nvSpPr>
        <p:spPr bwMode="gray">
          <a:xfrm>
            <a:off x="6686550" y="3351213"/>
            <a:ext cx="254000" cy="1238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DA0CE19-5CA7-4FFD-AC6C-F865B4F5DCFE}" type="datetime'''''0.''''''''2''''''''''''''''''1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1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55B52B69-07B6-488C-893B-1D5DD37A0844}"/>
              </a:ext>
            </a:extLst>
          </p:cNvPr>
          <p:cNvSpPr/>
          <p:nvPr>
            <p:custDataLst>
              <p:tags r:id="rId88"/>
            </p:custDataLst>
          </p:nvPr>
        </p:nvSpPr>
        <p:spPr bwMode="gray">
          <a:xfrm>
            <a:off x="6686550" y="4448175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15F05F0-4E05-48CA-8C57-0FAE245620A2}" type="datetime'''''''0''''.''8''''''''''''''''''''''1''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81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50" name="Text Placeholder 14">
            <a:extLst>
              <a:ext uri="{FF2B5EF4-FFF2-40B4-BE49-F238E27FC236}">
                <a16:creationId xmlns:a16="http://schemas.microsoft.com/office/drawing/2014/main" id="{56589E73-36ED-4093-9742-D2BA51C54A63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6651625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6C67AE3-CD9F-4B59-8A4E-233E4026DC53}" type="datetime'''''''''Q''''''1/2''''''''''''0''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Q1/20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8823D45F-D7CE-471A-8B46-92B658703082}"/>
              </a:ext>
            </a:extLst>
          </p:cNvPr>
          <p:cNvSpPr/>
          <p:nvPr>
            <p:custDataLst>
              <p:tags r:id="rId90"/>
            </p:custDataLst>
          </p:nvPr>
        </p:nvSpPr>
        <p:spPr bwMode="gray">
          <a:xfrm>
            <a:off x="7078663" y="3303588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E0541F5-D1E3-4992-836A-4FDA99B5D125}" type="datetime'''''''''''''''''''0''''''''''''.''''''''''0''''3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/>
              <a:t>0.0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69" name="Rectangle 268">
            <a:extLst>
              <a:ext uri="{FF2B5EF4-FFF2-40B4-BE49-F238E27FC236}">
                <a16:creationId xmlns:a16="http://schemas.microsoft.com/office/drawing/2014/main" id="{492131C3-86AE-487C-9159-74CC2DA5F903}"/>
              </a:ext>
            </a:extLst>
          </p:cNvPr>
          <p:cNvSpPr/>
          <p:nvPr>
            <p:custDataLst>
              <p:tags r:id="rId91"/>
            </p:custDataLst>
          </p:nvPr>
        </p:nvSpPr>
        <p:spPr bwMode="gray">
          <a:xfrm>
            <a:off x="7078663" y="3544888"/>
            <a:ext cx="254000" cy="1238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9AE1B7D-A55C-4EBE-9D7C-55E2A918BBDE}" type="datetime'''''0''''''''''.''''''''''2''''''''''''0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0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EBA122AE-E729-487F-8E93-DBC47FB4F4F0}"/>
              </a:ext>
            </a:extLst>
          </p:cNvPr>
          <p:cNvSpPr/>
          <p:nvPr>
            <p:custDataLst>
              <p:tags r:id="rId92"/>
            </p:custDataLst>
          </p:nvPr>
        </p:nvSpPr>
        <p:spPr bwMode="gray">
          <a:xfrm>
            <a:off x="7078663" y="4533900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2DAD52B-B4F0-41DC-82E5-90E65DCFEEB4}" type="datetime'''''0''.7''''''''''3''''''''''''''''''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73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BFBD05D4-E2CE-458D-B67C-2960A02ACD4D}"/>
              </a:ext>
            </a:extLst>
          </p:cNvPr>
          <p:cNvSpPr/>
          <p:nvPr>
            <p:custDataLst>
              <p:tags r:id="rId93"/>
            </p:custDataLst>
          </p:nvPr>
        </p:nvSpPr>
        <p:spPr bwMode="gray">
          <a:xfrm>
            <a:off x="7472363" y="3243263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3B84DB6-955E-40D4-9B79-94D33599D7F9}" type="datetime'''''''0''.''0''''''''''''''3''''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/>
              <a:t>0.0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25" name="Text Placeholder 14">
            <a:extLst>
              <a:ext uri="{FF2B5EF4-FFF2-40B4-BE49-F238E27FC236}">
                <a16:creationId xmlns:a16="http://schemas.microsoft.com/office/drawing/2014/main" id="{84E3420A-1DC3-4B73-A4DF-B389D64237F6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10972800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D751999-B6DC-4E12-B6E5-494EC8EB5360}" type="datetime'''Q''''''4''''''/''''''''''''''''''2''''''''''2''''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ea typeface="Verdana" panose="020B0604030504040204" pitchFamily="34" charset="0"/>
                <a:cs typeface="+mn-cs"/>
              </a:rPr>
              <a:pPr/>
              <a:t>Q4/22</a:t>
            </a:fld>
            <a:endParaRPr lang="el-GR" sz="900">
              <a:solidFill>
                <a:schemeClr val="tx1"/>
              </a:solidFill>
              <a:latin typeface="+mn-lt"/>
              <a:ea typeface="Verdana" panose="020B0604030504040204" pitchFamily="34" charset="0"/>
              <a:cs typeface="+mn-cs"/>
              <a:sym typeface="Arial"/>
            </a:endParaRP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C1FACE44-B1BE-4A04-ACFA-776CDC374349}"/>
              </a:ext>
            </a:extLst>
          </p:cNvPr>
          <p:cNvSpPr/>
          <p:nvPr>
            <p:custDataLst>
              <p:tags r:id="rId95"/>
            </p:custDataLst>
          </p:nvPr>
        </p:nvSpPr>
        <p:spPr bwMode="gray">
          <a:xfrm>
            <a:off x="7472363" y="3494088"/>
            <a:ext cx="254000" cy="1238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62651AF-E834-4F33-B7DD-01D83326ABE6}" type="datetime'''''''''0''.''''''''''''''''''20''''''''''''''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0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59B76172-490B-4703-992D-D79B1C6BF4EF}"/>
              </a:ext>
            </a:extLst>
          </p:cNvPr>
          <p:cNvSpPr/>
          <p:nvPr>
            <p:custDataLst>
              <p:tags r:id="rId96"/>
            </p:custDataLst>
          </p:nvPr>
        </p:nvSpPr>
        <p:spPr bwMode="gray">
          <a:xfrm>
            <a:off x="7472363" y="4513263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2BEB4E4-C2C3-4DA4-A98E-D0AF9A273B76}" type="datetime'''''''''''''''''''''''''''''''''''0''''''''''''.75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75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03" name="Text Placeholder 14">
            <a:extLst>
              <a:ext uri="{FF2B5EF4-FFF2-40B4-BE49-F238E27FC236}">
                <a16:creationId xmlns:a16="http://schemas.microsoft.com/office/drawing/2014/main" id="{E33ED4C8-BDC3-445E-8362-7E9A2532423F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7437438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2193445-81D4-420F-8E5B-D36A6FEF5FD3}" type="datetime'''''Q''3/''''''20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Q3/20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20848FDF-6452-44C6-8B66-06E323CAEE5C}"/>
              </a:ext>
            </a:extLst>
          </p:cNvPr>
          <p:cNvSpPr/>
          <p:nvPr>
            <p:custDataLst>
              <p:tags r:id="rId98"/>
            </p:custDataLst>
          </p:nvPr>
        </p:nvSpPr>
        <p:spPr bwMode="gray">
          <a:xfrm>
            <a:off x="7864475" y="2957513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86E90E5-B7E0-402D-B1EF-009EC3BC4F84}" type="datetime'''''0.''''''''''0''''''''''''''''''3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0.0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C438EEF1-3E7A-4A17-AF52-C5A826D8B3B5}"/>
              </a:ext>
            </a:extLst>
          </p:cNvPr>
          <p:cNvSpPr/>
          <p:nvPr>
            <p:custDataLst>
              <p:tags r:id="rId99"/>
            </p:custDataLst>
          </p:nvPr>
        </p:nvSpPr>
        <p:spPr bwMode="gray">
          <a:xfrm>
            <a:off x="7864475" y="4389438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AC77923-69EA-4CE3-9D2E-C449F2326BCA}" type="datetime'''''0''''''.''''''''''''8''''''''''''''''6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0.86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2" name="Text Placeholder 14">
            <a:extLst>
              <a:ext uri="{FF2B5EF4-FFF2-40B4-BE49-F238E27FC236}">
                <a16:creationId xmlns:a16="http://schemas.microsoft.com/office/drawing/2014/main" id="{3D2E8CE8-C884-4960-A3BF-C1C1DD346D6C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7829550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429E6A0-011A-440B-AECD-23439DE92295}" type="datetime'''''''''Q''''4''''''''/''''''''2''''0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Q4/20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CA253A41-4EFC-4B6E-8159-CD9FD1321524}"/>
              </a:ext>
            </a:extLst>
          </p:cNvPr>
          <p:cNvSpPr/>
          <p:nvPr>
            <p:custDataLst>
              <p:tags r:id="rId101"/>
            </p:custDataLst>
          </p:nvPr>
        </p:nvSpPr>
        <p:spPr bwMode="gray">
          <a:xfrm>
            <a:off x="8256588" y="3224213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4770BC0-2CD4-402D-94D4-C0A65B527F61}" type="datetime'''''''''0''''''''.''''''''''''''''''''''''''''''0''''''''3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0.0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0AE55B44-4131-4D0E-B08D-0370550AA5AA}"/>
              </a:ext>
            </a:extLst>
          </p:cNvPr>
          <p:cNvSpPr/>
          <p:nvPr>
            <p:custDataLst>
              <p:tags r:id="rId102"/>
            </p:custDataLst>
          </p:nvPr>
        </p:nvSpPr>
        <p:spPr bwMode="gray">
          <a:xfrm>
            <a:off x="8256588" y="4521200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72FDC47-7E3A-42DF-97D6-3536B5282CEE}" type="datetime'''''''''''''''''''0''''''''''''''.7''''''''''''''''''''''''4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0.74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1" name="Text Placeholder 14">
            <a:extLst>
              <a:ext uri="{FF2B5EF4-FFF2-40B4-BE49-F238E27FC236}">
                <a16:creationId xmlns:a16="http://schemas.microsoft.com/office/drawing/2014/main" id="{5027898E-25EB-4769-AB3C-32B3536B7078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8221663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B89ACA2C-FCD9-4581-946B-8F5B34D8C0B6}" type="datetime'''''''''''''''''Q''1''''''''''''/''''''2''''1''''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Q1/21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A723E6C5-BB81-4E10-8604-4E4F0331A27F}"/>
              </a:ext>
            </a:extLst>
          </p:cNvPr>
          <p:cNvSpPr/>
          <p:nvPr>
            <p:custDataLst>
              <p:tags r:id="rId104"/>
            </p:custDataLst>
          </p:nvPr>
        </p:nvSpPr>
        <p:spPr bwMode="gray">
          <a:xfrm>
            <a:off x="8650288" y="3130550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4978821-593E-453C-852C-C29505E24472}" type="datetime'''''''''''''0.''''''''''''0''''''''''3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sym typeface="Arial" panose="020B0604020202020204" pitchFamily="34" charset="0"/>
              </a:rPr>
              <a:pPr/>
              <a:t>0.0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BA551CBA-71E5-4F92-BC9C-9834B52E0189}"/>
              </a:ext>
            </a:extLst>
          </p:cNvPr>
          <p:cNvSpPr/>
          <p:nvPr>
            <p:custDataLst>
              <p:tags r:id="rId105"/>
            </p:custDataLst>
          </p:nvPr>
        </p:nvSpPr>
        <p:spPr bwMode="gray">
          <a:xfrm>
            <a:off x="8650288" y="3414713"/>
            <a:ext cx="254000" cy="1238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5041C3E-8179-469E-9AF6-F8C91C507547}" type="datetime'''''''0''''''''''.''''''''''''''''''2''''''4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sym typeface="Arial" panose="020B0604020202020204" pitchFamily="34" charset="0"/>
              </a:rPr>
              <a:pPr/>
              <a:t>0.24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320" name="Rectangle 319">
            <a:extLst>
              <a:ext uri="{FF2B5EF4-FFF2-40B4-BE49-F238E27FC236}">
                <a16:creationId xmlns:a16="http://schemas.microsoft.com/office/drawing/2014/main" id="{C5376E1B-689A-4112-A47A-EDD936B381F8}"/>
              </a:ext>
            </a:extLst>
          </p:cNvPr>
          <p:cNvSpPr/>
          <p:nvPr>
            <p:custDataLst>
              <p:tags r:id="rId106"/>
            </p:custDataLst>
          </p:nvPr>
        </p:nvSpPr>
        <p:spPr bwMode="gray">
          <a:xfrm>
            <a:off x="11007725" y="3081338"/>
            <a:ext cx="254000" cy="1238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AFEF914-AAF2-4B8B-BE93-BAADD25D340E}" type="datetime'''''''''''''0''''''.''''''''''2''''8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8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C2825A91-7726-40BE-BB43-C27F8127C6C8}"/>
              </a:ext>
            </a:extLst>
          </p:cNvPr>
          <p:cNvSpPr/>
          <p:nvPr>
            <p:custDataLst>
              <p:tags r:id="rId107"/>
            </p:custDataLst>
          </p:nvPr>
        </p:nvSpPr>
        <p:spPr bwMode="gray">
          <a:xfrm>
            <a:off x="8650288" y="4491038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01F4843-A10D-4BFC-B43B-657A43627A0E}" type="datetime'''''''''''''''''''''0.''7''''''''''''''''7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sym typeface="Arial" panose="020B0604020202020204" pitchFamily="34" charset="0"/>
              </a:rPr>
              <a:pPr/>
              <a:t>0.77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186" name="Text Placeholder 14">
            <a:extLst>
              <a:ext uri="{FF2B5EF4-FFF2-40B4-BE49-F238E27FC236}">
                <a16:creationId xmlns:a16="http://schemas.microsoft.com/office/drawing/2014/main" id="{AFDEAAF6-4D13-4A39-AD82-3C900908F042}"/>
              </a:ext>
            </a:extLst>
          </p:cNvPr>
          <p:cNvSpPr>
            <a:spLocks noGrp="1"/>
          </p:cNvSpPr>
          <p:nvPr>
            <p:custDataLst>
              <p:tags r:id="rId108"/>
            </p:custDataLst>
          </p:nvPr>
        </p:nvSpPr>
        <p:spPr bwMode="auto">
          <a:xfrm>
            <a:off x="8615363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6355DFD-67BD-4361-8E96-B5FDB2CD1A2F}" type="datetime'''''''Q''''2''''''''/''''2''''''''''''''''''''''''1'''''''">
              <a:rPr lang="en-US" altLang="en-US" sz="900" smtClean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+mn-cs"/>
              </a:rPr>
              <a:pPr/>
              <a:t>Q2/21</a:t>
            </a:fld>
            <a:endParaRPr lang="el-GR" sz="900">
              <a:solidFill>
                <a:schemeClr val="tx1"/>
              </a:solidFill>
              <a:latin typeface="+mn-lt"/>
              <a:ea typeface="Verdana" panose="020B0604030504040204" pitchFamily="34" charset="0"/>
              <a:cs typeface="+mn-cs"/>
              <a:sym typeface="Arial"/>
            </a:endParaRP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E2AB0AB4-7D6B-4D60-92C9-123A408558A9}"/>
              </a:ext>
            </a:extLst>
          </p:cNvPr>
          <p:cNvSpPr/>
          <p:nvPr>
            <p:custDataLst>
              <p:tags r:id="rId109"/>
            </p:custDataLst>
          </p:nvPr>
        </p:nvSpPr>
        <p:spPr bwMode="gray">
          <a:xfrm>
            <a:off x="9042400" y="3121025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A7DA04B-3EFC-47B3-85B0-0E278000EFC7}" type="datetime'''0''''''''''''''.''''03'''">
              <a:rPr lang="en-US" altLang="en-US" sz="900" smtClean="0">
                <a:solidFill>
                  <a:schemeClr val="tx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0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4DBA3D9A-B30C-430B-A097-72D7432FC785}"/>
              </a:ext>
            </a:extLst>
          </p:cNvPr>
          <p:cNvSpPr/>
          <p:nvPr>
            <p:custDataLst>
              <p:tags r:id="rId110"/>
            </p:custDataLst>
          </p:nvPr>
        </p:nvSpPr>
        <p:spPr bwMode="gray">
          <a:xfrm>
            <a:off x="9042400" y="3403600"/>
            <a:ext cx="254000" cy="1238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4DF9E53-AC5D-48F5-AE02-5F49626077ED}" type="datetime'''''''''''''''''''''0''.''''''''2''''4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4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63A5859E-2364-46A0-A9A8-8B16E48D8225}"/>
              </a:ext>
            </a:extLst>
          </p:cNvPr>
          <p:cNvSpPr/>
          <p:nvPr>
            <p:custDataLst>
              <p:tags r:id="rId111"/>
            </p:custDataLst>
          </p:nvPr>
        </p:nvSpPr>
        <p:spPr bwMode="gray">
          <a:xfrm>
            <a:off x="9042400" y="4486275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45477DA-C354-4E2A-94A3-9B2FC0BCB3EE}" type="datetime'''''''''''''''''''''''''0.''''''''''''''''''77''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77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187" name="Text Placeholder 14">
            <a:extLst>
              <a:ext uri="{FF2B5EF4-FFF2-40B4-BE49-F238E27FC236}">
                <a16:creationId xmlns:a16="http://schemas.microsoft.com/office/drawing/2014/main" id="{1C394E4B-F1C0-4276-9AAE-FF1732616C06}"/>
              </a:ext>
            </a:extLst>
          </p:cNvPr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9007475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EE26C71-3465-4C53-B5AE-9A9D13231C74}" type="datetime'''Q''3''''/''''2''''1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ea typeface="Verdana" panose="020B0604030504040204" pitchFamily="34" charset="0"/>
                <a:cs typeface="+mn-cs"/>
              </a:rPr>
              <a:pPr/>
              <a:t>Q3/21</a:t>
            </a:fld>
            <a:endParaRPr lang="el-GR" sz="900">
              <a:solidFill>
                <a:schemeClr val="tx1"/>
              </a:solidFill>
              <a:latin typeface="+mn-lt"/>
              <a:ea typeface="Verdana" panose="020B0604030504040204" pitchFamily="34" charset="0"/>
              <a:cs typeface="+mn-cs"/>
              <a:sym typeface="Arial"/>
            </a:endParaRP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EFAB643A-D27A-4ACC-8909-105E6AF13A88}"/>
              </a:ext>
            </a:extLst>
          </p:cNvPr>
          <p:cNvSpPr/>
          <p:nvPr>
            <p:custDataLst>
              <p:tags r:id="rId113"/>
            </p:custDataLst>
          </p:nvPr>
        </p:nvSpPr>
        <p:spPr bwMode="gray">
          <a:xfrm>
            <a:off x="9436100" y="2868613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986C272-7E21-488B-93F0-C3A9FDF8EF43}" type="datetime'0''''''''''''.''''''0''3'''''''''''''''''''''''''">
              <a:rPr lang="en-US" altLang="en-US" sz="900" smtClean="0">
                <a:solidFill>
                  <a:schemeClr val="tx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0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0DA3CF93-5DF7-48F1-99B8-CDE6232AEA0A}"/>
              </a:ext>
            </a:extLst>
          </p:cNvPr>
          <p:cNvSpPr/>
          <p:nvPr>
            <p:custDataLst>
              <p:tags r:id="rId114"/>
            </p:custDataLst>
          </p:nvPr>
        </p:nvSpPr>
        <p:spPr bwMode="gray">
          <a:xfrm>
            <a:off x="9436100" y="3171825"/>
            <a:ext cx="254000" cy="1238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812187C-30DB-4EAC-A3D5-6ED55FF79D02}" type="datetime'''''''''''0''''''''''''''''.''''''''''2''5''''''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5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AACE4069-A6D1-4C9F-9192-27E584B76796}"/>
              </a:ext>
            </a:extLst>
          </p:cNvPr>
          <p:cNvSpPr/>
          <p:nvPr>
            <p:custDataLst>
              <p:tags r:id="rId115"/>
            </p:custDataLst>
          </p:nvPr>
        </p:nvSpPr>
        <p:spPr bwMode="gray">
          <a:xfrm>
            <a:off x="9436100" y="4379913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08B3AD9-1EAB-4D7B-AED4-87598435C5F5}" type="datetime'''''0''.''''''''''''''''''''''''''''''''''''''8''7''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87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01" name="Text Placeholder 14">
            <a:extLst>
              <a:ext uri="{FF2B5EF4-FFF2-40B4-BE49-F238E27FC236}">
                <a16:creationId xmlns:a16="http://schemas.microsoft.com/office/drawing/2014/main" id="{8DA4EDA8-DEF2-4C44-8103-3C32181FA21A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9401175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67FCF2E6-161E-4C93-9268-74CA37FAB504}" type="datetime'''''''''Q4/''''''''''2''''''''''''''''''''1'''">
              <a:rPr lang="en-US" altLang="en-US" sz="900" smtClean="0">
                <a:solidFill>
                  <a:schemeClr val="tx1"/>
                </a:solidFill>
                <a:effectLst/>
                <a:latin typeface="+mn-lt"/>
                <a:ea typeface="Verdana" panose="020B0604030504040204" pitchFamily="34" charset="0"/>
                <a:cs typeface="+mn-cs"/>
              </a:rPr>
              <a:pPr/>
              <a:t>Q4/21</a:t>
            </a:fld>
            <a:endParaRPr lang="el-GR" sz="900">
              <a:solidFill>
                <a:schemeClr val="tx1"/>
              </a:solidFill>
              <a:latin typeface="+mn-lt"/>
              <a:ea typeface="Verdana" panose="020B0604030504040204" pitchFamily="34" charset="0"/>
              <a:cs typeface="+mn-cs"/>
              <a:sym typeface="Arial"/>
            </a:endParaRPr>
          </a:p>
        </p:txBody>
      </p:sp>
      <p:sp>
        <p:nvSpPr>
          <p:cNvPr id="88" name="Text Placeholder 14"/>
          <p:cNvSpPr>
            <a:spLocks noGrp="1"/>
          </p:cNvSpPr>
          <p:nvPr>
            <p:custDataLst>
              <p:tags r:id="rId117"/>
            </p:custDataLst>
          </p:nvPr>
        </p:nvSpPr>
        <p:spPr bwMode="auto">
          <a:xfrm>
            <a:off x="4294188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83BCE3AD-9C05-47D8-BA0A-2DE426326E17}" type="datetime'''''Q''''''''''''''''''''''''''''3''''/1''''''''8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Q3/18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5BFF4D17-FDAA-4A1F-AE69-AE080C7ADB05}"/>
              </a:ext>
            </a:extLst>
          </p:cNvPr>
          <p:cNvSpPr/>
          <p:nvPr>
            <p:custDataLst>
              <p:tags r:id="rId118"/>
            </p:custDataLst>
          </p:nvPr>
        </p:nvSpPr>
        <p:spPr bwMode="gray">
          <a:xfrm>
            <a:off x="9828213" y="3359150"/>
            <a:ext cx="254000" cy="1238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73F48E2-44E2-4DFB-A845-03B7A7C1AB51}" type="datetime'''''''''''''0.''''''''''''''''25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5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6F228BD4-91D2-4011-8895-0F672AA27333}"/>
              </a:ext>
            </a:extLst>
          </p:cNvPr>
          <p:cNvSpPr/>
          <p:nvPr>
            <p:custDataLst>
              <p:tags r:id="rId119"/>
            </p:custDataLst>
          </p:nvPr>
        </p:nvSpPr>
        <p:spPr bwMode="gray">
          <a:xfrm>
            <a:off x="9828213" y="4471988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C3AF0F2-3235-45EC-AF32-D6C4288D4EC3}" type="datetime'''''''''''''0''''''.''''''''''''7''''''''''''''9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79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02" name="Text Placeholder 14">
            <a:extLst>
              <a:ext uri="{FF2B5EF4-FFF2-40B4-BE49-F238E27FC236}">
                <a16:creationId xmlns:a16="http://schemas.microsoft.com/office/drawing/2014/main" id="{F26E4BB7-8D4E-4DF2-9281-C34CFAEB43CF}"/>
              </a:ext>
            </a:extLst>
          </p:cNvPr>
          <p:cNvSpPr>
            <a:spLocks noGrp="1"/>
          </p:cNvSpPr>
          <p:nvPr>
            <p:custDataLst>
              <p:tags r:id="rId120"/>
            </p:custDataLst>
          </p:nvPr>
        </p:nvSpPr>
        <p:spPr bwMode="auto">
          <a:xfrm>
            <a:off x="9793288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B58C09E9-046F-43B6-B4E8-FEF49590F237}" type="datetime'Q''1''''/''''''''''''''''2''2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ea typeface="Verdana" panose="020B0604030504040204" pitchFamily="34" charset="0"/>
                <a:cs typeface="+mn-cs"/>
              </a:rPr>
              <a:pPr/>
              <a:t>Q1/22</a:t>
            </a:fld>
            <a:endParaRPr lang="el-GR" sz="900">
              <a:solidFill>
                <a:schemeClr val="tx1"/>
              </a:solidFill>
              <a:latin typeface="+mn-lt"/>
              <a:ea typeface="Verdana" panose="020B0604030504040204" pitchFamily="34" charset="0"/>
              <a:cs typeface="+mn-cs"/>
              <a:sym typeface="Arial"/>
            </a:endParaRPr>
          </a:p>
        </p:txBody>
      </p:sp>
      <p:sp>
        <p:nvSpPr>
          <p:cNvPr id="291" name="Rectangle 290">
            <a:extLst>
              <a:ext uri="{FF2B5EF4-FFF2-40B4-BE49-F238E27FC236}">
                <a16:creationId xmlns:a16="http://schemas.microsoft.com/office/drawing/2014/main" id="{E8AB40D2-2DED-4FAD-84F9-4A4804C87445}"/>
              </a:ext>
            </a:extLst>
          </p:cNvPr>
          <p:cNvSpPr/>
          <p:nvPr>
            <p:custDataLst>
              <p:tags r:id="rId121"/>
            </p:custDataLst>
          </p:nvPr>
        </p:nvSpPr>
        <p:spPr bwMode="gray">
          <a:xfrm>
            <a:off x="10221913" y="3003550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CC50806-F797-4307-BC5A-5762B6BD940E}" type="datetime'''''''''''''''''''''''0''''''''''''.''''0''''''3'">
              <a:rPr lang="en-US" altLang="en-US" sz="900" smtClean="0">
                <a:solidFill>
                  <a:schemeClr val="tx1"/>
                </a:solidFill>
                <a:effectLst/>
                <a:ea typeface="Verdana" panose="020B0604030504040204" pitchFamily="34" charset="0"/>
              </a:rPr>
              <a:pPr/>
              <a:t>0.0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89" name="Rectangle 288">
            <a:extLst>
              <a:ext uri="{FF2B5EF4-FFF2-40B4-BE49-F238E27FC236}">
                <a16:creationId xmlns:a16="http://schemas.microsoft.com/office/drawing/2014/main" id="{3B1E7E31-0003-4624-A337-1FD2D59F23D5}"/>
              </a:ext>
            </a:extLst>
          </p:cNvPr>
          <p:cNvSpPr/>
          <p:nvPr>
            <p:custDataLst>
              <p:tags r:id="rId122"/>
            </p:custDataLst>
          </p:nvPr>
        </p:nvSpPr>
        <p:spPr bwMode="gray">
          <a:xfrm>
            <a:off x="10221913" y="4448175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3F45D4D-D41E-4C38-8035-71D9E5EDC525}" type="datetime'''0''''''''''''''''''''''''''.''''''''''''''''''''8''''''1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</a:rPr>
              <a:pPr/>
              <a:t>0.81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87" name="Text Placeholder 14">
            <a:extLst>
              <a:ext uri="{FF2B5EF4-FFF2-40B4-BE49-F238E27FC236}">
                <a16:creationId xmlns:a16="http://schemas.microsoft.com/office/drawing/2014/main" id="{80098CD6-7D64-45D1-AF6B-9C5AE76B0C5E}"/>
              </a:ext>
            </a:extLst>
          </p:cNvPr>
          <p:cNvSpPr>
            <a:spLocks noGrp="1"/>
          </p:cNvSpPr>
          <p:nvPr>
            <p:custDataLst>
              <p:tags r:id="rId123"/>
            </p:custDataLst>
          </p:nvPr>
        </p:nvSpPr>
        <p:spPr bwMode="auto">
          <a:xfrm>
            <a:off x="10186988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80B8340-28AC-4CC8-B478-BD4A205EA7E9}" type="datetime'''''''''''''Q''''2''/''''''''2''2'''">
              <a:rPr lang="en-US" altLang="en-US" sz="900" smtClean="0">
                <a:solidFill>
                  <a:schemeClr val="tx1"/>
                </a:solidFill>
                <a:effectLst/>
                <a:latin typeface="+mn-lt"/>
                <a:ea typeface="Verdana" panose="020B0604030504040204" pitchFamily="34" charset="0"/>
                <a:cs typeface="+mn-cs"/>
              </a:rPr>
              <a:pPr/>
              <a:t>Q2/22</a:t>
            </a:fld>
            <a:endParaRPr lang="el-GR" sz="900">
              <a:solidFill>
                <a:schemeClr val="tx1"/>
              </a:solidFill>
              <a:latin typeface="+mn-lt"/>
              <a:ea typeface="Verdana" panose="020B0604030504040204" pitchFamily="34" charset="0"/>
              <a:cs typeface="+mn-cs"/>
              <a:sym typeface="Arial"/>
            </a:endParaRPr>
          </a:p>
        </p:txBody>
      </p:sp>
      <p:sp>
        <p:nvSpPr>
          <p:cNvPr id="296" name="Rectangle 295">
            <a:extLst>
              <a:ext uri="{FF2B5EF4-FFF2-40B4-BE49-F238E27FC236}">
                <a16:creationId xmlns:a16="http://schemas.microsoft.com/office/drawing/2014/main" id="{0FF52242-54BA-4E32-A8C9-6554D353379E}"/>
              </a:ext>
            </a:extLst>
          </p:cNvPr>
          <p:cNvSpPr/>
          <p:nvPr>
            <p:custDataLst>
              <p:tags r:id="rId124"/>
            </p:custDataLst>
          </p:nvPr>
        </p:nvSpPr>
        <p:spPr bwMode="gray">
          <a:xfrm>
            <a:off x="10614025" y="3325813"/>
            <a:ext cx="254000" cy="1238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8C0C39D-04EE-436D-A0D5-BC34601CE47F}" type="datetime'''''''''''''''0''.''''''''''25''''''''''''''''''''''''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5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321" name="Rectangle 320">
            <a:extLst>
              <a:ext uri="{FF2B5EF4-FFF2-40B4-BE49-F238E27FC236}">
                <a16:creationId xmlns:a16="http://schemas.microsoft.com/office/drawing/2014/main" id="{2645766F-D0B3-4DD6-9014-5C3915EF5BEC}"/>
              </a:ext>
            </a:extLst>
          </p:cNvPr>
          <p:cNvSpPr/>
          <p:nvPr>
            <p:custDataLst>
              <p:tags r:id="rId125"/>
            </p:custDataLst>
          </p:nvPr>
        </p:nvSpPr>
        <p:spPr bwMode="gray">
          <a:xfrm>
            <a:off x="11007725" y="2752725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8AA64CE-DDE4-4406-9973-4E400163E34C}" type="datetime'''''0''''''''''''''''''''''''''.0''''''''''''3'''''''''''">
              <a:rPr lang="en-US" altLang="en-US" sz="900" smtClean="0">
                <a:solidFill>
                  <a:schemeClr val="tx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0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323" name="Rectangle 322">
            <a:extLst>
              <a:ext uri="{FF2B5EF4-FFF2-40B4-BE49-F238E27FC236}">
                <a16:creationId xmlns:a16="http://schemas.microsoft.com/office/drawing/2014/main" id="{4658767C-5BCE-4EBC-BA78-6E93F765106C}"/>
              </a:ext>
            </a:extLst>
          </p:cNvPr>
          <p:cNvSpPr/>
          <p:nvPr>
            <p:custDataLst>
              <p:tags r:id="rId126"/>
            </p:custDataLst>
          </p:nvPr>
        </p:nvSpPr>
        <p:spPr bwMode="gray">
          <a:xfrm>
            <a:off x="11007725" y="4346575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8CF5BB5-3000-449F-A3E3-CE1731DFCE82}" type="datetime'''''0''''''''.''''9''''''''0''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90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E6DC103-2294-8A8A-79F0-9A552EBFF0CA}"/>
              </a:ext>
            </a:extLst>
          </p:cNvPr>
          <p:cNvSpPr/>
          <p:nvPr>
            <p:custDataLst>
              <p:tags r:id="rId127"/>
            </p:custDataLst>
          </p:nvPr>
        </p:nvSpPr>
        <p:spPr bwMode="gray">
          <a:xfrm>
            <a:off x="11399838" y="3190875"/>
            <a:ext cx="254000" cy="123825"/>
          </a:xfrm>
          <a:prstGeom prst="rect">
            <a:avLst/>
          </a:prstGeom>
          <a:solidFill>
            <a:srgbClr val="25B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66E0F32-6168-42E0-822F-4676EA516015}" type="datetime'''0''''''''''''.''''''''2''''''''''''''''''8''''''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28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ADE81BF1-A2C9-8B01-ECE5-6542C05ABA1B}"/>
              </a:ext>
            </a:extLst>
          </p:cNvPr>
          <p:cNvSpPr/>
          <p:nvPr>
            <p:custDataLst>
              <p:tags r:id="rId128"/>
            </p:custDataLst>
          </p:nvPr>
        </p:nvSpPr>
        <p:spPr bwMode="gray">
          <a:xfrm>
            <a:off x="11399838" y="4405313"/>
            <a:ext cx="254000" cy="1238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EAAEC7B-0B54-4B6F-8B46-12240442656F}" type="datetime'''''0''.''''''''''''''''''''''''8''''''''''''''''''5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85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308" name="Text Placeholder 14">
            <a:extLst>
              <a:ext uri="{FF2B5EF4-FFF2-40B4-BE49-F238E27FC236}">
                <a16:creationId xmlns:a16="http://schemas.microsoft.com/office/drawing/2014/main" id="{76F490F4-4964-D7B2-7C88-7E9CAA3665B8}"/>
              </a:ext>
            </a:extLst>
          </p:cNvPr>
          <p:cNvSpPr>
            <a:spLocks noGrp="1"/>
          </p:cNvSpPr>
          <p:nvPr>
            <p:custDataLst>
              <p:tags r:id="rId129"/>
            </p:custDataLst>
          </p:nvPr>
        </p:nvSpPr>
        <p:spPr bwMode="auto">
          <a:xfrm>
            <a:off x="11364913" y="5414963"/>
            <a:ext cx="323850" cy="13652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DE5896B9-2FB1-48D5-AAEA-4DC0FCDF75E1}" type="datetime'Q''''''''''1''''''''/''''''23'''''''''''''''''''''''''">
              <a:rPr lang="en-US" altLang="en-US" sz="900" smtClean="0">
                <a:solidFill>
                  <a:schemeClr val="tx1"/>
                </a:solidFill>
                <a:effectLst/>
                <a:latin typeface="+mn-lt"/>
                <a:ea typeface="Verdana" panose="020B0604030504040204" pitchFamily="34" charset="0"/>
                <a:cs typeface="+mn-cs"/>
              </a:rPr>
              <a:pPr/>
              <a:t>Q1/23</a:t>
            </a:fld>
            <a:endParaRPr lang="el-GR" sz="900">
              <a:solidFill>
                <a:schemeClr val="tx1"/>
              </a:solidFill>
              <a:latin typeface="+mn-lt"/>
              <a:ea typeface="Verdana" panose="020B0604030504040204" pitchFamily="34" charset="0"/>
              <a:cs typeface="+mn-cs"/>
              <a:sym typeface="Arial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E23C2097-7E01-4B19-95BE-686A16E4A6FD}"/>
              </a:ext>
            </a:extLst>
          </p:cNvPr>
          <p:cNvSpPr/>
          <p:nvPr>
            <p:custDataLst>
              <p:tags r:id="rId130"/>
            </p:custDataLst>
          </p:nvPr>
        </p:nvSpPr>
        <p:spPr bwMode="gray">
          <a:xfrm>
            <a:off x="7864475" y="2833688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D83A1A1-3530-450D-B03E-D4C50030476E}" type="datetime'''''''1''.''''1''''''''''''''''''2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1.12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2" name="Rectangle 251">
            <a:extLst>
              <a:ext uri="{FF2B5EF4-FFF2-40B4-BE49-F238E27FC236}">
                <a16:creationId xmlns:a16="http://schemas.microsoft.com/office/drawing/2014/main" id="{B46BFB71-6203-45BD-8507-8951E0CA72C6}"/>
              </a:ext>
            </a:extLst>
          </p:cNvPr>
          <p:cNvSpPr/>
          <p:nvPr>
            <p:custDataLst>
              <p:tags r:id="rId131"/>
            </p:custDataLst>
          </p:nvPr>
        </p:nvSpPr>
        <p:spPr bwMode="gray">
          <a:xfrm>
            <a:off x="3935413" y="4525963"/>
            <a:ext cx="254000" cy="1365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0154235-A959-4AFC-BB2F-F21597D69095}" type="datetime'''''''''''''''''0''''''.''''''''''7''''''3'''''''''''''''">
              <a:rPr lang="en-US" altLang="en-US" sz="900" smtClean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73</a:t>
            </a:fld>
            <a:endParaRPr lang="en-US" sz="900" dirty="0" err="1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90" name="Text Placeholder 15"/>
          <p:cNvSpPr>
            <a:spLocks noGrp="1"/>
          </p:cNvSpPr>
          <p:nvPr>
            <p:custDataLst>
              <p:tags r:id="rId132"/>
            </p:custDataLst>
          </p:nvPr>
        </p:nvSpPr>
        <p:spPr bwMode="gray">
          <a:xfrm>
            <a:off x="400050" y="3181350"/>
            <a:ext cx="254000" cy="136525"/>
          </a:xfrm>
          <a:prstGeom prst="rect">
            <a:avLst/>
          </a:prstGeom>
          <a:noFill/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B74233E2-88BF-422B-A3AA-CBB74AB4DC57}" type="datetime'''''0.''''''''''''''''9''''''''''''''''''5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0.95</a:t>
            </a:fld>
            <a:endParaRPr lang="el-GR" sz="900">
              <a:solidFill>
                <a:schemeClr val="tx1"/>
              </a:solidFill>
              <a:ea typeface="Verdana" panose="020B0604030504040204" pitchFamily="34" charset="0"/>
              <a:sym typeface="Arial"/>
            </a:endParaRPr>
          </a:p>
        </p:txBody>
      </p:sp>
      <p:sp>
        <p:nvSpPr>
          <p:cNvPr id="185" name="Text Placeholder 2"/>
          <p:cNvSpPr>
            <a:spLocks noGrp="1"/>
          </p:cNvSpPr>
          <p:nvPr>
            <p:custDataLst>
              <p:tags r:id="rId133"/>
            </p:custDataLst>
          </p:nvPr>
        </p:nvSpPr>
        <p:spPr bwMode="gray">
          <a:xfrm>
            <a:off x="793750" y="3203575"/>
            <a:ext cx="2540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90D22C91-9623-4729-88F5-E5A99DFF02F4}" type="datetime'''''''''''''''''0''.''''''''''93'''''''''''''''''''''''">
              <a:rPr lang="el-GR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0.93</a:t>
            </a:fld>
            <a:endParaRPr lang="el-GR" sz="900" dirty="0">
              <a:solidFill>
                <a:schemeClr val="tx1"/>
              </a:solidFill>
              <a:latin typeface="+mn-lt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83" name="Rectangle 282">
            <a:extLst>
              <a:ext uri="{FF2B5EF4-FFF2-40B4-BE49-F238E27FC236}">
                <a16:creationId xmlns:a16="http://schemas.microsoft.com/office/drawing/2014/main" id="{265D1F5A-1280-4554-AED8-2A1D72BA9D6E}"/>
              </a:ext>
            </a:extLst>
          </p:cNvPr>
          <p:cNvSpPr/>
          <p:nvPr>
            <p:custDataLst>
              <p:tags r:id="rId134"/>
            </p:custDataLst>
          </p:nvPr>
        </p:nvSpPr>
        <p:spPr bwMode="gray">
          <a:xfrm>
            <a:off x="9828213" y="3059113"/>
            <a:ext cx="254000" cy="123825"/>
          </a:xfrm>
          <a:prstGeom prst="rect">
            <a:avLst/>
          </a:prstGeom>
          <a:solidFill>
            <a:srgbClr val="CAE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73DA293-E4D7-4D31-A6B4-01A51A79DBCF}" type="datetime'''''0''.''0''''''''3'''''''''''''''''''''''''''">
              <a:rPr lang="en-US" altLang="en-US" sz="900" smtClean="0">
                <a:solidFill>
                  <a:schemeClr val="tx1"/>
                </a:solidFill>
                <a:effectLst/>
                <a:ea typeface="Verdana" panose="020B0604030504040204" pitchFamily="34" charset="0"/>
                <a:sym typeface="Arial" panose="020B0604020202020204" pitchFamily="34" charset="0"/>
              </a:rPr>
              <a:pPr/>
              <a:t>0.0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170" name="Text Placeholder 2"/>
          <p:cNvSpPr>
            <a:spLocks noGrp="1"/>
          </p:cNvSpPr>
          <p:nvPr>
            <p:custDataLst>
              <p:tags r:id="rId135"/>
            </p:custDataLst>
          </p:nvPr>
        </p:nvSpPr>
        <p:spPr bwMode="gray">
          <a:xfrm>
            <a:off x="1971675" y="3208338"/>
            <a:ext cx="2540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D562AB8-5BDF-4F3E-B531-64A50DB81D73}" type="datetime'''''''''''''''''''''''''''''''0.''''''''''''''''''9''3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0.93</a:t>
            </a:fld>
            <a:endParaRPr lang="el-GR" sz="900" dirty="0">
              <a:solidFill>
                <a:schemeClr val="tx1"/>
              </a:solidFill>
              <a:latin typeface="+mn-lt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5" name="Text Placeholder 2"/>
          <p:cNvSpPr>
            <a:spLocks noGrp="1"/>
          </p:cNvSpPr>
          <p:nvPr>
            <p:custDataLst>
              <p:tags r:id="rId136"/>
            </p:custDataLst>
          </p:nvPr>
        </p:nvSpPr>
        <p:spPr bwMode="gray">
          <a:xfrm>
            <a:off x="2365375" y="3230563"/>
            <a:ext cx="2540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1E4BE85F-CB90-4F4F-B170-57E01D7513D7}" type="datetime'''''0''''''''''''''''''''''.92''''''''''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0.92</a:t>
            </a:fld>
            <a:endParaRPr lang="el-GR" sz="900" dirty="0">
              <a:solidFill>
                <a:schemeClr val="tx1"/>
              </a:solidFill>
              <a:latin typeface="+mn-lt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0" name="Text Placeholder 2"/>
          <p:cNvSpPr>
            <a:spLocks noGrp="1"/>
          </p:cNvSpPr>
          <p:nvPr>
            <p:custDataLst>
              <p:tags r:id="rId137"/>
            </p:custDataLst>
          </p:nvPr>
        </p:nvSpPr>
        <p:spPr bwMode="gray">
          <a:xfrm>
            <a:off x="2757488" y="3321050"/>
            <a:ext cx="2540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AECCF6BB-26D0-4F88-AF10-0F482A1EBF46}" type="datetime'''''''''''0''''''''''''''''''''''''''.8''''8''''''''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0.88</a:t>
            </a:fld>
            <a:endParaRPr lang="el-GR" sz="900" dirty="0">
              <a:solidFill>
                <a:schemeClr val="tx1"/>
              </a:solidFill>
              <a:latin typeface="+mn-lt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57" name="Text Placeholder 2"/>
          <p:cNvSpPr>
            <a:spLocks noGrp="1"/>
          </p:cNvSpPr>
          <p:nvPr>
            <p:custDataLst>
              <p:tags r:id="rId138"/>
            </p:custDataLst>
          </p:nvPr>
        </p:nvSpPr>
        <p:spPr bwMode="gray">
          <a:xfrm>
            <a:off x="3151188" y="3162300"/>
            <a:ext cx="2540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75BDA3C-6FDC-4C39-AE51-84D5DA9EF514}" type="datetime'''''0''''.''''''''''''''''95''''''''''''''''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</a:rPr>
              <a:pPr/>
              <a:t>0.95</a:t>
            </a:fld>
            <a:endParaRPr lang="el-GR" sz="900" dirty="0">
              <a:solidFill>
                <a:schemeClr val="tx1"/>
              </a:solidFill>
              <a:latin typeface="+mn-lt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" name="Rectangle 7"/>
          <p:cNvSpPr/>
          <p:nvPr>
            <p:custDataLst>
              <p:tags r:id="rId139"/>
            </p:custDataLst>
          </p:nvPr>
        </p:nvSpPr>
        <p:spPr bwMode="gray">
          <a:xfrm>
            <a:off x="3935413" y="3217863"/>
            <a:ext cx="254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rtlCol="0" anchor="b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C40347F-5FF6-4587-BEC2-282A6B46101B}" type="datetime'''0''.''9''''''''''''''''''3''''''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</a:rPr>
              <a:pPr/>
              <a:t>0.93</a:t>
            </a:fld>
            <a:endParaRPr lang="el-GR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1838695-6355-453E-9017-FD4D3499389F}"/>
              </a:ext>
            </a:extLst>
          </p:cNvPr>
          <p:cNvSpPr/>
          <p:nvPr>
            <p:custDataLst>
              <p:tags r:id="rId140"/>
            </p:custDataLst>
          </p:nvPr>
        </p:nvSpPr>
        <p:spPr bwMode="gray">
          <a:xfrm>
            <a:off x="4721225" y="3068638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029E7DB-B7AB-4000-A099-5ED6204EBE95}" type="datetime'''''1''''''''.0''''1''''''''''''''''''''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.01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1" name="Rectangle 10"/>
          <p:cNvSpPr/>
          <p:nvPr>
            <p:custDataLst>
              <p:tags r:id="rId141"/>
            </p:custDataLst>
          </p:nvPr>
        </p:nvSpPr>
        <p:spPr bwMode="gray">
          <a:xfrm>
            <a:off x="4329113" y="3276600"/>
            <a:ext cx="254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rtlCol="0" anchor="b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8501742-3E24-4227-BCC2-05EFD5F0DFA7}" type="datetime'''''''''''0''''''''''''''''''''''''.''''9''0'''''">
              <a:rPr lang="el-GR" altLang="en-US" sz="90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</a:rPr>
              <a:pPr/>
              <a:t>0.90</a:t>
            </a:fld>
            <a:endParaRPr lang="el-GR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78788BAE-39C1-4574-AA1A-61D2B2462C8E}"/>
              </a:ext>
            </a:extLst>
          </p:cNvPr>
          <p:cNvSpPr/>
          <p:nvPr>
            <p:custDataLst>
              <p:tags r:id="rId142"/>
            </p:custDataLst>
          </p:nvPr>
        </p:nvSpPr>
        <p:spPr bwMode="gray">
          <a:xfrm>
            <a:off x="5507038" y="3125788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D0AA9A8-92C9-43C8-AA31-F3361E685945}" type="datetime'''''''''''''''''0''''.''''9''''''''''''8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/>
              <a:t>0.98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0015928-02C5-4B6E-A491-0BBA37A7A65C}"/>
              </a:ext>
            </a:extLst>
          </p:cNvPr>
          <p:cNvSpPr/>
          <p:nvPr>
            <p:custDataLst>
              <p:tags r:id="rId143"/>
            </p:custDataLst>
          </p:nvPr>
        </p:nvSpPr>
        <p:spPr bwMode="gray">
          <a:xfrm>
            <a:off x="5900738" y="3197225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124AC0E-0969-4F71-A6FF-7C569FAFFCB0}" type="datetime'''''''''''''''0''''.9''4''''''''''''''''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</a:rPr>
              <a:pPr/>
              <a:t>0.94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7DBB64D2-93AF-42BB-9FD3-8C72807E45EE}"/>
              </a:ext>
            </a:extLst>
          </p:cNvPr>
          <p:cNvSpPr/>
          <p:nvPr>
            <p:custDataLst>
              <p:tags r:id="rId144"/>
            </p:custDataLst>
          </p:nvPr>
        </p:nvSpPr>
        <p:spPr bwMode="gray">
          <a:xfrm>
            <a:off x="6686550" y="2963863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3CB6EB9-45D7-4B70-B514-81D8A2B4FA2E}" type="datetime'''1''''''''''.''''''''''''0''''''''''''''''''''''''''''''''6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pPr/>
              <a:t>1.06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33DAEEDC-0219-43CB-9F50-ACEF44104A67}"/>
              </a:ext>
            </a:extLst>
          </p:cNvPr>
          <p:cNvSpPr/>
          <p:nvPr>
            <p:custDataLst>
              <p:tags r:id="rId145"/>
            </p:custDataLst>
          </p:nvPr>
        </p:nvSpPr>
        <p:spPr bwMode="gray">
          <a:xfrm>
            <a:off x="8256588" y="3100388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768A164-410F-4EAA-B53E-46CC9107A2C9}" type="datetime'''''''''''''0''''''''''''''''.''''''9''''9''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0.99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FEC71F4F-38CD-4C1F-BFE5-2A63E02FE7D8}"/>
              </a:ext>
            </a:extLst>
          </p:cNvPr>
          <p:cNvSpPr/>
          <p:nvPr>
            <p:custDataLst>
              <p:tags r:id="rId146"/>
            </p:custDataLst>
          </p:nvPr>
        </p:nvSpPr>
        <p:spPr bwMode="gray">
          <a:xfrm>
            <a:off x="8650288" y="3006725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CBE531C-CC8E-4541-85D6-1A8EF9971499}" type="datetime'1''''''''''.''''''''''''''''''''0''''''''''3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sym typeface="Arial" panose="020B0604020202020204" pitchFamily="34" charset="0"/>
              </a:rPr>
              <a:pPr/>
              <a:t>1.03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AF65B6D4-215F-4121-9CB5-B36BCEEEB904}"/>
              </a:ext>
            </a:extLst>
          </p:cNvPr>
          <p:cNvSpPr/>
          <p:nvPr>
            <p:custDataLst>
              <p:tags r:id="rId147"/>
            </p:custDataLst>
          </p:nvPr>
        </p:nvSpPr>
        <p:spPr bwMode="gray">
          <a:xfrm>
            <a:off x="9042400" y="2997200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C2A14DE-DE0C-4E9A-865F-3A604AB1F7A5}" type="datetime'''''''''''1''.''0''''''''''''''''''''''''''''4''''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sym typeface="Arial" panose="020B0604020202020204" pitchFamily="34" charset="0"/>
              </a:rPr>
              <a:pPr/>
              <a:t>1.04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3886BE2A-BD45-4829-9E1F-6D115313CCB3}"/>
              </a:ext>
            </a:extLst>
          </p:cNvPr>
          <p:cNvSpPr/>
          <p:nvPr>
            <p:custDataLst>
              <p:tags r:id="rId148"/>
            </p:custDataLst>
          </p:nvPr>
        </p:nvSpPr>
        <p:spPr bwMode="gray">
          <a:xfrm>
            <a:off x="9436100" y="2744788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88E921C-726F-4472-A093-5F649735FDC8}" type="datetime'''''''''''1''''''''.''''''''''''''''''''''''16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  <a:sym typeface="Arial" panose="020B0604020202020204" pitchFamily="34" charset="0"/>
              </a:rPr>
              <a:pPr/>
              <a:t>1.16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88" name="Rectangle 287">
            <a:extLst>
              <a:ext uri="{FF2B5EF4-FFF2-40B4-BE49-F238E27FC236}">
                <a16:creationId xmlns:a16="http://schemas.microsoft.com/office/drawing/2014/main" id="{AE4E2A29-644C-44DE-80EF-2B14A95A9272}"/>
              </a:ext>
            </a:extLst>
          </p:cNvPr>
          <p:cNvSpPr/>
          <p:nvPr>
            <p:custDataLst>
              <p:tags r:id="rId149"/>
            </p:custDataLst>
          </p:nvPr>
        </p:nvSpPr>
        <p:spPr bwMode="gray">
          <a:xfrm>
            <a:off x="10221913" y="2879725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20C747C-F7B0-44D4-A161-943BC59A5274}" type="datetime'''''''''''''''''''''''1.''''''0''''''''9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1.09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294" name="Rectangle 293">
            <a:extLst>
              <a:ext uri="{FF2B5EF4-FFF2-40B4-BE49-F238E27FC236}">
                <a16:creationId xmlns:a16="http://schemas.microsoft.com/office/drawing/2014/main" id="{BBC0F5C9-3FAA-4C83-8866-6D68F5C08403}"/>
              </a:ext>
            </a:extLst>
          </p:cNvPr>
          <p:cNvSpPr/>
          <p:nvPr>
            <p:custDataLst>
              <p:tags r:id="rId150"/>
            </p:custDataLst>
          </p:nvPr>
        </p:nvSpPr>
        <p:spPr bwMode="gray">
          <a:xfrm>
            <a:off x="10614025" y="2901950"/>
            <a:ext cx="2540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E68C6A8-AC34-4564-9C0B-671FE83855F3}" type="datetime'''''''1''''.08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1.08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5A251E3-4E60-4281-9890-7C591B987889}"/>
              </a:ext>
            </a:extLst>
          </p:cNvPr>
          <p:cNvSpPr/>
          <p:nvPr>
            <p:custDataLst>
              <p:tags r:id="rId151"/>
            </p:custDataLst>
          </p:nvPr>
        </p:nvSpPr>
        <p:spPr bwMode="gray">
          <a:xfrm>
            <a:off x="11007725" y="2628900"/>
            <a:ext cx="254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95106A4-0329-453B-BF77-7D2AB133765F}" type="datetime'''1''''''''''''''''''''.''''''''''''''''2''''1'''''''''">
              <a:rPr lang="en-US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/>
              <a:t>1.21</a:t>
            </a:fld>
            <a:endParaRPr lang="en-US" sz="900" dirty="0" err="1">
              <a:solidFill>
                <a:schemeClr val="tx1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175" name="Text Placeholder 2"/>
          <p:cNvSpPr>
            <a:spLocks noGrp="1"/>
          </p:cNvSpPr>
          <p:nvPr>
            <p:custDataLst>
              <p:tags r:id="rId152"/>
            </p:custDataLst>
          </p:nvPr>
        </p:nvSpPr>
        <p:spPr bwMode="gray">
          <a:xfrm>
            <a:off x="1579563" y="3154363"/>
            <a:ext cx="2540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accent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CEF75B5-EC31-4511-8286-46E3D546A49A}" type="datetime'''''0.''''9''''''''6'''''''''''''">
              <a:rPr lang="el-GR" altLang="en-US" sz="900" smtClean="0">
                <a:solidFill>
                  <a:schemeClr val="tx1"/>
                </a:solidFill>
                <a:ea typeface="Verdana" panose="020B0604030504040204" pitchFamily="34" charset="0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0.96</a:t>
            </a:fld>
            <a:endParaRPr lang="el-GR" sz="900" dirty="0">
              <a:solidFill>
                <a:schemeClr val="tx1"/>
              </a:solidFill>
              <a:latin typeface="+mn-lt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58" name="Text Placeholder 59"/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10509250" y="2452688"/>
            <a:ext cx="463550" cy="176213"/>
          </a:xfrm>
          <a:prstGeom prst="ellipse">
            <a:avLst/>
          </a:prstGeom>
          <a:solidFill>
            <a:srgbClr val="007770"/>
          </a:solidFill>
          <a:ln w="9525">
            <a:solidFill>
              <a:schemeClr val="hlink"/>
            </a:solidFill>
          </a:ln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Font typeface="Verdana" pitchFamily="34" charset="0"/>
              <a:buChar char="•"/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−"/>
              <a:defRPr>
                <a:solidFill>
                  <a:schemeClr val="tx2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tx2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2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2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60D3943C-952E-43B5-858C-05533FB5E055}" type="datetime'''''''''''''''+''''''''''9''''''.''''''''''''0''''%'''''''''">
              <a:rPr lang="en-US" altLang="en-US" sz="900" smtClean="0">
                <a:solidFill>
                  <a:schemeClr val="bg1"/>
                </a:solidFill>
                <a:effectLst/>
                <a:ea typeface="Verdana" panose="020B0604030504040204" pitchFamily="34" charset="0"/>
              </a:rPr>
              <a:pPr/>
              <a:t>+9.0%</a:t>
            </a:fld>
            <a:endParaRPr lang="el-GR" sz="900" dirty="0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78" name="Rectangle 277"/>
          <p:cNvSpPr/>
          <p:nvPr>
            <p:custDataLst>
              <p:tags r:id="rId154"/>
            </p:custDataLst>
          </p:nvPr>
        </p:nvSpPr>
        <p:spPr bwMode="auto">
          <a:xfrm>
            <a:off x="377825" y="5751513"/>
            <a:ext cx="160338" cy="120650"/>
          </a:xfrm>
          <a:prstGeom prst="rect">
            <a:avLst/>
          </a:prstGeom>
          <a:solidFill>
            <a:srgbClr val="CAE3F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76" name="Rectangle 275"/>
          <p:cNvSpPr/>
          <p:nvPr>
            <p:custDataLst>
              <p:tags r:id="rId155"/>
            </p:custDataLst>
          </p:nvPr>
        </p:nvSpPr>
        <p:spPr bwMode="auto">
          <a:xfrm>
            <a:off x="1166813" y="5751513"/>
            <a:ext cx="160338" cy="120650"/>
          </a:xfrm>
          <a:prstGeom prst="rect">
            <a:avLst/>
          </a:prstGeom>
          <a:solidFill>
            <a:srgbClr val="25B4EB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77" name="Rectangle 276"/>
          <p:cNvSpPr/>
          <p:nvPr>
            <p:custDataLst>
              <p:tags r:id="rId156"/>
            </p:custDataLst>
          </p:nvPr>
        </p:nvSpPr>
        <p:spPr bwMode="auto">
          <a:xfrm>
            <a:off x="2190750" y="5751513"/>
            <a:ext cx="160338" cy="120650"/>
          </a:xfrm>
          <a:prstGeom prst="rect">
            <a:avLst/>
          </a:prstGeom>
          <a:solidFill>
            <a:srgbClr val="0070C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80" name="Rectangle 279"/>
          <p:cNvSpPr/>
          <p:nvPr>
            <p:custDataLst>
              <p:tags r:id="rId157"/>
            </p:custDataLst>
          </p:nvPr>
        </p:nvSpPr>
        <p:spPr bwMode="auto">
          <a:xfrm>
            <a:off x="2401888" y="5748338"/>
            <a:ext cx="7048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8127373F-A376-4981-A6D7-265C3ED30330}" type="datetime'Ori''''''''gin''''''a''l''''s (O''x'''''''''''''')'''''''''">
              <a:rPr lang="en-US" altLang="en-US" sz="900">
                <a:ea typeface="Verdana" panose="020B0604030504040204" pitchFamily="34" charset="0"/>
                <a:cs typeface="Arial" panose="020B0604020202020204" pitchFamily="34" charset="0"/>
              </a:rPr>
              <a:pPr/>
              <a:t>Originals (Ox)</a:t>
            </a:fld>
            <a:endParaRPr kumimoji="0" lang="el-GR" sz="900" strike="noStrike" cap="none" normalizeH="0">
              <a:ln>
                <a:noFill/>
              </a:ln>
              <a:effectLst/>
              <a:latin typeface="Arial"/>
              <a:ea typeface="Verdana" panose="020B060403050404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81" name="Rectangle 280"/>
          <p:cNvSpPr/>
          <p:nvPr>
            <p:custDataLst>
              <p:tags r:id="rId158"/>
            </p:custDataLst>
          </p:nvPr>
        </p:nvSpPr>
        <p:spPr bwMode="auto">
          <a:xfrm>
            <a:off x="588963" y="5748338"/>
            <a:ext cx="4762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04ED295D-39EB-48DE-95C2-885ED2C44D8B}" type="datetime'''U''''n''''''k''''''''''''n''''''''ow''n'''''''''''">
              <a:rPr lang="en-US" altLang="en-US" sz="900">
                <a:ea typeface="Verdana" panose="020B0604030504040204" pitchFamily="34" charset="0"/>
                <a:cs typeface="Arial" panose="020B0604020202020204" pitchFamily="34" charset="0"/>
              </a:rPr>
              <a:pPr/>
              <a:t>Unknown</a:t>
            </a:fld>
            <a:endParaRPr kumimoji="0" lang="el-GR" sz="900" strike="noStrike" cap="none" normalizeH="0" dirty="0">
              <a:ln>
                <a:noFill/>
              </a:ln>
              <a:effectLst/>
              <a:latin typeface="Arial"/>
              <a:ea typeface="Verdana" panose="020B060403050404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79" name="Rectangle 278"/>
          <p:cNvSpPr/>
          <p:nvPr>
            <p:custDataLst>
              <p:tags r:id="rId159"/>
            </p:custDataLst>
          </p:nvPr>
        </p:nvSpPr>
        <p:spPr bwMode="auto">
          <a:xfrm>
            <a:off x="1377950" y="5748338"/>
            <a:ext cx="7112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342C145A-CD57-48A4-8EB0-346172286686}" type="datetime'G''e''''''n''''e''''''''''''r''i''c''''''''''s'' (''Gx'''')'">
              <a:rPr lang="en-US" altLang="en-US" sz="900">
                <a:ea typeface="Verdana" panose="020B0604030504040204" pitchFamily="34" charset="0"/>
                <a:cs typeface="Arial" panose="020B0604020202020204" pitchFamily="34" charset="0"/>
              </a:rPr>
              <a:pPr/>
              <a:t>Generics (Gx)</a:t>
            </a:fld>
            <a:endParaRPr kumimoji="0" lang="el-GR" sz="900" strike="noStrike" cap="none" normalizeH="0" dirty="0">
              <a:ln>
                <a:noFill/>
              </a:ln>
              <a:effectLst/>
              <a:latin typeface="Arial"/>
              <a:ea typeface="Verdana" panose="020B060403050404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84" name="Rectangle 283" hidden="1">
            <a:extLst>
              <a:ext uri="{FF2B5EF4-FFF2-40B4-BE49-F238E27FC236}">
                <a16:creationId xmlns:a16="http://schemas.microsoft.com/office/drawing/2014/main" id="{2906878B-DB52-4904-AAAB-C88F87466531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9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5" name="Rectangle 284" hidden="1">
            <a:extLst>
              <a:ext uri="{FF2B5EF4-FFF2-40B4-BE49-F238E27FC236}">
                <a16:creationId xmlns:a16="http://schemas.microsoft.com/office/drawing/2014/main" id="{A2FC361E-639E-4EF8-B88D-98BE12DD0FE3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9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6" name="Rectangle 285" hidden="1">
            <a:extLst>
              <a:ext uri="{FF2B5EF4-FFF2-40B4-BE49-F238E27FC236}">
                <a16:creationId xmlns:a16="http://schemas.microsoft.com/office/drawing/2014/main" id="{99A4D170-E0B1-4B85-8C46-A6285959257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en-US" sz="9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7" name="Text Placeholder 1">
            <a:extLst>
              <a:ext uri="{FF2B5EF4-FFF2-40B4-BE49-F238E27FC236}">
                <a16:creationId xmlns:a16="http://schemas.microsoft.com/office/drawing/2014/main" id="{0E69098E-8E29-C393-6331-DC9C01DB44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013" y="6397157"/>
            <a:ext cx="7560000" cy="110800"/>
          </a:xfrm>
        </p:spPr>
        <p:txBody>
          <a:bodyPr/>
          <a:lstStyle/>
          <a:p>
            <a:r>
              <a:rPr lang="en-US" dirty="0"/>
              <a:t>Source: IQVIA data (MAT/03/23); IQVIA analysis</a:t>
            </a:r>
          </a:p>
        </p:txBody>
      </p:sp>
    </p:spTree>
    <p:extLst>
      <p:ext uri="{BB962C8B-B14F-4D97-AF65-F5344CB8AC3E}">
        <p14:creationId xmlns:p14="http://schemas.microsoft.com/office/powerpoint/2010/main" val="30106916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7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8&quot;&gt;&lt;elem m_fUsage=&quot;2.33006982497518499997E+00&quot;&gt;&lt;m_msothmcolidx val=&quot;0&quot;/&gt;&lt;m_rgb r=&quot;00&quot; g=&quot;70&quot; b=&quot;C0&quot;/&gt;&lt;/elem&gt;&lt;elem m_fUsage=&quot;2.30718215757564948376E+00&quot;&gt;&lt;m_msothmcolidx val=&quot;0&quot;/&gt;&lt;m_rgb r=&quot;18&quot; g=&quot;AF&quot; b=&quot;FF&quot;/&gt;&lt;/elem&gt;&lt;elem m_fUsage=&quot;1.96602984748250997349E+00&quot;&gt;&lt;m_msothmcolidx val=&quot;0&quot;/&gt;&lt;m_rgb r=&quot;CA&quot; g=&quot;E3&quot; b=&quot;FF&quot;/&gt;&lt;/elem&gt;&lt;elem m_fUsage=&quot;1.28589702528839655571E+00&quot;&gt;&lt;m_msothmcolidx val=&quot;0&quot;/&gt;&lt;m_rgb r=&quot;D4&quot; g=&quot;DF&quot; b=&quot;E4&quot;/&gt;&lt;/elem&gt;&lt;elem m_fUsage=&quot;7.29000000000000092371E-01&quot;&gt;&lt;m_msothmcolidx val=&quot;0&quot;/&gt;&lt;m_rgb r=&quot;09&quot; g=&quot;AA&quot; b=&quot;FF&quot;/&gt;&lt;/elem&gt;&lt;elem m_fUsage=&quot;6.85886720953930661970E-01&quot;&gt;&lt;m_msothmcolidx val=&quot;0&quot;/&gt;&lt;m_rgb r=&quot;7F&quot; g=&quot;9E&quot; b=&quot;AF&quot;/&gt;&lt;/elem&gt;&lt;elem m_fUsage=&quot;1.66771816996665767086E-01&quot;&gt;&lt;m_msothmcolidx val=&quot;0&quot;/&gt;&lt;m_rgb r=&quot;25&quot; g=&quot;B4&quot; b=&quot;FF&quot;/&gt;&lt;/elem&gt;&lt;elem m_fUsage=&quot;5.81497370030401097840E-02&quot;&gt;&lt;m_msothmcolidx val=&quot;0&quot;/&gt;&lt;m_rgb r=&quot;00&quot; g=&quot;A3&quot; b=&quot;E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qvHsj0TMyj.qronHPfWw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sL9LedQ9Cr0pXpM07y.w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WUopNzSRCX96QUHb07jQ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4uIFoMQiGF7Qt2wReoNQ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clhHY2R3qaShGIl0MoxQ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8IP37JI22q3S8cHSvU_w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SbERZ1SsyEWdu8E5WwIg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3eGRuYRTG85YkEQlij2g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B_ziNDs3u7C5BiGoXgJQ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9VJvs9SieK5bG4dmKKR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zu185oTqmSDSJkxYUhZA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lLKtygQL.PuDYW8K5.Zg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mSLCsFSxmzN9vc3LLvrQ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5VtkyKSDquIVMmasbxOQ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fl6md3QROQKMIZRVXCNg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khIACSRhufaQI6EaSLkA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BQqeQuSOCWb2v_Mn9glw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4wkxj3vvsFUp_v21Pcjw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InWepXRC66db2qfTAKog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_bxWg_RPauTxzrdT0MgQ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p5kEhkQ0H8XmHeNvwDj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7ytELeTnO91Cq6GqSh1g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u8Qk7hkROiIt0lDWg7KA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htywVlQpmuktpZUt_9oQ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_U26KuTcilMVqSZJHe9g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aj27.STFuhfBkwsiw.rQ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SlX98ZS0m9lIxsHFKpbw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0Nlyu1SLWyN2Mxo6Kl8w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IK_KZaRb2dKaWmWB0_tA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F3gQgHSYaHd_NGipUKZw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1GqBcrR1.jq34Cjye6dA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tvBUxzT1GtspyfOk1iq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uwQVTtTgWyebkJuyvGpw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Y2b0YPT7WLrnZ_n8PJfg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5GC2yETXiSksuRvLLmNA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N5JTdlRASKwI8L7.OGNw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S1eTOSRMOIWe.9LuBMVQ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PC_g22RlC9YIOqDGxcVg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j4eRm2Tay81pPy46h9ig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z1EY4lQwiJ0CBclEDX5Q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oqchhUTEuAdilTDdLMHQ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3OuXLtTgOvPy6H84LuY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LQGgC5QHy2GyZiKOVcYA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_1LZsuR2OvhXUmcqf_ug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pHJSuIRVK.9a.rDYRgcg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gl4xSWQTW1niPNbAX2TQ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Wv3T2lS6.XzFbuU.uvjw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aKCEIrSmunoh1VD.RHyQ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ecUcGsRhmksR8_m_NsOA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J3m84JSam9DSYYPNrKBQ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ZXIkgaQJymfJNvOSMsmQ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WfE1gUT86ZU0bJk1SAZQ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SbU1I8TuKzC21fTwgMz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yFB0JlSJS4HNNr6Kxn0Q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weF9n0QJSFK458sqbJZA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clhHY2R3qaShGIl0MoxQ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yrgk0il0OUGSq8qcPxNg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9c_sFys35pbPeY8toGMA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WSpukaeSXaCgSDg2DO5A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_2D4vzCzvILo_dkrULIQ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o2kwaAKiysNFlQHWZENg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uJYq_kQ3KKmIQxZk5sHw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r2wCsxTt.vCFSggmzaM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FWSpyqQJmMLMw7gYF.mQ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slA02WR9ynkFQ9Yn5dLw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PlpQLvQH.HVhTItc6G8Q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4GbsUrT4m9GaEA36XJ9Q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L7WIPPTTiPt2YCQbZ_CA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rQ4bXXScacwHAjp0WxJQ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KQJC7WHBtUn_w706UmDg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7o1sVmRoW1Vfxc8htwqg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wHKp_QpiuZVe4pdIgPg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DLaEMBQjSn5gZ244kzWg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JfduGpSG6aBvV9Ynzcf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UQMw1ISTy2sC5aGEaJOw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53nU30RGy_VngvaFBBGw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RVtQjwQS.zP0y0YxL8kQ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y_x08rTFe8JEeYf7ggLw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5peElySy.a_7QCek7yGg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2gJ1vLQ1eDpK8h49o4Mw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BRuIExTYamP_lRIMjQxw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IAxuQwT0uchnKdb7li4Q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83WVHVUhnf_ab1REBVPg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Q0F06SRoqAtUSR44AYng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EeCkmZShqBBpXehABxF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bnHGyfTa68po1O6sU0AQ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qARo49SAOzX3sFV3RKIw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2CMf.zL6D.slwq.1zjfg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j_R0xOR6athEDBeSMDnw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G_t07MSiOy.Isnzl.U0A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pHfN3ZSHafwBcRX2NrAQ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oZ5LSeTkaSwrXZxri2XQ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WfxwpVSBqZutK4idXkUQ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lPHNCB9_UtfvpDE7GlGQ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lvpwwbS2qoDkxNHHnwIA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2EQLp5TCmJ0WHaXF_a.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Icp72fgFPJH2wXLZ_sdA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YSsOKUQeyTlu39NwTf4w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1AOCuRRQWVMkp2e4TWGA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Z8EHWCRcGuojNWWz5qcQ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WUtKC5Qt6aqBCJgbbMew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0YsyQWRFmsC6ursWc60w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qqkJeZQcKnUy73ct8W6A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MEeVXzQ6ex3S2Gxr8_iw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Jxso7HTV67xp29zr.rOg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naU8ZJSK66NOfjyHoOsw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tOmyaoSluYZlGTtoRF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QvIs44TGu96j1siSRy0g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YfsoN7QgmxdIW7lbShtw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qKHzKFRVCZ4.e8K53qZg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U6x_jBT2a3EfbjB0lYxA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QCvRhTRb2W18hTGvUVmA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T92um5T8.OX9Alx9EdOA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vxTWrYVqv74ItUNFh8FQ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TBAzvmTxOgLlORu8cOVg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fEbbnXQgqPzxxgpNMKEQ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j28Fe4QZ2H23OnF_HSgA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Ttpl7xRuiB1zbG0pgBr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Py_kt7R9mB9wjEKIfBgw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IVwzTwQsWYN8PHAXQMkA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HA6xLOSqGHgnR933Moqw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EXHcbARFqCI.KkB5eGGg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uxJtdwTkKDROhaVDswkQ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rivfagST6uMuc0B.UcpA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qvNRgbRMSWiljLQ3iTGA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KPbOa1R8uDK3skaI9x0A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lJJtmtQx.JVErCQzKuHA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rlRMi.Qs246MDTtD_odA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hnh9Z4QZi4N2eKgwvVcw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clhHY2R3qaShGIl0MoxQ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2tC5vxTFajY7E.ZPDhZA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3u5Di3Rt64l88w_g71xg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h6Gnj9R3aAydvY6iEdEA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YhwHQIT5G8YVfOV8yIKw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Mqo6.MQi6wNmEtblPFUA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GcLs6hT2GphF54i4ojGg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.QcfqqQfip4jojAEF3_Q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8zr2bORJ2e18M_mN7yOw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i596HfS.u3g_7nkaCLz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I58RHEQr6GT6q8kPF61w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3wgms8R1maoGU0H_hrFw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1L7JIvTAeNpGodXqvcgg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DU2IyMTD2LccZzCVzm.Q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gMVX7fQxWFoNWbe8VNwg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5zsOF3RgiRN.Wh97SpWQ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X__uRAlJewNz_4IcoCZA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nub_QES6.QRMp3y.qWbA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XPblDTTVOGLm25BFHdLA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rtamw0TMSQyV5HSm3d4g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dcLBvwQUWRBMEb.UoGY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ac_zu_RsikbuQI7yRkbg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l7UyUjQRCT_rJnzYuuhw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cQ.suFSV2nFWfsdV2oYQ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V3zzDvQQykUh4KFknWxA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IQo1nSQ2i7xbDS6L.PRw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9xdwExT8mEsHe5znRThg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lSeuM9TB2gK.Wx1sb0IA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aPbbUcSpG_V_94hwc8Fg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VbmsejQq6ptzWIpKbKDQ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a8o.Q9Rruyjb1M518.WQ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Z3waSySmeUcfQGD3EXl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SX0yNjSAi9dSLZ7d3hCQ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5kYDMYQPCYEKUV0Knneg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sNyC4JRtW9hWgsHdB9CQ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clhHY2R3qaShGIl0MoxQ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m51jWNYy7qEu3y32vwAg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8_HYJiSw2wqRbk2fOiNw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OuE9iyRXq1k8l_Abazgw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dTCSv3TDixQaiHmT_RrA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Qq7AVWQ2ihcOATW1cQVw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VvGl97QHqUcnks8k7lP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gO8LoaQLmh.opg8RFNFQ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qKQw6oSNKyCO3bMfq5dQ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bKt5d3S_mtjEwpLTUOTw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LSOF4.SnmqcUaC.8bmWQ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Sxt6ELTmuORV7cMgSfsg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3oym6rQPKtnNuWrntRnA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A0oel9RySJOiAeUQZBBg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Ak.AM8RrCiQ7sHx0bumw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ICZ4KKRwCOGTZ9HK8bFA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mKj3VnR1Wn4Xi2sTjmBg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C005IfR_C7lnZV6D9ay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TYMYwlQkWlZ9m4cejkNw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zGF.5MTbOLWtZEyL7iNA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MCkowuQwSH71ROqULxzg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DNoJNrRz2gLYvbQeNZyw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O9qIQrR26QEPGs40.RTQ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W37WZfRqGev9LwsZjCyg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0GOufbSMmE7WpvB5sw9Q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G_wZqnS0q6XdK1z8jtuw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zVHIvSSk.JzTG962m1hw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9lVYDwQVW3M_ERPIDQcQ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nIvPHPSXKANBtmpx38i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PCWuAPUb.RDNGrvhrQYQ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3SWSFATEikuuxi2KN2eQ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DTFGG3TK.mOAo6Giw84w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6L4yABR6.vLK2UssMp7Q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ayNv4jSpqGeIaW_1K1rQ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B8IpRGQdeWqCZFeyad_A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RFDAmQQ.Gc0zZBHEq7ZA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zj7dkPQGq32SBIMw7IGg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23vXFkR6iBNTuP_Bms5A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pH7e0dRauD.7EcJb.uZQ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uN.vgWTteNsUrv3DgcR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N9oS5210BtNknGmJn2Ow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nxzx7zQxKWR481YrLM7g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LwNosNQdyc9PQ40LxVlg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PndYssQ0utFQVV10GGPQ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LSq2ycQpyXUhvWmwhQ_g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3_Ejb4T.SvBflvRYpgjg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tL55PkQxuMDl0xRsmGlA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INLTzAQNy3TkKKP.svQg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vGNKR.QTKjFVKYZqVepg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M6BZRdQ_WmkQCmedn2Ww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95y3K6RRO4rU1BpwUH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ilO4m_SJeikhLltoWURQ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90Mj91Sf6_nzsUMFNCuQ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8OpIZDTS2tpYnr2GnyYg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DxpL0jQoa4ABf.ssK28A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LIqs0KQrOvrR4E5jO3kA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0ZA8KTwypylh0ZV9yag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uGr4aHSMi.tQA7yyKI1Q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LeoGYlS1eGMD4YcHjFew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MktCwISM2AozZ9xlhX8Q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WV_iv4TLC1Cn5VtiCAuw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8qwqa9GxGIJJnMHTquq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g_gLbbSrSWeOpY9b9t.A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z0zTC_Nw2rOT2tosbyoA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tCA4V1N7HWw7zSJ.CtEg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HWQrQ4JWy0.fXtPvE6Fw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AyECJ45.ndFG3_2HUZuA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gBYvMsn4IQ8i6nXEfspA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fn4zltE.T3iHUi8Vm0_Q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Q3iNStwvqNIgZc11137w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b52yrGaGRN_ljMplnQFw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ukRziC_z3jFg8qe_jELA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RD2ruZwqUmoPlgv8VxJ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Vzok_XSTysxq5UA0uGPg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eILGD5OAVfekhBz8uRGQ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ejGC1N8DOyy8POEQhT0g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zL0ukAAiBALThGcofLEg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23_PHrU.AlY7b5z0G64A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vJ7WspzUnxPpY0QVGBUw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91_PPsB8Tyop3duOV5Mg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YnldC1fZM9yeV67lX8Mg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Z9P8wRhpIRUK8xuwf4jQ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HwhRgMQamB48uWgeq6GA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FWucyMomvlSoHDznppU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b5mKQReWfu0BvWZAvdQ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NlCGw3wHDgemIcw.I3Vw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nIE1A5RnOiiRN88gUM4A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Rm2iYcP.V397pbua9XQ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bsG.ukFOK_6kffa4pztg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itM3ja9mp7bpLzdWEEow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q4fPCmXc1pCSfLSWQ85Q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S1hkuLAKtH_e3DUkpPLw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XO10UrJ9lnaEel7uM0Uw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Dip7s2_SvZjkyQtlXsmA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844x3LaNonra7D4WRE4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h35dDuRov81IdKVTcCww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p21UX.oEanOEZI7AiZxw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8e9gHtwiSNojKj_fxh9w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jaecCowCSyMSPwIaSp.A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k5SFD6kxVENc4Lj4oOlA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JHZRinWr4ihaPvSNTBKg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DO1ZHPIU4eWxHlk.uJkQ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o4SO46KcbVRVysD8v9fA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7rDmB1pE3fvTb4n1cPMA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sPWT_JiCXIg12lweM_C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clhHY2R3qaShGIl0MoxQ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8ZMQizsvNoJqDMEhdORw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Ik.bxLMdB81S4DMDJcDA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b55WCzoXjf0Fys.LE7UQ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v.UEvdKm.N0W0k1atPcg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U9sH01I_WzJ.3E57JHUw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Tdc5C3Aky0TzKsTRYUJg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0exROWOkbjr.0GbYPGWA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sKVt1_kCsL2G2ce_0yrg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5SeSNFP2cg1oseRll3nA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UH68yaJh9i3OdkvbHTI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ift4Po1NNx0w3AoQfoYA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cXGsoH_eHyXFJhojmJ4w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Mi36MWeJ1LBa0o0Dskgw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aULXisxlJtwAtJq27UNQ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yxnZ_VS6CS8xIZwg7u4w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gRDULHQ0iSRPCaKRR_7Q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OO1_moRxywgy3OAyORVQ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pBOlUBQG1wSSxfSS6Egg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Ns18vMlH0hVYxiVjkNnA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g7mCc7_AzhjEXfssk7fg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XwicajHEQC8N7uqzCWk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NZ989ETU2i_QrvTRmPiw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GrqlvEGFUdIpduNZTwDw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ZhgBfQjWLGqSiBH1IUPA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YVjRGI6Tl4XKeFITWxMQ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clhHY2R3qaShGIl0MoxQ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QCHPJZfovJasThgYkvRQ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MhtNCBSNWS1SQhbcTVXQ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mdno67TyeSso2h0gIdCg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rFykeXTxaQnv0_ctIPKA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1751P3SI.hJ5BtbLZhr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LV1ZURQ2GIFdT6x4TIOQ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LTRhbFSYOYMfXVXag1QQ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uqsr8hQHmCdn2bDVZ4fg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JnCmasRTeQY5cN9nzbYQ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C99Zb7ToCKc.rE11UPGA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hWDwhMQYmZNfPyDtGZug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bsMbDFSD6TrGCZkeWAsA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P2RnxOT9SSfIeuwJ8uPw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aLbuhES7apKVpToGWDBg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bwoD8kSpW0MENjr1B0pw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OvsHayQT6Iit3pdtgvK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myB.skReOXG4SiLUc5HA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OCgkzPRhuo_B3rG3T8nQ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sCiSNYS5iyPK2w3EmZjA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VHih23R0293ABklgiyAg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SejiopQ8WJjZqxFEi.4w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FGqEW4RGe_aQH.vWekQw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JpfKxoSeCNAa5KqOe3xw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k4ZSgnS9S1cGtemXktLg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6YLB6lSJa2MhgPuk1Mvw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XVzGEcSIyJwvyHvXtuGw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zi4QRDSoaXAgBRnTRRh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b1WwKVRee_MmiYxUM6Iw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1XnzzmT2ShVI3exRVTdw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VeZe02RjKGh07BFFsMwg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GUxAe2Rzi9DX1blIh8fQ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UDejgaRtKjyrZ_EXtPyQ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c2uZQ1SzSOlcuaJDBPow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sJlq9IRFOs983xwVC_FQ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RZY6iWRh.IpkKD0mOXmg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KC_k74T4OlObjwj.mZAw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PyEMyQRQmFAiHT2WaAuA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9EHUXVTJKgt.ktlwL7w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cb9kBqRO.2gTs6TWYLFQ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9065rtQ5y70eONawySIw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TsfRORTrmL.kriWdMx6g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R.n3gZSHyQNQSu.qtO5Q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7SOj7qRn.IVyY_XdzPug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ZjJ27JQRG6v1zISafB7Q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vg9r2uSyW7uCFWb8mZ2w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N7IO4yRwSEZ3_ZMfIyqw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6UV.4XSFKEYyQnkV9qFw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IxWWcvRuqDuUD98lC5_A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dUm9ZwQc6gQ.DcJrcn1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iUnZhWSKqMpR6Qxe7IEA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.Xpq4DQneSWXOxRO524w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iM4D6YSkyu3Tb_skkUEQ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0QpB7SZGePvdLiEnaCw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WVzCAxQ9O_kGF4IInn1g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5L89mzS6OtLfrEYxYpYw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7nCIuoSdicrKOpYaTkLQ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oyMrqETau1gdo0gP7O9A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NKZYyKRXWJZcsbogcpeg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7BGuwSQQ2h0Blcis9OMw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BjCiE0RDSrlelBrw4Fm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ioNz0qShO_w0JGvmfvhg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zWgPnLR2uv3s8tb0UMcQ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ZfwPzKTA.k95PGrIiJJQ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3DcbBVQmWm62D_aDZnug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NHau0aRgWfqGjqXaI7gw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a6buP5TSOyz27aw8MOkA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lsKkzdQearJeOaUF_SPA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5.hGc6QxCykBT31x1nfQ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9abIrtTMmP42_wdH3fsg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p.G0V2TK.DMaqUWN26Xw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Oq4bCUTQStpUjm_Yjl2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79jlD9dacLCM_xXjZmEw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72nDD8TnGQdhTxf4zECg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clhHY2R3qaShGIl0MoxQ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0W4kDVSsmPzEnqOh9flg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qHvRD7R7CN3KeLnQ6z8w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tvKsDSRoOiijKoB4ep3Q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vo0eZhQT.pF9O1djsGBQ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vI0OwER4mYsi.xFOWRqg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a06VKXQtG5x0ZBntaU9A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RyBn_IQai7KpV5hRGIF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RKzb8EW.TsReuVTem5dA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z9pSNpTsSlcKjg1z8F3Q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KF8moZSieaYkhFKJVY3g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2kUxBFQXab8Hg8hPL2hw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IkN58aSk2DRqkHF4dSkQ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T.5dnvSTOzxlAekIsPKA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_Sx7leRNWGDDdfwwM37Q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bTx2eAT2asMHVnHXHPrA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l0xNq1S.qQdmjcRWQV1Q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1cVfRkPsmgR51PoHHU9A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Yxw2ixRSa9i1SySbGH6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4EuhjwLBUDSr9ovlG9VA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qr8fhyQqKaAEnmJmwZaA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kx7rb0RTaL8idCRYcJTA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3krEFFSq6m9lMvXcNNqw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w4mqvga4xu3ed86d4cdg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FVCuuq736mTUHbYgYnJw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39aA61QBqhNstgxa72ng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v4mvs8EUDo6byWf_Je_g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zL8OMtSTiyVQbexxAsIw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.CI3PODrURVA5JsaPJuA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7ANzIDSxuJgshYH_dnl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7S4FYFQjG3nqNZccvfVw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Hw_udiS3GKpPu3DNh1YA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ZYjpa8TkLeu2Gpo3gaYQ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Dyb95EwdvNC6U79CklUQ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g.FHGRNeO3r4eRbeijw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nZMwvxRKeQc.FfObQCjw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dyu08j2ha5tQNm6Ac4GA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zzG_HQBYyMNu8a9f8g0Q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Jk49c2XKjVoxQZhfJwxw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6JqugVA89myC9xVGgKDg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Q8E1TSuynAPFkvMAC.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0deFQiKp3LC2lpzqp4Xg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Nn5ePVvwzdvcMWwtF1Ew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Ul3Iv6QZK1SCiJoNKzeg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0WxNbhfRFpFLmDGRfN.A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zZvWouQuOrexirF8R6pg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oERwSvQ1QOV1iKqx0tng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6nTNisEHC_I1NqqC7IYg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KmY.khT1uIhVjS9vWt7w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njdnWXbgavnW7l7cVESQ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ontiPqXatS__jDNh2Z_g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rvjknC5kyGqOe0YM1LS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wcWYfMTFevjywKOoblZw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E8IGaE612O2cW7S6BAuw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tmB5nN7HqT7dJ96d5vHw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ynt9eqSSysGcvzLTh52Q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0foxCBTzWyGJcHX0ICQQ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.u.d4FRxCrQf0ejU4YUQ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yo3RfUyPnmc6Y2qrHXUw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79nP9MX4HxAUdiDRZSRw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jRTxPySqyZl6nle373Fg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6rPx8ZSvS6a41BqBPTdQ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_rNl0nTFGxTka4gRir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s_CaRbQkZPPoqLZjlnBw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CiSWn8TuiTe5guf2r4aQ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NlSLyboWjQqFUJSnpmzw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B8aJgLSi612G_xsbP4Rw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0TcAUoQDSouYmj6pjztg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yvdZraSB6E1x5Kbwz0Cg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rGwHPvRFyTZVxMjBFsUA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EgdrDlMNadZgsyEsa7gQ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aQGMTK8eD3ExQqRoI.Qw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KSE164AOau5YbWH3jtTQ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Y6W3AZ8ospBy1hOZwXV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bFJHHuzSxz5.riLMtMNA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R7U4UyRBWskXJ0Vo2SCQ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6UWI2KTDTuCCBYF5XrQg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G4zvcKM_Q5UkSrBl6xlQ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xLP81SwrubYuvX6yDgXQ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lKnyxCNa8Sy_mT9_Q.0g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PSNs3ryHbQIWMF.V_kLQ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lkIubrzcrMc08hEvVtVw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uYgok.bjNyI8rXU4eZ0g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ASJsNWf28TW_c5XemVCw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L49bZ2RGutLO_AXV052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a5otx0RdS7HXlfleZpTg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xovV4nTkKB5tmHin3RTA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9_FZKh.WDLSsjyLaKn1Q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AceIS_b3bmcYfduR25cg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E9Gh5LUZmTbcQQPdETVw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5k9WgcQB45e.HjqFvvBw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.M.NowlZb_bP4VZpvlLg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sqBKhpRG1v9PXhfLivDA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rfysKWicHVoczes56zxw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Z4Um_WqI9Yf5_x971q6A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5O1.p9o1mWjGLVB9DVk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K3kbW65ExzlpPjs99qsQ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cJURIL4kEn8zPdSeNQAQ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5tLWwjNVlJuUiUXotuHg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UcSZD8mCOvD06mtadH1A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NrQL_WTHSMimKxUCXO4Q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7r_cWYJU_r6J.ahVYs.A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NOFNN08GrjvTgHGgd_0A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hli9lHeHmu0unS6fnT2g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KFC79u9rCWrqhmH._Nrw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kIIuyxREuDx.jsivT3SA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RF70WBP2uc48TTsNW3c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UFHtL3c0MBGY.RNt88Yg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MlUaIoE9OKkkELKY.fxg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K5ggdEWAY00V8V2lXinw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_Lcf3m56922fa3hMxh9w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PUhgSEcBCm2n2ZgLUomg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M2eCG99ObW2EmkoisyCA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vniumdXfgOYouoIiZqkg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ESPthuH69odiwN8ptYog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1seUL9j0t_aMcPRa3Nnw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XNhYbPjll_FeNT9zHiMA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7P7CsT0k34INDiwUL6L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9GG4r3S6qJx4Q._vXCJg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UzMtZzyMDkWFnYqKGh0w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oKwcFRyLGL_vB2P4dtNQ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bjkX8E1sMWFvMZH5DRgw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6OUIuxE40qgtbywppkPA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yqTDOhR3OFYioAYWhurQ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_nIMgVajfpKb1_63I0vg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Ovz3dQNDgboPTfaTwueA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d0FS5a20neGIZag0F16g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a2gNAwS1y70JyDOnKBn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542mXGd7rk5X8uh0B18g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NOz5IZW1n8EIFphRIllg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DraTj7RF60Uc7djBHAww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o_GNK1RS.otI0aumCTDg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2MVrwtSqKw6RHR8xLU_g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8Qq8VaRLSrWx4cgBp59w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rxW8DerrNSgywssG1AgA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b6yjOnR9yPlvMxiZL1aQ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X_MhPdTu2g7p2tBJ98VQ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_qkh7.S6uN_iZzUXLDWg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rZ.igdRR6EypOQIFVZz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pILFl8QtK.ulWYtmDQrw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pI0VhJqGCnMMXPA8izdg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PLzQ6TxK17RSL1pKKDQ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SWWIUASJG7NQ2zjFz4fw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0R6Ri7Q0._UxuxKhto8Q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YYA0tgT8mu_WZMS9Ta_Q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rr4wiET3OmcB0D7qTesg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wMC9scTwadpKY2pkh_2Q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Yoy2goRfaNwxzDIrZs_w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MKtnegSbOdfePuZxCFyA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hs4jkf_.FB80f8zU0rD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5p8ESeIZfdk4ySstkrwQ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fweS8cloLUvJpvQAJa2A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3wWzyGSnGn75av635aRg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k3nqOZj096NuXHfFO79g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r5ryBxZ.iu0jQQNrNtGw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LneEV4m_jRma8jDYYjAg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D_9FevYhvtpWfx1u5O4Q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Pi_3kl20z07PblR2a9LA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JQfGCtQt2S6ANJb5Tvqw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8X7Km4NTzVgdmq0XRW.Q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Lf6xZLSemVdzZZF8s9V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H.MYyLPVmFteeNj5ewZw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RlY2GaS.CkV7S6CBoxnA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.91YvtTM.b.W__bzcMtw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olqooarMc0lZ2vM2jDYQ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XEUsmD3oaYs1rZscdPMA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NJOqBgF8jB67WvUvYC5w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w2lq.Ji5_6A4Po.FjdNA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BtkkufRaSFW.y70lUWPg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8jZp5ORi.JE98iC1H2tg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Zr9hoSMLHK0GBCQjQkQg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kTPS7TGYkG8Cj2_2pCK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CyHYtwSNmLz4TZDTveYA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qXWgdLS8aweqXcANVYCg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RuO5gPQ9qsSZWTHgafeA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SbyaSp_P.DtiGUsIOjxg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OVcHUHqs0L1tNga36bgg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h2GwHasDJrQ5rnryOvUg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NULL4CRb0_03t.sFeD7g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RxknGQRQa8fjnr9q.S6A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vL0Qa1SYO2nmKY5KBnWA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tP90nWZwTZkBsMRtSJnA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6g9LIcBGgxuoN112vbT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4wCIy9QAC2Z3nZVYISfg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NP8G5xSpSN5gvunPPgPw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2fBbKBWFPqx_6hxvedsg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tqNKCXGQpfwq0cLPrIug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TUA6RvqOu019KLlZk89A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xyObb3DegtZ.sfAnmJhg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zmAdhOT3SML5Kk.e4c_g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vKMBu8QBeTWzj3FBbrVQ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r9pJM_SBeSqquv7cghxg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11m4NcmFLZQkY9sHWYsw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Fo56NrewxpKLSG0.Moz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G9SpTRT_yvHULfufxDew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YhjrINk.y8qo0AhXUODg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8UeIGfDWkWha2TqnBVAQ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ogSW0eQwKjgUPSiQNGIQ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S.JedXSduIJPLb5IjcIg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Gc59A6QqYtHiQgXMQn5w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gvxiaNQvNZsd5QN8Sqww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f6KWUeG09jWXtit6czGA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WGxiJmSKCQB7q9ec8zng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U7NTCeT_mpIoL2OGB3TQ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GHTX8qSR.BCQ3oRO_nW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x3c40uR_i39UdFAL_15A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4CfEPtrjlBRdI8KoGXJw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LD3SCSfwDdE.vwqJCDsg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VnwEJ3DlUy42nWXuE5Q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sjbekqZbqBhf96oESy0g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_PIluvq8z2zipeC.t.Bw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VtFJh.aofjZFjpI6R8g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HCqPn_26hmHNZODknEMA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vRqs8mm2qbQEz6ToE0Gw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3HjsE8QDakuMHthe8EYw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U0l27TQWWE5Uhm.b2GQ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em7NGMSCmwbp8qAo5XSw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8M0_LMPctcPSw.6nn2Yg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SO1VEoHEHhlew9WWNKQQ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gASlHZDEuytPOjO3FS6A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JVPexnTaLbaLUpRAzUbQ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PUP0t6UkCSf3exH7AYjw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huf1ZLTnn2q_q0ut7.Tg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BZMvAk7w_XrDMDdvjLgw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qPEULcQ6GYMJctOzRs8A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dxUfbXPcathPGGlONLmw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cDsXvv.eL1HFt0AUTWv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SskQrJpN1kwOad3AX7.Q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X1GF7dDFOaVUZiXBHnfA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C8VhD4yiAQ8HwB4TQcHA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uaoodJQpKxx8v2h4bEig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MxjHTXW0RgfuLJY6GNDg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vqWb4_DiBUhZUZY_r_dQ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WGJDTH143aRzWFwOx3Cg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zuZaONOiNKPOB92YVyxQ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_0wtgZl1J_vwzYHwXYnA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A1Vg9SImpwdQOrAlrA_A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G8zrfeBhzaYzep7HJeA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JJwHXTV2Bz5saHXTZanQ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R1r2bgcypL5WPJoEEFLA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kkjM7G55xvY8OngYkBUA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W8p8c6v9E5ugqxZbBj.w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m3F.usocNUU4KvKyZ9Dg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7dHhEtMICiFyJRGvxw2w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y2fE9LZgI0Z0u0anRorg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oG9jv75EtLiinbZTaSFA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gX3aouKXlO8W9z5ax7jg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Yj0I8NHRZQ6cDJCPh.9g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5uanKxdS03x_.eTzA0m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f3nuQeThWHWhoVuqAhVg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rawAktYaMhvoEwPKD2xw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oh5dKfBkiK07GO6w3_sQ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5.NvkiimF2IqFUr_RNtw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hOFC46mOmN2s3_sx3Pqg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vgqf_MKaOApUeQxmbqiw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0618F5R47EJSuc1Doe7Q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ZbFHj.QJheBxmoabB56w"/>
</p:tagLst>
</file>

<file path=ppt/tags/tag1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E2LWqOUKVcDv84EkuDiA"/>
</p:tagLst>
</file>

<file path=ppt/tags/tag1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eQ.H326.XelHzIoELvlA"/>
</p:tagLst>
</file>

<file path=ppt/tags/tag1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eg5oqqKRCjd6j0_cCJI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WU_fPVLqfr9dx5.yDXAw"/>
</p:tagLst>
</file>

<file path=ppt/tags/tag1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SqTTekRYZ1sjNlnuv8VQ"/>
</p:tagLst>
</file>

<file path=ppt/tags/tag1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dyFOmnVQveOSqTjNh1Dw"/>
</p:tagLst>
</file>

<file path=ppt/tags/tag1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nOlxetnjC3O_vBtSLNJA"/>
</p:tagLst>
</file>

<file path=ppt/tags/tag1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C2UvsrHfb6Ftv6cBrCoA"/>
</p:tagLst>
</file>

<file path=ppt/tags/tag1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W2XTUgh2.GN503owFg7Q"/>
</p:tagLst>
</file>

<file path=ppt/tags/tag1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2Ga6nHR9SDhASAKxohng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FU43QETKqiIo5Nx997GA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sV9bdNTyKvXAkbMjpDjg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Uj3MZ5nT8JurvlRQClg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clhHY2R3qaShGIl0Mox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hEwD_.EPWGhVcLcgoVqA"/>
</p:tagLst>
</file>

<file path=ppt/tags/tag1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3Krx8tTvShnPeCZ_D8_Q"/>
</p:tagLst>
</file>

<file path=ppt/tags/tag1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xdv7LIQWme1SEkcmsBng"/>
</p:tagLst>
</file>

<file path=ppt/tags/tag1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yzkLMlSO.Guao3xB.DwA"/>
</p:tagLst>
</file>

<file path=ppt/tags/tag1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5l5CmIQpayU49ObDKVwQ"/>
</p:tagLst>
</file>

<file path=ppt/tags/tag1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oD7ZxhTnS7fyYi9bbaBA"/>
</p:tagLst>
</file>

<file path=ppt/tags/tag1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a6WC5hRaWhkltflPSpBQ"/>
</p:tagLst>
</file>

<file path=ppt/tags/tag1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I2lCldRjGorjVsigSkMA"/>
</p:tagLst>
</file>

<file path=ppt/tags/tag1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1S7lRzTbC_6gtZyFOIVw"/>
</p:tagLst>
</file>

<file path=ppt/tags/tag1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s_mWneQ72sdbHzBpGfrw"/>
</p:tagLst>
</file>

<file path=ppt/tags/tag1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M.KW6HRA.0gf48Mp5P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xRwTJ5R9GV.Kgnr0nUPA"/>
</p:tagLst>
</file>

<file path=ppt/tags/tag1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lB3RIDQgaBWOsRKRUcLw"/>
</p:tagLst>
</file>

<file path=ppt/tags/tag1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VIJdY9SU2d4RSsFG8keA"/>
</p:tagLst>
</file>

<file path=ppt/tags/tag1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9.dFsaRYWN5J0GBCt8CA"/>
</p:tagLst>
</file>

<file path=ppt/tags/tag1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vQlR9pRcCBQgKsobefIQ"/>
</p:tagLst>
</file>

<file path=ppt/tags/tag1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W.G7DQner7WSe6ZbSCQ"/>
</p:tagLst>
</file>

<file path=ppt/tags/tag1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dyfLzkRWeC9yYgH2xkpA"/>
</p:tagLst>
</file>

<file path=ppt/tags/tag1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a04MlsTNKkd9HBeY8p3g"/>
</p:tagLst>
</file>

<file path=ppt/tags/tag1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_3zBZgSoeygCCKEaPQvQ"/>
</p:tagLst>
</file>

<file path=ppt/tags/tag1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kbyGK9ShCg9bnDCdOhSw"/>
</p:tagLst>
</file>

<file path=ppt/tags/tag1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htwdX3ThuJQMvjMtYhI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xQlszvQr2Pv6Ojjabrqg"/>
</p:tagLst>
</file>

<file path=ppt/tags/tag1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1FPbcHi0u0EC1v1TWjWQ"/>
</p:tagLst>
</file>

<file path=ppt/tags/tag1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ceuJLUj0G9KqqelPSu7w"/>
</p:tagLst>
</file>

<file path=ppt/tags/tag1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6Z.TivQ3CIz2lNOXp1bw"/>
</p:tagLst>
</file>

<file path=ppt/tags/tag1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__nqzeJkeXk9dEOGG1dw"/>
</p:tagLst>
</file>

<file path=ppt/tags/tag1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sOty.Vw59DiyaeSItGLA"/>
</p:tagLst>
</file>

<file path=ppt/tags/tag1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rGi7vKxksYcQMx2.lD5w"/>
</p:tagLst>
</file>

<file path=ppt/tags/tag1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6Y2pwJyke8CpPgJkS5sw"/>
</p:tagLst>
</file>

<file path=ppt/tags/tag1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oGNykg00i1iKLS_ggnsQ"/>
</p:tagLst>
</file>

<file path=ppt/tags/tag1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Z0UvoMjUCGIYA7bGs0yQ"/>
</p:tagLst>
</file>

<file path=ppt/tags/tag1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bYrUvMZU2wljg929KxJ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XHhkN9hQcerM4PrFrNwQ"/>
</p:tagLst>
</file>

<file path=ppt/tags/tag1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JbogD9U0GhLK16rMXmSA"/>
</p:tagLst>
</file>

<file path=ppt/tags/tag1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sRImD8SEujPF_ntzFBTg"/>
</p:tagLst>
</file>

<file path=ppt/tags/tag1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1FPbcHi0u0EC1v1TWjWQ"/>
</p:tagLst>
</file>

<file path=ppt/tags/tag1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ceuJLUj0G9KqqelPSu7w"/>
</p:tagLst>
</file>

<file path=ppt/tags/tag1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hB27mgd0qQlZ7iKX34gg"/>
</p:tagLst>
</file>

<file path=ppt/tags/tag1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AQ4CDTTru2rAlXvr.Lnw"/>
</p:tagLst>
</file>

<file path=ppt/tags/tag1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JWyzUgove4W63us17MAA"/>
</p:tagLst>
</file>

<file path=ppt/tags/tag1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Gilyppy_gIKWUTKZ5bPw"/>
</p:tagLst>
</file>

<file path=ppt/tags/tag1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sRImD8SEujPF_ntzFBTg"/>
</p:tagLst>
</file>

<file path=ppt/tags/tag1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Z0UvoMjUCGIYA7bGs0y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2o1sMhrOXFm87uTyzrcA"/>
</p:tagLst>
</file>

<file path=ppt/tags/tag1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oGNykg00i1iKLS_ggnsQ"/>
</p:tagLst>
</file>

<file path=ppt/tags/tag1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6Y2pwJyke8CpPgJkS5sw"/>
</p:tagLst>
</file>

<file path=ppt/tags/tag1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bYrUvMZU2wljg929KxJw"/>
</p:tagLst>
</file>

<file path=ppt/tags/tag1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hW_swAQ2JE4Xxr2yRBCQ"/>
</p:tagLst>
</file>

<file path=ppt/tags/tag1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0fPIeId0iBrnX.AKdnpg"/>
</p:tagLst>
</file>

<file path=ppt/tags/tag1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Z7Ihkyi3FPjF44PGS4Ag"/>
</p:tagLst>
</file>

<file path=ppt/tags/tag1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t632LPVFOzvsBHf2wRFQ"/>
</p:tagLst>
</file>

<file path=ppt/tags/tag1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0Tl7FKQEOEbeE0CGcNaQ"/>
</p:tagLst>
</file>

<file path=ppt/tags/tag1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_x9w7oFo89pCUa8gTLDg"/>
</p:tagLst>
</file>

<file path=ppt/tags/tag1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CPSrSSOeMANlSkpmZvE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j9Js8EQASj37cbNaWyhQ"/>
</p:tagLst>
</file>

<file path=ppt/tags/tag1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iuPmSflpRebKQXm1xRtA"/>
</p:tagLst>
</file>

<file path=ppt/tags/tag1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ALZU6RO0uq204bw_nSRw"/>
</p:tagLst>
</file>

<file path=ppt/tags/tag1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kZevPAPqEmXIM2KxZ9LA"/>
</p:tagLst>
</file>

<file path=ppt/tags/tag1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SlK8VbWkiCg1P43a3wtA"/>
</p:tagLst>
</file>

<file path=ppt/tags/tag1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zr6j9EDEePPtAV20nrmQ"/>
</p:tagLst>
</file>

<file path=ppt/tags/tag1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aBX_cxEGx6rMWWmlcWg"/>
</p:tagLst>
</file>

<file path=ppt/tags/tag1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WGWh5iElSQBxOt_V3uFQ"/>
</p:tagLst>
</file>

<file path=ppt/tags/tag1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gnuZHay02YfJDi8R0QHQ"/>
</p:tagLst>
</file>

<file path=ppt/tags/tag1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NyfsqW10KRQlMzeT9Jwg"/>
</p:tagLst>
</file>

<file path=ppt/tags/tag1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z1e.3hdkKjkR2V9pgIA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b5i96gE750boDALh_UBw"/>
</p:tagLst>
</file>

<file path=ppt/tags/tag1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D.t.5YdVg6k5Oy8lJpSw"/>
</p:tagLst>
</file>

<file path=ppt/tags/tag1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J7yBG_kEybnMLtlQqw9w"/>
</p:tagLst>
</file>

<file path=ppt/tags/tag1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Yz0f6bmk.wMxH.rikfbw"/>
</p:tagLst>
</file>

<file path=ppt/tags/tag1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F19z5Dt0GtizlHt6S1.g"/>
</p:tagLst>
</file>

<file path=ppt/tags/tag1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gbQGx8nrX_4uPauj61ew"/>
</p:tagLst>
</file>

<file path=ppt/tags/tag1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NDZoPiWkSB.XDPvV0G9g"/>
</p:tagLst>
</file>

<file path=ppt/tags/tag1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oOEQFgu29juMS2jkZ8fQ"/>
</p:tagLst>
</file>

<file path=ppt/tags/tag1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Fvo4K4bEmMMpsaACWVSA"/>
</p:tagLst>
</file>

<file path=ppt/tags/tag1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sJBsxKOUKwbl4R8gr1kA"/>
</p:tagLst>
</file>

<file path=ppt/tags/tag1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LNOD5FvbEBZDX0odwrd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3P8iSpTweQKetKhPZd.w"/>
</p:tagLst>
</file>

<file path=ppt/tags/tag1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YOvQYaDU2fHpQgUTNILA"/>
</p:tagLst>
</file>

<file path=ppt/tags/tag1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ph6B8u0kOIg3UoRHhuXQ"/>
</p:tagLst>
</file>

<file path=ppt/tags/tag1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K49NusqUOcyyUfgaqBFg"/>
</p:tagLst>
</file>

<file path=ppt/tags/tag1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sAJj3uXOgOg7qmM2RmXA"/>
</p:tagLst>
</file>

<file path=ppt/tags/tag1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6u.AKrx0OK9SNUunBA2A"/>
</p:tagLst>
</file>

<file path=ppt/tags/tag1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r8.xmQN0OrmvrBAAW5oQ"/>
</p:tagLst>
</file>

<file path=ppt/tags/tag1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nM7IhU1OCujaOKJA.JRw"/>
</p:tagLst>
</file>

<file path=ppt/tags/tag1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N9Ok_ayE.rRxoDEzw_Ag"/>
</p:tagLst>
</file>

<file path=ppt/tags/tag1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Q8.63AtUO2xfqY8Z9CVg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jt43QAokXWo4bZF8s46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rnlqDgDrZTw_tIb3wv_Q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E85_KRxafffty8_nC6DQ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_CyfZ._jJ34BCdN.RmbA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Lqvg.6VOZuaRB2S.3jxA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bLNJDU693EmFbM9qjDmg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KFWlN_AMaBWoa_f5zBrA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rRYdnwmoOQHIUPrwENZA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DCOVYXe6yDwfjZ.38V9Q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kCdwxWbewXkL0M74Itwg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UNdI6AgRIP3hbbZoLaew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0fPIeId0iBrnX.AKdnp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oFNqjvS_WJOjAHZalWNA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Fp4M5_OGdawk2VpYKyWg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79w9P5lQsGHeByYoLM.g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VcMK5m3725lFD6ASpmWw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TetRuSvwFVqfWFDQPc9A"/>
</p:tagLst>
</file>

<file path=ppt/tags/tag1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7_O349zkmbfIIwArhBFg"/>
</p:tagLst>
</file>

<file path=ppt/tags/tag1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3dWAjg_UaldKKpzv7Pug"/>
</p:tagLst>
</file>

<file path=ppt/tags/tag1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R.hjZxF9SSiHH28RiAig"/>
</p:tagLst>
</file>

<file path=ppt/tags/tag1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uMlSe6tJpogrqgnzPLjA"/>
</p:tagLst>
</file>

<file path=ppt/tags/tag1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9tVd.ECFGLNLZJXYVQkw"/>
</p:tagLst>
</file>

<file path=ppt/tags/tag1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iuy5gQFwrI7.thLfeM3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EnEDepTEkhCUG1p1CrFQ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gYquJXA0dKlNOjIfu2rg"/>
</p:tagLst>
</file>

<file path=ppt/tags/tag1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2TdclBs0kdfboxGAGVUw"/>
</p:tagLst>
</file>

<file path=ppt/tags/tag1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A4wzTsPYN5mY7jqcr5hA"/>
</p:tagLst>
</file>

<file path=ppt/tags/tag1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sV58nQN9Yd2IUShanrIQ"/>
</p:tagLst>
</file>

<file path=ppt/tags/tag1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ha0jLkzom93fAmFO200A"/>
</p:tagLst>
</file>

<file path=ppt/tags/tag1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sJfVgQSTNhWoUDQaCxtg"/>
</p:tagLst>
</file>

<file path=ppt/tags/tag1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_aXIZJHbCS0CnpMkdd_A"/>
</p:tagLst>
</file>

<file path=ppt/tags/tag1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gZ1iVBw9ZKIRduFDG13A"/>
</p:tagLst>
</file>

<file path=ppt/tags/tag1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ipWQ9ZbNTlodFSjeaHIQ"/>
</p:tagLst>
</file>

<file path=ppt/tags/tag1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2hMRuHOw8m4W35OdgaD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GUPkceSu62teqakZGvS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8hpmDC5CWgbLp72EiDgQ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018SeWw3lD97dZmAdD1g"/>
</p:tagLst>
</file>

<file path=ppt/tags/tag1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_8pLwMZDhtc7Kkrr2heg"/>
</p:tagLst>
</file>

<file path=ppt/tags/tag1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5xVt06bQTnOEHw6i3frw"/>
</p:tagLst>
</file>

<file path=ppt/tags/tag1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0fPIeId0iBrnX.AKdnpg"/>
</p:tagLst>
</file>

<file path=ppt/tags/tag1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kXT8EjL5ek_Injh.yF0A"/>
</p:tagLst>
</file>

<file path=ppt/tags/tag1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KY6kQq9HE3Nlpmmuy2rA"/>
</p:tagLst>
</file>

<file path=ppt/tags/tag1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tQrDaOSKZfXWyb02H0Dw"/>
</p:tagLst>
</file>

<file path=ppt/tags/tag1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1.afwthph_FYZaadT8qg"/>
</p:tagLst>
</file>

<file path=ppt/tags/tag1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.gRe3eOoDyJHMjXAuF5g"/>
</p:tagLst>
</file>

<file path=ppt/tags/tag1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TzbPKFR55EPKzxfw7UA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A90SXFTEq_kCpXj.uQBA"/>
</p:tagLst>
</file>

<file path=ppt/tags/tag1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NJg216bvByJBir5h7fKw"/>
</p:tagLst>
</file>

<file path=ppt/tags/tag1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XDTT_QSveEVIZ1BUWGjQ"/>
</p:tagLst>
</file>

<file path=ppt/tags/tag1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0Tl7FKQEOEbeE0CGcNaQ"/>
</p:tagLst>
</file>

<file path=ppt/tags/tag1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5BEBFh1G72jnZfvZA7vA"/>
</p:tagLst>
</file>

<file path=ppt/tags/tag1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tA0e3uS260L9l5wQl4PQ"/>
</p:tagLst>
</file>

<file path=ppt/tags/tag1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PQNmDPSTWO5U7.sYboRg"/>
</p:tagLst>
</file>

<file path=ppt/tags/tag1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3WBs5ijiHbmgwJVYpQLA"/>
</p:tagLst>
</file>

<file path=ppt/tags/tag1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JLk1GclW8wW6Q0iioT1g"/>
</p:tagLst>
</file>

<file path=ppt/tags/tag1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ALZU6RO0uq204bw_nSRw"/>
</p:tagLst>
</file>

<file path=ppt/tags/tag1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z1e.3hdkKjkR2V9pgIA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yThpuSLZaaGEHz0APYag"/>
</p:tagLst>
</file>

<file path=ppt/tags/tag1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J7yBG_kEybnMLtlQqw9w"/>
</p:tagLst>
</file>

<file path=ppt/tags/tag1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aBX_cxEGx6rMWWmlcWg"/>
</p:tagLst>
</file>

<file path=ppt/tags/tag1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Q8.63AtUO2xfqY8Z9CVg"/>
</p:tagLst>
</file>

<file path=ppt/tags/tag1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Yz0f6bmk.wMxH.rikfbw"/>
</p:tagLst>
</file>

<file path=ppt/tags/tag1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F19z5Dt0GtizlHt6S1.g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iTID61OaJN5kQ_IHYErg"/>
</p:tagLst>
</file>

<file path=ppt/tags/tag1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Fvo4K4bEmMMpsaACWVSA"/>
</p:tagLst>
</file>

<file path=ppt/tags/tag1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sJBsxKOUKwbl4R8gr1kA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PZX6SPhh6Ihf1wtfqHww"/>
</p:tagLst>
</file>

<file path=ppt/tags/tag1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ph6B8u0kOIg3UoRHhuX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jqjRzmeN5e.0RpDQDQ0w"/>
</p:tagLst>
</file>

<file path=ppt/tags/tag1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zr6j9EDEePPtAV20nrmQ"/>
</p:tagLst>
</file>

<file path=ppt/tags/tag1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N9Ok_ayE.rRxoDEzw_Ag"/>
</p:tagLst>
</file>

<file path=ppt/tags/tag1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SlK8VbWkiCg1P43a3wtA"/>
</p:tagLst>
</file>

<file path=ppt/tags/tag1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K49NusqUOcyyUfgaqBFg"/>
</p:tagLst>
</file>

<file path=ppt/tags/tag1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6u.AKrx0OK9SNUunBA2A"/>
</p:tagLst>
</file>

<file path=ppt/tags/tag1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r8.xmQN0OrmvrBAAW5oQ"/>
</p:tagLst>
</file>

<file path=ppt/tags/tag1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NDZoPiWkSB.XDPvV0G9g"/>
</p:tagLst>
</file>

<file path=ppt/tags/tag1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jf3c3AIecQhgveEGYu8g"/>
</p:tagLst>
</file>

<file path=ppt/tags/tag1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7inGTxKhkwxwHeWJ0Lsw"/>
</p:tagLst>
</file>

<file path=ppt/tags/tag1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IqpOSgeMcqKigOKopCf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cUGg5bTr2oEphbL9DDnA"/>
</p:tagLst>
</file>

<file path=ppt/tags/tag1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ksU2g9g5yDVpI1XXCoEw"/>
</p:tagLst>
</file>

<file path=ppt/tags/tag1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cbb52db2i8kb1tMvkZOA"/>
</p:tagLst>
</file>

<file path=ppt/tags/tag1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UazsefLUjeJPzP3HzlrQ"/>
</p:tagLst>
</file>

<file path=ppt/tags/tag1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NyfsqW10KRQlMzeT9Jwg"/>
</p:tagLst>
</file>

<file path=ppt/tags/tag1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KB1qsNbKVR1OZvth467Q"/>
</p:tagLst>
</file>

<file path=ppt/tags/tag1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BNBkiRA8fN9ZComBtlAA"/>
</p:tagLst>
</file>

<file path=ppt/tags/tag1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y7VRZ.pyD_.NAN5OvuPA"/>
</p:tagLst>
</file>

<file path=ppt/tags/tag1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8z0Zmv_uobHYMhtZGPbA"/>
</p:tagLst>
</file>

<file path=ppt/tags/tag1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Ucb5z3UTdoYLHmeROiNA"/>
</p:tagLst>
</file>

<file path=ppt/tags/tag1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Z670jFRdiYFFJTJSSdY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rlH3atSLGeEtkci_CYJA"/>
</p:tagLst>
</file>

<file path=ppt/tags/tag1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dYMdGho9IO_a52LYYqvA"/>
</p:tagLst>
</file>

<file path=ppt/tags/tag1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fmDvdbvWpD559gZehBdg"/>
</p:tagLst>
</file>

<file path=ppt/tags/tag1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P_FTtcvZaHs0Fo.hCsAQ"/>
</p:tagLst>
</file>

<file path=ppt/tags/tag1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YOvQYaDU2fHpQgUTNILA"/>
</p:tagLst>
</file>

<file path=ppt/tags/tag1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gnuZHay02YfJDi8R0QHQ"/>
</p:tagLst>
</file>

<file path=ppt/tags/tag1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miF4C3nk_xaQ1UNy5UzQ"/>
</p:tagLst>
</file>

<file path=ppt/tags/tag1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0fPIeId0iBrnX.AKdnpg"/>
</p:tagLst>
</file>

<file path=ppt/tags/tag1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Fp4M5_OGdawk2VpYKyWg"/>
</p:tagLst>
</file>

<file path=ppt/tags/tag1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9WJnSHPg6ky7GFzu9GgA"/>
</p:tagLst>
</file>

<file path=ppt/tags/tag1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e04OP8_FeoSP8vUc4bq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IrtRqqzs.iSg8uMBqszg"/>
</p:tagLst>
</file>

<file path=ppt/tags/tag1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mFqiW6MIRN3J5O6ouOdA"/>
</p:tagLst>
</file>

<file path=ppt/tags/tag1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hIaCuHsfDOWl_9AvhlrA"/>
</p:tagLst>
</file>

<file path=ppt/tags/tag1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Z7Q07APlEvhau5.hZxDg"/>
</p:tagLst>
</file>

<file path=ppt/tags/tag1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ZV1Ta41nVk70WQmj3E0w"/>
</p:tagLst>
</file>

<file path=ppt/tags/tag1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CAuGTiKTh_YrPElxB29Q"/>
</p:tagLst>
</file>

<file path=ppt/tags/tag1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QTvnf4huguRR1sNF34LQ"/>
</p:tagLst>
</file>

<file path=ppt/tags/tag1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6g9AoKCzMR._ZrTcwTAQ"/>
</p:tagLst>
</file>

<file path=ppt/tags/tag1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nx1aP1Z5FHDX4wBEb2dg"/>
</p:tagLst>
</file>

<file path=ppt/tags/tag1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FGt7PZpICijjFiiCbGsw"/>
</p:tagLst>
</file>

<file path=ppt/tags/tag1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yeFCcr2uUeTN617exjS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G5S9BEvXvdEDc8A_nNLA"/>
</p:tagLst>
</file>

<file path=ppt/tags/tag1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V9rykkBE4msIPWNfB9Qg"/>
</p:tagLst>
</file>

<file path=ppt/tags/tag1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CPXD98Epi81mlrfH7oYw"/>
</p:tagLst>
</file>

<file path=ppt/tags/tag1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ubdMkQL9nnac6vMr.gVg"/>
</p:tagLst>
</file>

<file path=ppt/tags/tag1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2AiB.aC2mfuIujAhQOgA"/>
</p:tagLst>
</file>

<file path=ppt/tags/tag1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.3hxl0brg1BocvW6Uleg"/>
</p:tagLst>
</file>

<file path=ppt/tags/tag1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rUXqQHLXsZLmV7WvOQg"/>
</p:tagLst>
</file>

<file path=ppt/tags/tag1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VcMK5m3725lFD6ASpmWw"/>
</p:tagLst>
</file>

<file path=ppt/tags/tag1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PYqQ5pT7icNMoVMvqaug"/>
</p:tagLst>
</file>

<file path=ppt/tags/tag1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OdQ0qI9EM093T1OhsIZQ"/>
</p:tagLst>
</file>

<file path=ppt/tags/tag1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sV58nQN9Yd2IUShanrI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J2IAyb2xze_Ipo8m0gXA"/>
</p:tagLst>
</file>

<file path=ppt/tags/tag1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gZ1iVBw9ZKIRduFDG13A"/>
</p:tagLst>
</file>

<file path=ppt/tags/tag1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018SeWw3lD97dZmAdD1g"/>
</p:tagLst>
</file>

<file path=ppt/tags/tag1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9tVd.ECFGLNLZJXYVQkw"/>
</p:tagLst>
</file>

<file path=ppt/tags/tag1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5xVt06bQTnOEHw6i3frw"/>
</p:tagLst>
</file>

<file path=ppt/tags/tag1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R.hjZxF9SSiHH28RiAig"/>
</p:tagLst>
</file>

<file path=ppt/tags/tag1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7_O349zkmbfIIwArhBFg"/>
</p:tagLst>
</file>

<file path=ppt/tags/tag1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iuy5gQFwrI7.thLfeM3g"/>
</p:tagLst>
</file>

<file path=ppt/tags/tag1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TetRuSvwFVqfWFDQPc9A"/>
</p:tagLst>
</file>

<file path=ppt/tags/tag1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2hMRuHOw8m4W35OdgaDQ"/>
</p:tagLst>
</file>

<file path=ppt/tags/tag1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2TdclBs0kdfboxGAGV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TeZwVHHbH.nebe0MsL6g"/>
</p:tagLst>
</file>

<file path=ppt/tags/tag1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uMlSe6tJpogrqgnzPLjA"/>
</p:tagLst>
</file>

<file path=ppt/tags/tag1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3dWAjg_UaldKKpzv7Pug"/>
</p:tagLst>
</file>

<file path=ppt/tags/tag1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gYquJXA0dKlNOjIfu2rg"/>
</p:tagLst>
</file>

<file path=ppt/tags/tag1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ipWQ9ZbNTlodFSjeaHIQ"/>
</p:tagLst>
</file>

<file path=ppt/tags/tag1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sJfVgQSTNhWoUDQaCxtg"/>
</p:tagLst>
</file>

<file path=ppt/tags/tag1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_aXIZJHbCS0CnpMkdd_A"/>
</p:tagLst>
</file>

<file path=ppt/tags/tag1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_8pLwMZDhtc7Kkrr2heg"/>
</p:tagLst>
</file>

<file path=ppt/tags/tag1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A4wzTsPYN5mY7jqcr5hA"/>
</p:tagLst>
</file>

<file path=ppt/tags/tag1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ha0jLkzom93fAmFO200A"/>
</p:tagLst>
</file>

<file path=ppt/tags/tag1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0fPIeId0iBrnX.AKdnp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cA9z1K8Pn59mB6hIvPiA"/>
</p:tagLst>
</file>

<file path=ppt/tags/tag1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tW8BfMnvvnFDm2YUpXng"/>
</p:tagLst>
</file>

<file path=ppt/tags/tag1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pzdM1DnK26fyyj5.kmFw"/>
</p:tagLst>
</file>

<file path=ppt/tags/tag1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ZvL6nZ9e5ENtmx3jFDSg"/>
</p:tagLst>
</file>

<file path=ppt/tags/tag1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GeIGWBvYekOSJ0Wgr.gQ"/>
</p:tagLst>
</file>

<file path=ppt/tags/tag1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c6w7XcT06_FwQFj2Rn0Q"/>
</p:tagLst>
</file>

<file path=ppt/tags/tag1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0Tl7FKQEOEbeE0CGcNaQ"/>
</p:tagLst>
</file>

<file path=ppt/tags/tag1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FhJZl.RtiTBbRX1y4klw"/>
</p:tagLst>
</file>

<file path=ppt/tags/tag1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Sd0BwVSXygBCdig33JGA"/>
</p:tagLst>
</file>

<file path=ppt/tags/tag1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0TNmvuT.KZm712p5JAJQ"/>
</p:tagLst>
</file>

<file path=ppt/tags/tag1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ABuu.BwKWnBfJitgPBS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duWOE4SvqMH31P1AetBA"/>
</p:tagLst>
</file>

<file path=ppt/tags/tag1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ekXluDRU.eAALP9gf9Qg"/>
</p:tagLst>
</file>

<file path=ppt/tags/tag1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30DkNLw0EV.rBSkiMJ5A"/>
</p:tagLst>
</file>

<file path=ppt/tags/tag1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z1e.3hdkKjkR2V9pgIAA"/>
</p:tagLst>
</file>

<file path=ppt/tags/tag1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sJBsxKOUKwbl4R8gr1kA"/>
</p:tagLst>
</file>

<file path=ppt/tags/tag1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ALZU6RO0uq204bw_nSRw"/>
</p:tagLst>
</file>

<file path=ppt/tags/tag1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aBX_cxEGx6rMWWmlcWg"/>
</p:tagLst>
</file>

<file path=ppt/tags/tag1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Q8.63AtUO2xfqY8Z9CVg"/>
</p:tagLst>
</file>

<file path=ppt/tags/tag1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F19z5Dt0GtizlHt6S1.g"/>
</p:tagLst>
</file>

<file path=ppt/tags/tag1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4Aq12UCBB3h.Ozh0L6mw"/>
</p:tagLst>
</file>

<file path=ppt/tags/tag1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N9Ok_ayE.rRxoDEzw_A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jeJU9f4Kbt9Gd7q1cfdg"/>
</p:tagLst>
</file>

<file path=ppt/tags/tag1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NDZoPiWkSB.XDPvV0G9g"/>
</p:tagLst>
</file>

<file path=ppt/tags/tag1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NyfsqW10KRQlMzeT9Jwg"/>
</p:tagLst>
</file>

<file path=ppt/tags/tag1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YOvQYaDU2fHpQgUTNILA"/>
</p:tagLst>
</file>

<file path=ppt/tags/tag1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Fvo4K4bEmMMpsaACWVSA"/>
</p:tagLst>
</file>

<file path=ppt/tags/tag1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K49NusqUOcyyUfgaqBFg"/>
</p:tagLst>
</file>

<file path=ppt/tags/tag1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SlK8VbWkiCg1P43a3wtA"/>
</p:tagLst>
</file>

<file path=ppt/tags/tag1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6u.AKrx0OK9SNUunBA2A"/>
</p:tagLst>
</file>

<file path=ppt/tags/tag1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r8.xmQN0OrmvrBAAW5oQ"/>
</p:tagLst>
</file>

<file path=ppt/tags/tag1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J7yBG_kEybnMLtlQqw9w"/>
</p:tagLst>
</file>

<file path=ppt/tags/tag1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kCFBhtn6EQxYQsKNZ6q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HYWvFxTuOJsO.gyEhL6g"/>
</p:tagLst>
</file>

<file path=ppt/tags/tag1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Yz0f6bmk.wMxH.rikfbw"/>
</p:tagLst>
</file>

<file path=ppt/tags/tag1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Wpy._IW3FRZ6DT8oGCFQ"/>
</p:tagLst>
</file>

<file path=ppt/tags/tag1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ILkmxPEovujSqUinLB0Q"/>
</p:tagLst>
</file>

<file path=ppt/tags/tag1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zr6j9EDEePPtAV20nrmQ"/>
</p:tagLst>
</file>

<file path=ppt/tags/tag1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s7LIlvsiVaJgHT4FzWQQ"/>
</p:tagLst>
</file>

<file path=ppt/tags/tag1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y5wG8z2btULt9q0SrgdQ"/>
</p:tagLst>
</file>

<file path=ppt/tags/tag1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uYoLrRLTI1mgPL9L2UGQ"/>
</p:tagLst>
</file>

<file path=ppt/tags/tag1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ph6B8u0kOIg3UoRHhuXQ"/>
</p:tagLst>
</file>

<file path=ppt/tags/tag1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0KGLOP0RWbrtF_rxRUSg"/>
</p:tagLst>
</file>

<file path=ppt/tags/tag1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s7owajZC0XKdjppaVnb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tkLprfYRGJ77SqlmNDig"/>
</p:tagLst>
</file>

<file path=ppt/tags/tag1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a3tpC4v4rpZWMSI2JmkQ"/>
</p:tagLst>
</file>

<file path=ppt/tags/tag1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U055Y2bcf.SvzzNyEOkw"/>
</p:tagLst>
</file>

<file path=ppt/tags/tag1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gnuZHay02YfJDi8R0QHQ"/>
</p:tagLst>
</file>

<file path=ppt/tags/tag1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gQcEtawp_mW.fEQe7SoA"/>
</p:tagLst>
</file>

<file path=ppt/tags/tag1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JzwAEavd5E6BLVqrUBtQ"/>
</p:tagLst>
</file>

<file path=ppt/tags/tag1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opqN3zUPcL1uPZU69.5A"/>
</p:tagLst>
</file>

<file path=ppt/tags/tag1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Dm_Ga.azo1eSs9bSqAOA"/>
</p:tagLst>
</file>

<file path=ppt/tags/tag1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9CPbAQoGKES22hNBGTRw"/>
</p:tagLst>
</file>

<file path=ppt/tags/tag1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QrBHgOGIBeUROlG_LljQ"/>
</p:tagLst>
</file>

<file path=ppt/tags/tag1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s1u6Trt.VlLC2aA.EFY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X4gUO7TNaa9xRFoClQVw"/>
</p:tagLst>
</file>

<file path=ppt/tags/tag1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0fPIeId0iBrnX.AKdnpg"/>
</p:tagLst>
</file>

<file path=ppt/tags/tag1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fVObUmqi45sQPTUJCqaw"/>
</p:tagLst>
</file>

<file path=ppt/tags/tag1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Yn5d5sZCjJtFTPfIj8Zw"/>
</p:tagLst>
</file>

<file path=ppt/tags/tag1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QJHo_Lx5jBPelmvJ3mJw"/>
</p:tagLst>
</file>

<file path=ppt/tags/tag1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4ASjNCj30ZUWs04v5y1w"/>
</p:tagLst>
</file>

<file path=ppt/tags/tag1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jf.RPh6dwGGi_u8nfzwQ"/>
</p:tagLst>
</file>

<file path=ppt/tags/tag1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yTShu.GnpGZiANguCz9g"/>
</p:tagLst>
</file>

<file path=ppt/tags/tag1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KeZUIVw70uf0Xo_fBcpA"/>
</p:tagLst>
</file>

<file path=ppt/tags/tag1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s3foNH3exaIkyVRUyaAA"/>
</p:tagLst>
</file>

<file path=ppt/tags/tag1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pDAsrX7TnUSjIKPJVXl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TTGemhropvBIvfbRx2BQ"/>
</p:tagLst>
</file>

<file path=ppt/tags/tag1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1b8wUs_9HctjmIJ.KROg"/>
</p:tagLst>
</file>

<file path=ppt/tags/tag1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pRZRlarWBJONKsWpxmg"/>
</p:tagLst>
</file>

<file path=ppt/tags/tag1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A9TkoMJq6.s9puzA97Xg"/>
</p:tagLst>
</file>

<file path=ppt/tags/tag1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21047BAuZsk3G_7IEplUg"/>
</p:tagLst>
</file>

<file path=ppt/tags/tag1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FDFSbK18cfYHgmrmIGww"/>
</p:tagLst>
</file>

<file path=ppt/tags/tag1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JeAjqaiYugkvMd9AyNsw"/>
</p:tagLst>
</file>

<file path=ppt/tags/tag1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4OxHwtIa8gxVx_dip.HA"/>
</p:tagLst>
</file>

<file path=ppt/tags/tag1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03raHS3oskKElViaIjZw"/>
</p:tagLst>
</file>

<file path=ppt/tags/tag1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kZKgAEcayMGwJoHjBGoQ"/>
</p:tagLst>
</file>

<file path=ppt/tags/tag1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a_cZET.PHFNTxky3_mf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Pm2C9DqGEu2eqtwesPZg"/>
</p:tagLst>
</file>

<file path=ppt/tags/tag1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WwbKznD35mV8ZvaWP3FA"/>
</p:tagLst>
</file>

<file path=ppt/tags/tag1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PYqQ5pT7icNMoVMvqaug"/>
</p:tagLst>
</file>

<file path=ppt/tags/tag1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gBBqEJDoij7lWrSJ2bsQ"/>
</p:tagLst>
</file>

<file path=ppt/tags/tag1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b3nMYyWeMaynzwpEsDjA"/>
</p:tagLst>
</file>

<file path=ppt/tags/tag1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ItdeTtAvwjbfovE.uyqg"/>
</p:tagLst>
</file>

<file path=ppt/tags/tag1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Xe9qnwcQYi4KyJwVUjMg"/>
</p:tagLst>
</file>

<file path=ppt/tags/tag1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7_O349zkmbfIIwArhBFg"/>
</p:tagLst>
</file>

<file path=ppt/tags/tag1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Zyvx9EsDRz8QiLNkCipQ"/>
</p:tagLst>
</file>

<file path=ppt/tags/tag1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7jC14eWtyYa_osvd0xSA"/>
</p:tagLst>
</file>

<file path=ppt/tags/tag1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zQCTEW.OfV35KVZXcZQ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trrAt8iN5xYhNVWikxg"/>
</p:tagLst>
</file>

<file path=ppt/tags/tag1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9ZQeYNzG5XshZ95pf0Ow"/>
</p:tagLst>
</file>

<file path=ppt/tags/tag1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MG3XtTrlpO1ZvcXBoVdQ"/>
</p:tagLst>
</file>

<file path=ppt/tags/tag1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3dWAjg_UaldKKpzv7Pug"/>
</p:tagLst>
</file>

<file path=ppt/tags/tag1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5f8qPJCd6TyTROPQVnNrw"/>
</p:tagLst>
</file>

<file path=ppt/tags/tag1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6wFEzhUfKuhZuFHoa7Rg"/>
</p:tagLst>
</file>

<file path=ppt/tags/tag1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OyNQvyOtU16mlyJpcJ.g"/>
</p:tagLst>
</file>

<file path=ppt/tags/tag1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37WWEU4QZtZR68E.r2uw"/>
</p:tagLst>
</file>

<file path=ppt/tags/tag1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wJ.mL_f4hL3C9LEH_p1Q"/>
</p:tagLst>
</file>

<file path=ppt/tags/tag1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OPlsCOQTWA.G80HV7Pmg"/>
</p:tagLst>
</file>

<file path=ppt/tags/tag1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cSV0cFz_cKD1k5f1qsz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rcVA3lRaGg6.os.ybo.g"/>
</p:tagLst>
</file>

<file path=ppt/tags/tag1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DphgI0z7sHa_DRX8HfQg"/>
</p:tagLst>
</file>

<file path=ppt/tags/tag1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4jr_.iDmJRbbKj.6tSJQ"/>
</p:tagLst>
</file>

<file path=ppt/tags/tag1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C2GPg5BlYfETerk9_Sw"/>
</p:tagLst>
</file>

<file path=ppt/tags/tag1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0fPIeId0iBrnX.AKdnpg"/>
</p:tagLst>
</file>

<file path=ppt/tags/tag1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Xsz2jlhcpuPfib3dS0WQ"/>
</p:tagLst>
</file>

<file path=ppt/tags/tag1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nm_fs_TE6L3Q60..YcUQ"/>
</p:tagLst>
</file>

<file path=ppt/tags/tag1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VDvFPQMvFD4JYhvmdZ4g"/>
</p:tagLst>
</file>

<file path=ppt/tags/tag1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1YH2VcQ18xV27JPqIEmg"/>
</p:tagLst>
</file>

<file path=ppt/tags/tag1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_uX.z0u0iSIKYsb9xMZQ"/>
</p:tagLst>
</file>

<file path=ppt/tags/tag1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ofYfzn36ONuqoAXKkI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pU2eo5S9CLzEPVTtkVd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YEBiAJT7y6DEQFLgr1MQ"/>
</p:tagLst>
</file>

<file path=ppt/tags/tag1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e0LNbpakHd0PkDPzCq_A"/>
</p:tagLst>
</file>

<file path=ppt/tags/tag1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6C4RiHbk.7vYgADSxxTA"/>
</p:tagLst>
</file>

<file path=ppt/tags/tag1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ONgzOMlWS.nEc1QLwQog"/>
</p:tagLst>
</file>

<file path=ppt/tags/tag1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FcxJzwtYGkLpnnhDnHgw"/>
</p:tagLst>
</file>

<file path=ppt/tags/tag1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B9UDrun02X9QG6j0OQ3Q"/>
</p:tagLst>
</file>

<file path=ppt/tags/tag1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Eg0bw2.A.VrYCkLR6_Qw"/>
</p:tagLst>
</file>

<file path=ppt/tags/tag1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c_VOx_ootJjN_EBJW20g"/>
</p:tagLst>
</file>

<file path=ppt/tags/tag1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gq980o_qDVRjCXOsi9jA"/>
</p:tagLst>
</file>

<file path=ppt/tags/tag1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iF9Zhtm2GyUldfmFIrHw"/>
</p:tagLst>
</file>

<file path=ppt/tags/tag1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ADlrXZNHmsM3xiKFH_a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uVU6WLZEvz4BBqQgil6Q"/>
</p:tagLst>
</file>

<file path=ppt/tags/tag1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z4eYFhckacikGDCEacgQ"/>
</p:tagLst>
</file>

<file path=ppt/tags/tag1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zsCYJBOEOIF.03hYyZBQ"/>
</p:tagLst>
</file>

<file path=ppt/tags/tag1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J2jNnb8..iZ1_Uy0fzxw"/>
</p:tagLst>
</file>

<file path=ppt/tags/tag1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FXk5eWYarwdXw7mVA7mg"/>
</p:tagLst>
</file>

<file path=ppt/tags/tag1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Xkvqwvq6iKZlC0vtEuIA"/>
</p:tagLst>
</file>

<file path=ppt/tags/tag1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Ihzenmzdq2unpgwGy5eg"/>
</p:tagLst>
</file>

<file path=ppt/tags/tag1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WBdsrk4h61I9IIvQgOnA"/>
</p:tagLst>
</file>

<file path=ppt/tags/tag1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2Hu_PkjzSNm.8pR8gEQw"/>
</p:tagLst>
</file>

<file path=ppt/tags/tag1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RvRcutqjELAWu58VXl2g"/>
</p:tagLst>
</file>

<file path=ppt/tags/tag1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mUf0lyVdi2pdzVcO5VU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GkyrEpc_uNdNdI8kwilw"/>
</p:tagLst>
</file>

<file path=ppt/tags/tag1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BrI5yKvG7yLCPqYX3v2g"/>
</p:tagLst>
</file>

<file path=ppt/tags/tag1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ngXQGafEqh7R.cr.A_vw"/>
</p:tagLst>
</file>

<file path=ppt/tags/tag1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vkjzkOhUKTxWg6r4Q62w"/>
</p:tagLst>
</file>

<file path=ppt/tags/tag1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GBwEPD2OmuSFqqS6Iybg"/>
</p:tagLst>
</file>

<file path=ppt/tags/tag1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Zr5.vRIOqYjUjikTH1LQ"/>
</p:tagLst>
</file>

<file path=ppt/tags/tag1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fds6syAUyGsn34JRM46w"/>
</p:tagLst>
</file>

<file path=ppt/tags/tag1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XuXTo8HOv1Kv27jNdVGw"/>
</p:tagLst>
</file>

<file path=ppt/tags/tag1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wEihJP.QgShuLI9xJvrQ"/>
</p:tagLst>
</file>

<file path=ppt/tags/tag1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3ljLayUuFqsbgEV2xH0g"/>
</p:tagLst>
</file>

<file path=ppt/tags/tag1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oNuKQXL0WV2Llc2zNK8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WRZ8mFv3YX_319rYngeA"/>
</p:tagLst>
</file>

<file path=ppt/tags/tag1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1NGuVSOUmidmh2uBduJA"/>
</p:tagLst>
</file>

<file path=ppt/tags/tag1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2wQNmonz0pwnZfTSQIFg"/>
</p:tagLst>
</file>

<file path=ppt/tags/tag1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4PVyzflUyn0OlhOLyqSw"/>
</p:tagLst>
</file>

<file path=ppt/tags/tag1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vK4tCDoku2k79PzzZyVQ"/>
</p:tagLst>
</file>

<file path=ppt/tags/tag1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_Eb967GkGMbf5JfmVy4w"/>
</p:tagLst>
</file>

<file path=ppt/tags/tag1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A0gXzcdkCEm.CgpFj4uw"/>
</p:tagLst>
</file>

<file path=ppt/tags/tag1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P6JQMFD02IXW4JbaOL6w"/>
</p:tagLst>
</file>

<file path=ppt/tags/tag1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zCu8FHiE2wdmfntXPVhA"/>
</p:tagLst>
</file>

<file path=ppt/tags/tag1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uYK1rbQ0qbAcs6TXTFeQ"/>
</p:tagLst>
</file>

<file path=ppt/tags/tag1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5EU0295kWxE5AVTIuuP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od9URpk49fWO8DKVpbqQ"/>
</p:tagLst>
</file>

<file path=ppt/tags/tag1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0fPIeId0iBrnX.AKdnpg"/>
</p:tagLst>
</file>

<file path=ppt/tags/tag1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0fPIeId0iBrnX.AKdnpg"/>
</p:tagLst>
</file>

<file path=ppt/tags/tag1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4de8QstgEKBXzExm7JYg"/>
</p:tagLst>
</file>

<file path=ppt/tags/tag1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fIBYV.CgKmQoOB1kngZw"/>
</p:tagLst>
</file>

<file path=ppt/tags/tag1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3KFA8xq4fTsdY0lae2pg"/>
</p:tagLst>
</file>

<file path=ppt/tags/tag1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u3WnVJMOAIcQe4VcGCgw"/>
</p:tagLst>
</file>

<file path=ppt/tags/tag1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FNbS1XJbBDo4osN3TEqQ"/>
</p:tagLst>
</file>

<file path=ppt/tags/tag1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W4Ulsro5KK1CLQyBe6cw"/>
</p:tagLst>
</file>

<file path=ppt/tags/tag1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huJknJS.FTMIr3es6WmQ"/>
</p:tagLst>
</file>

<file path=ppt/tags/tag1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q5z7p.9GDJMfpNIwilB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NjhAOlpXmqjKs2as7hmw"/>
</p:tagLst>
</file>

<file path=ppt/tags/tag1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ki_Jbt9Ls5F3DTconQA"/>
</p:tagLst>
</file>

<file path=ppt/tags/tag1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yu.N4PIn_cXz8mPCzRYw"/>
</p:tagLst>
</file>

<file path=ppt/tags/tag1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SC.q1HJJ33fS9qbeRRYA"/>
</p:tagLst>
</file>

<file path=ppt/tags/tag1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V9TIZY1WWWyC1KthXaqA"/>
</p:tagLst>
</file>

<file path=ppt/tags/tag1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k3aP9.eHRfkaS_Yo49Yg"/>
</p:tagLst>
</file>

<file path=ppt/tags/tag1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2Fk9PjsKZWN0STUnKiMQ"/>
</p:tagLst>
</file>

<file path=ppt/tags/tag1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A1xurtuQ14WyWdO_j5XQ"/>
</p:tagLst>
</file>

<file path=ppt/tags/tag1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9dDDgQXC8TQ42CL1uU_g"/>
</p:tagLst>
</file>

<file path=ppt/tags/tag1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tkxOC8NyFqwx7Wk34I5Q"/>
</p:tagLst>
</file>

<file path=ppt/tags/tag1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GY9yOXTX8Pmq9Lsd3bN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l4s6kyoCzHdY98wN1Iqg"/>
</p:tagLst>
</file>

<file path=ppt/tags/tag1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QH8TxcewcioxZbKKjGNw"/>
</p:tagLst>
</file>

<file path=ppt/tags/tag1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ooZNrNolJwcBtqxfz4Fg"/>
</p:tagLst>
</file>

<file path=ppt/tags/tag1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VVwXC5dS_VnS.rK78_lQ"/>
</p:tagLst>
</file>

<file path=ppt/tags/tag1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gimjTlML2D4qVqtFxS5Q"/>
</p:tagLst>
</file>

<file path=ppt/tags/tag1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r7uAN0bMQH23wgaKM1sw"/>
</p:tagLst>
</file>

<file path=ppt/tags/tag1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PPc4JCw8O5Fwa9xjnDiA"/>
</p:tagLst>
</file>

<file path=ppt/tags/tag1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tQs1SSZ8j8pS57HK7Drw"/>
</p:tagLst>
</file>

<file path=ppt/tags/tag1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Xc3xvi0MRFg_Hm8tLDCg"/>
</p:tagLst>
</file>

<file path=ppt/tags/tag1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b9VgSSr0Cue5X9NR1gAw"/>
</p:tagLst>
</file>

<file path=ppt/tags/tag1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6uQ1mOXEqDSZex2YrE4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PS2o43SGayJYsDbFgNsQ"/>
</p:tagLst>
</file>

<file path=ppt/tags/tag1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ACja.jDYdgZl_D3.35Ow"/>
</p:tagLst>
</file>

<file path=ppt/tags/tag1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x5USkfsz_1kRbh0I9GxA"/>
</p:tagLst>
</file>

<file path=ppt/tags/tag1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0MaVzoN4Luw4Nrfwfglg"/>
</p:tagLst>
</file>

<file path=ppt/tags/tag1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tgtbF018S4XYO6kDyAeg"/>
</p:tagLst>
</file>

<file path=ppt/tags/tag1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Up2jLWpWcLnfaYFE.tr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d4KcSquINUmLiqeVfR6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caNLAsbNvEw5rdXf7J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7iCIMrTzqiSIafx2cwu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KtLQEETKE_XB8Rvc9YE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lg8CnaIRzKFcA6ztzRF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_JNAsFFGqrZSUM_ViR1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OdOBCiCccyGCZXiO8NO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EmVOYFy5axKmWMP6Nia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_Y13383yUfd6yxJxvG9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RdglKsrxuKAGU8bTjbJ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ipseHKWx9Ff74FQ8YyP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ABw3_lySpgteRx9OvBj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kZhvbMvboK8EQWjHew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k.E3d1TcW3n6atW5_24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cGU_tLltZ0eqnq0gmXw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KivmR63pT86BuKUpPtO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hX04RIEVguWF2eSQrhG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EJWal5kAn.kyx1SQTsd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H8_LxwGiuB0vkk4dBJ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VyKa4_bo9yk2DcWyGXj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3sVRExlmKYG3Djxtrkz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r7pfmXByFyRLCz1D.Kj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V7Q7.n0keIC4b6LCmfZ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1o.Tn237xz5lxe6OLd5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FGBhvKRI.yKFcqwgY82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lc_nrIZM3fT5iqE_vvf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aqM9KRtPPpC4eAaAE6s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lPX4Avmv9Kc_QB7x5AK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Uajc_E65rMbr4VKOrva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cBNnmNXJYOzujAI58hs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dnPRC7yQedw4YfjbArg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Av1lmZCdQsbq_9PLjFb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rMdyn3HfQLVqtxriKVL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SqCik8HYQ5wFcsk3bFC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kgI463ge4lqz2Uq16OF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36QX9gQ7yPXnDg__AJL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1YH87w17PYdjySO.FC5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_R5X9V8r4lIEXpXbCBB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5nH4XzLqUDIe7rgwlxp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6fgt5dDksTyXY5H3etP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tm5Fus7BikBHsa9SoVO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gnzvv7sMpt1wO.pYozf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ZNqn38JFgZQovwM4bJC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dwJqTsBKFmtYG6MRdBx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Qpt0GUrSK.GL.5d4x59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4zQO6g6h6iv2HBXUg8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wbW5h8q9gHN8XvxDeUh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40C3kZTlmXNw3dVPU.y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Cha5w9M1JWJRO8hTwV1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COJyXXWsxNyh_GcU.4r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WeHXe7W7nLGIO3XxRPG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gUCvqTR6IuYrZUxqJj3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vEDomYOgQIJFJhz.MiP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aOZBsym24ZmWw.5Scei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pW7fWXQ_rU.MpYdrfEL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LznQtFN990S8ZlAQGcc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ylsPEqM9mgYOQCUVykG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QGs5Zf4_5UkNomMNCJ.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L0OzbJj0mzvoOPx1.p9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JIuAG0e.QBrCg1sdyKL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Da1DMhvXU5X.EMM0ptg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.nknaZtuQaffQiniL35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sfVVfWPKt5vKOTH43fV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fpM55QR0iCwy.NmmCW4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4yIFosQF6wOyciiolMY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D9X6i1AJcn6B8CQ8I3H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Ref9GhTBGSVR98k6qdD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sucA3.RXa2oFrGT1bSl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zeqgIBS3P.zZh.7keTG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eopGsDR6WcpV5ylDFlo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0Nnwa9SFGZYpOBfDOL6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qZDYcyRDOE9ClU.4dDv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2gugL4TsivxyqCR9uhM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Pk4F5HQKmh_i._4s6m_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RNxAXYwqr2p.XtWsqB1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c6wqcTNe1u6Okzfb2uX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8Rd9oAlDMfz0dZCU88i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UtUTA4ty9581nYHyOPB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ObYK5aPdaYwqM.h66Qj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3RhZl.bDINrHQ020m1.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3o.tkaEF5wJZpxQet10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qRolwFog6Qnw2CRQqgs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X_Og0oV7cgVp.KOY7e.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PJm_L0qDKXug73Wvbkr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DG5tjyC_Fs7JujONsGG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O0hvP6Rfa5uG6KuI3Qq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PmBM_oQ3uUcJp_VFgG2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wKsv20QJmoJA8O97Kzb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hB9wVGTzizKxRzSMNp2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5yOVb_SMWKKHl9p6H1B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oxAuEz9jXdN2u1Gz_yo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lB7SVGQBe_ZZGHp38uF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tRB4N0QKuMuYwWBUvt9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v9Hc48QzetBMTrBC9F2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clhHY2R3qaShGIl0Mox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.ggi3pAHsaRyKqxYbvi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CKJvhFQq.IxdO9O3RSy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rVF1H4Q6ymVFKpfjNGC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wUL_wtQEqiyA34UylAJ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IBcA3Wms12tcaukZAJ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IuVGmZxCMxUFyXx5tMz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mQ8_EwosQTXQNkH7bYV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JvRiC4THDcGik.eJXKF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1EdR6Z39IKqjKsqxosQ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DHYUtVSKKRNMcHq0HdJ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QEIOGsDmeJAzbWsJNCb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AEFymoA9QJSHiFuLwNb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zaqjcBki1cvpL_2GC2F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zg8otvPwzT1QMq5oRJb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7bsG3hV_1MBquFZ_0kD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XfmTXs.XLrufBZayjw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ufHbjkmBYJZ8A58Nfh5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qloe61QDmCEXZcglObQ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90ckQaTWK1IGauJ11je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2WzKyhRmeftvFWR9y8i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TOQfHsYch00AaW6mjeB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XdmszzHCNOS7HvHPyZd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r9WX2Y9c3yCGzEWp1SH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lJG.uUsC7IO1uXYR6c_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mfqj5.9EMV_ndd1_Co.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6lGDjv.P5_B3kUWigVo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.vOIeL.O6SSqFAuUULB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Ee5EyINCXZOy2gJFMff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zhWA6jpp8xzy50LCOOi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xvTzRPlsE.CCNyQpPHH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7nefIKRDaSf0MpHn95D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o2Hp.ujuxYaYB6CnbuE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axZNcmOlYQ9dtYHgX4t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gdHwZP.ctNE334wTGrf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fxY3d2o_uNDHEKLmCBS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Q4xWZRSFe18fbtGDPx2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v7oTQf_o7xpk9wpqfjt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AX1gPLS7hNkNM1YH7gK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PdFoz.q1kunES1Iix5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akn9pxRIif1lZU9sOXA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Y6fdSmRnKBQ0Sjrt7K_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tRtI2EoqnrrssLaJf6r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nMrI1jUEOUzxbXfLam3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LCeLQ63CwiCs6zXdK6Q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DBbb5_Ss.pL62mrteri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0z9nhOc0gtW4Iwk4ps9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esvKqB4sIr8N8ngO..u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SaHId7.TkYxjRAFlweO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6W3463YDHRVx.HnVMuG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duwmy1K0sC0cOvYGmEw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B8dxIypGCk_hdftACS.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o03S0FIibZ3Hlkg4zzZ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CFqquUSrKPJvP06AVCu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xAjpxTSDmGSwy4_qmCe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fUH9C8mPlMACoaTSj3n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S6xaIZQ.OBtjtUfP4Zf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NKvv4VLX8XuLo5Vf3JE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_8h7tcj95gVH4AcLcTs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JairIISwoFtGaZnFZ0d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lE8v4VY_YRMS_3wn4e_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N6B9TSR1.cjXQrDV7Vq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TqdEeOLf3bC_ArffDpr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9._.C5Dw_89neNQsEP2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Z_NHR84qKYdUD_cWLLr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N4QtGQm6l0V1f3FfNuY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0WYa8cQRystAtdzMevv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zFL9aieVxg1_EJ.62PO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cRk_I.qn.SDBb2enNih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ejUVRcz3Ig653wje4Dm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xs63uqhp3bZWuFYttBh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QtXGGlRpKaGcitKwqvZ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NAldstT6eV6Ip8g5e4D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bvV5LiQrSyOu3ndFkkm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jWgjFj.ykZf1uiiVR99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wg.kioypnYSEluluAW8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uxHKRydB46BHEvqe3YU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8E9MS_3je_mfKgmMzdy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gEYiy3YYWD_EvugeXJP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3s4MhbQfeVczU8gE1Hk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VcOBNcF2caIym6PBJjT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zEJUebC9SulJsdPPMYh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2FdcYLDEoJFcgTmjVp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5b2pJCRsya2wK8AKmRF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1xP15PtHOAtzf8CW1ue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F2Rg9ilwj2djAQ9xhrz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1R.botU1m5NyFtgHMY8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OTPRsfRQy2D1bHkmogP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6ODWtwSxHAKs.qzUcTr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OJKQ22GAnso67grTa18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QVjmUYgEH.BHti_tPg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o47BxSYJefma2yA09iP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PGxH8NQVa2nWMd3yPMD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abikSqg47.o7Nt3b3zU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lhUSPBDUFkoPvw9_KVN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tpLILwKaqjqrsoPuzPF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r4N47SSpEehAaMcur9_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b54waQKVhjCiJs_NaRz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t8Qeu0iDDd8Wa.yLPWW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58qlaztXhyF8blt9SBW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0DmgKJ9prVZ9DRMtuCg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8qsEF.MP1_IT6W4CU8Z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9k0vnkOSRMAIAL_QBYB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G0HMCLoKwz8lic.WCce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1EGAu_pupr6OHvEmJ2o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19vnBww3ZigDWgHhj80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N_80ybtxi89tq9j..c_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2cYr8XPRKyxYf7N2IEP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q.Xh1xVfeb6ji.z5oFZ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dzlIk7iLAEKvY.8TkAU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BTM.qUT5m8jPRbaq.kW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BbZQW4Yxj.D7zc1Yw03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2FKNap.isQeFicok110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Lm4KowjGvxwgzjhOApy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fngs2pqkqxZhHxxo55K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rT.fUvUna8AywVhRFis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DYGXgJeVgmdL1uclQN7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bHd9ZuCnU5srsQqs7XX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iwdjUaR3ePFs.0GoFP3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HXhJuDUEvpzrv9p7.ht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jF04YZgoS7UShYND9EI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cI2_2LxSzUdYPo_voMe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x6SwDlR893nI7G90HDC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0tDuZ41tWzMsFfRQjTM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UTWBXgDTl5PtaPg_lro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Sy8wTbIwHA0_VE7ulAI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Qkf6SobriMLFVvq97V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JFEbw712vDb3J8aymlR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DaEjMrODP3MiTYdsyu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UtVIQzFk3gKTuIEs_A8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q.R_Z45_nB68Xw.yZl.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WcQ63bVOVAJAxjkuT85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LnL1yuo4G1a8KzeSXjD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sn8RDvxfDfCAJ41DcRT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yOHqJiidbaphCVY_H97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NZwVC0FhZY0yDEHg.4R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GVlZyOXO9HhnQcP_P_a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U6s0JDZjYS_LAnBEt28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BMS0a2NJJKgUruNDB1a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3lvBhzpB..X3.D21WHJ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BzOAauLjbs7HPdTj_DR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r9UZk7SjpS9jSJJf09B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Ojo0yy7nX8lJgfLp6.1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fa5m7eBQYtVQzU_wwiv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c6.J_tLcLtAzw7TDc.p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T2l8B09lLxHcfH9JyCJ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TmQVz_z8nBdXWRay7LZ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VtIJaWd7rU1s5jNYaEB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dElkSGnKaoYuu6CP2Br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W1sgw.Gjyn4D8TEoDlX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zfTJqjAzTHZcSZl3zBx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eD1AbMrzr7TKNKjzCi4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C4qo.BT1GLgFdJMe0r2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Z74mKEfo5wtRICz8Mdjg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RZCP_HzoW28ZbUzDGkg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Po1VJghTVpPPVJuZA13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kKWu.VDigpZoRe5C2gE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rt5fI37OvUtMVEtlp4h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XmIWBoj.FKUmDC51Oo3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ypnoEM43.wEPOxxjHcm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Bcj8y1QXS1jSWbGT35Qw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bzsXMSWH.ELOkx_z5bc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gF8FpBbR5WnJnQLnrI8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_ruaB577Cmk7tbRDzIE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awxJeG1xn6J9rdQDVQj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Abg7ClwOgzLaStit.WK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YZeSawpY151Swz8gogg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O48dz0zrFhPAhYHbObl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nrjfc3xHpatTYIRmpvc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5OEkN4uIupMg3by.1.r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vYeTb2O1nShBrtFc1PT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laXQPRTmKTpFWTwWUf5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MJV.g900FmZFyHIH4_y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U2aPFKTNin2pJzHAX3A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C1AUchQnGokGlx7A7id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TAnyAFRc.yiGM.rnPZE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LfujAJSi6KdJSvc1mw8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YTnFwqR4WYyMKPukHgi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.rWnmLSti085KWFU9uU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zA19qvSfW8DSjSDoA2c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tVYTT_SU2XWH_NHGI.3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9dURibTn2INNICOkfb2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bDaflAToO4yGqicA7zE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PDdhBGRKqEAXVr9TKZJ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3SyXwrT4GA7z8ONoaoE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ETdfvWCfcEh3ERiBTUR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lt894ahVl2norgwYIbNg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NOtYuvJKCpCgMddzJEW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XfmZwuNToXLy6M_UzZx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Qzy1IcQETskS91Wvyeag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Exi3iBqTRFkxPRQLuKC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AsIeYcleeJ0AnE7sbIw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uQpm93IaGzmlNhsa5_f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46uZVOQ0uvkiXO59leiA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WAaxHTL7eL1sIwfefLI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PqrUiH1KwtlmTZ3QfA7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oCL2u8iAUvf7oKkoO_6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Jx3kbfDyfDZJDEzkZrV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kDpWtwQQ66IRPmMEnk.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CEIUdrTjCO6OF1DTeONQ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eDT4IVQ.ixvqn1tiZBN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W0ikD9Tf2Y2h3kHFkIA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h7tnFARYON54OkUTQ26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zHA.ajQw2PNIziHC_OI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m_KvrfiysYPogYA1wY4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WDOIypT.a_0646Acao3w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dw8UgbSf6kwETodpjuM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m_RxjfRcqYrhx7TEHWF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clhHY2R3qaShGIl0Mox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N_dQifTj.LucBxfY73_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BzA0bSReKItmb40WqnL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LQgNz2_.vaPOjxJnu.S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JxsD5mR4uaZCi7aRBCZ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1j1Vd.SOinWQcGnzGO_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bhC29hX443RPQ_oPve1w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JzxISXT22rkWPkv9UXc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bvNBr3TEyTrR8Vyhi2jw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zAtWQ5TOyk_FliGt3kV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EeuZHBTTKlxM0ePEWv6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Xeq4klRSWTWxcwd472S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FQl2PFSH23JqB7J5NmU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B2Vg5ERVyPYY.DwH8J.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nKCeWETB2jCskFf0oJDA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7YhNFFTJOQIkAQn679d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6dqSpbR3KIkhX8Fv3hb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_Nj1wHLnJya.GqJPX2A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Iy_.iBQJGo3Z.PKrRgQ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zdO2c6R3Gv.ZZ_Lx1hEg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oIRLlJSlCOCT2fTpgnX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nm_DXRS0StRKbbGE0KpA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t8JpOdRA.04GgzyixJK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E.oe08S66l1CtwepGyH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cOTvDwSieXHDbvx1RqE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4AKvXXRkKpUeC95B1UQw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lzDeRUyqPtVjuKSYyT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bKbq_koBOnmMIDAlkgM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9SEvYMSTiUKjBNwwq5_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omXa9ZQyCdMZ9ca6glfA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PgpKvXQi21rpcLXnkP_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A0cKdrvhTUDC7lnKvmc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pc.NsWTy.NuVF5AmGMx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FN9EUUQSmeTtFMCJ3Kt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5wDOfSVuPSpRZO3CUog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EwurgOT_m0wrV1_XYsE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xVrRBeRsqM2TrXqXRnf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.XlDq.Q8WhMA5EZ8pVi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1BF4_DpPKsBJIUmub4Tg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avSrQIRWa56JyzUEgL3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iinOb6RTCHZwo6_W2Mf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Ff9p9WRwWKyi_sZeKV8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Z5.F3HS.6..ITXwq3wh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fisIOAR0eYsvY_B_SkAA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NRiF0RTyaQv.sZW9eEFw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FJAfXsQqugNuHCZC9QYw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2qZ4ReQsGJjOnrjd8xt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DATA0wSSawALCneozgx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aYIxvlSxm0btFJOqVp_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_aXfq99bTbFX7DHxwbx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rnROowQ8OFmgcFvh493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BXii0yQe63bfeYbDafJ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_gO.02QiSF3qq0nHQxL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TBn47RQ4isvsfJY_ef_g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D34NFfRd.mGIOGjg3sk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clhHY2R3qaShGIl0Mox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kRZOVqQdG95b44LWI4zQ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mjpcKUQuSp7Ak.ajFM3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9j4fHTQia44YwbOq4tf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ODnEvdSomQP8sipdrgU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RFrNkBKd1Vsq7cRXs62A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clhHY2R3qaShGIl0Mox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HT0Yb5Ht7WyVsIX7RBh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kiW.q4S1aS9YcvA2oA7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17SPUtQpKLc3utz5mIkA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nrxJIuS420ltMUQaqXJ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pUdmJoQZNMzdvz3cc8S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5d2TFYT4S13rFh1rgrd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Lq65HxSXO1KMPPAAY9C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okSD7jTKC442KFCxhvF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QUEQAQu0zKKtmHgS3Thw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zsU4_cQHm7ysCN3GPu8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h8NNUkRVu05f28HlpP8w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24Kn_2QiCkbMOfOqCm.w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vWOTwmRECR8Hz0Zbbt3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HYDewTTGCp8ChPaXT0_g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3_wYtzT56gvUonjU7mWw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CIz4itTR.9nW758gEIP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HWco8dSeGrDoIl6BUPJ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DGqn6eTPWiv3czE34Pi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QxNLgbROa.shb2uUb7B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rvU7N4An9EyKQU.3XOPA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g.VtdETaKuhCxe2eurd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Qq3ENSTTudGlBQGjMIb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.ju3q0TK2s0_WADVyxsg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na9YGHSi.ykQHDwa4DiQ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9..io2Qou5JWVCeftxK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F7wakKTvCeX9FrEIIdW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PpXsvFSSyu6N_iLTBb9Q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LZCljRTuSJMlTLLcPkA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k5b3ZyQSKJ4dIyXBmPrA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366cO_TwGjhYnevnhhq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dbLObb3Oy5fKNBjND.pw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t8n_rcQiWNXW.BEQ.snQ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lHW4xJRpmQ69xFX30Bew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clhHY2R3qaShGIl0MoxQ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j3bk_tKfU36o.06VksM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czWRZ9WSvtD.Ba1J2XHQ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uzBh0onMGnbrYdZZg0c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Jhhw9cnY_xs9CzGQiJQ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zSvhbTvqZh6tzmrHePOw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y8BE1Jg2stirOKrsmYH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4KoeGBzaY79dJzNrNGBQ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i5qdK8rMsx968qw.Ij8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c7IDRprhl1gzgtyHwas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0lFfD5xE3IRACaexMxO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4kZNNC9zHymwL.kwZk8Q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jDB47XEek0QOkZ8.Ax7w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Uc7QAIWDL7Q803D0PHF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LDC_wcRfG7Sv.cF9eF3g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q7Un6nTOmoewkUQgn5Uw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9CsVb4TTq8MIepw9hdQw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qswflzjfShUhJFJyYdG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e3kGiJJpuCQIJdkeVerQ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JU94xcair1ff8ZerXmAQ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F7eoiHv7bNqvgrtceFG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j.U2WTNgwpqQkeY5P.T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Fz_5WFi6cs0oXCabZ_eQ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tLNdJ6lc3Nx_SCZVdUe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1.PiAOW2kojLO8kUqS6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lbKqiIZkzR4E2EgG4gvw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22dSjCHnxzSUE.UfoopA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fQKiNBSO6leRc0yqiXC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AagcYKT8uFlbliN6qsx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I_0sV2W.tDb2.jewTvYg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yo2nPYa2XAzPuk.ft8_Q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NMoGVQY0NFeJ58U2cBw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zOc25xSvC4RvvsZDqH0Q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3FYXvxAB2RMALF5dfc3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eYgLD_3_uUu_jJjFJmpQ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teJE3jXW1jIuKmnZzFR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lafQQMOPGYwiHZMVEU4g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eeqozsuwicrgJwjZLLrw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ObAdO7QjFqJrvWrbGE9Q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NigffepeRGLClzq44e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XBsUYfIzBFa60jjglJHA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VBlBhaqfpepbPDGxBaTg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ld_h5Rdjef25EJ7fHUP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Kiyh4zdWov.66NagGI_A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pJEZsAyBI01tNtsXhW4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VsQfI5cMKZ4zHPwrlLlQ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clhHY2R3qaShGIl0MoxQ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yu88VnuoOFLvbVWxeCw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J8qrzznnKbMw6orcl7OQ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fIPytyW_DcJJpkxuQwL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z._oJ1rASjIx5VFbJIm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EkjGJ8tCUGuTwfmGYQ3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9HzH_xafHDch3DdFSdwA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5I7vTlvCsosBtOaJ7STg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Q9QoFr3u721E5OikSECA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J0wFms9EwD0diSRiP9W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IwQZsqCuq2geztU4_9xg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zDA9E1NY4k6iiBVWM3ug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IZMbxJKcjDK.O7TpMaQ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PdQ5YCFsOFf668Of7MX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YQL_CXFDPaUU5rQpA9i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5Y0wCoZTPYkDz4O37kkQ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B7Gr8s7UMAQBfLBGE62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J0l7g0rxflBha5kvIpbw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NBGLvJNjj5iMiEeVpqXA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VrS3RmomGovUYAIEdHs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oOnbjUgLLRQdsJLbr3cQ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7aN__clYv2cUS6syHDAQ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zx1WuV3LL8Joso_QocA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4koJgt1NRgDbBGgrYoSA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P56kP3EthKQkapdM0EP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KAVUXi16A7XdGljfGU5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6rHTsalpIdZmh5Wf5kkA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zDigFhhnUPK9k91G3wLQ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dh8HXZt7.K9Tg.5NEpb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qZdwe26Iknht8TjpAf2Q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.wzGDkBaVk9do5zi_yZ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u7bJV_0KuJDMk1vtQQfg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B5SWeV4q2lKcVe6WmJlw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_ZzO0LbaW.c37nRswDRA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1Qifa7ibVKC_CUzB5O8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oKmvIzx9Gvysof6qoNw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JdKH2WpOGF4wWg.rnTy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bJ37dpEiEpCeON_yTYHQ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d4faquzbWPdM73gpBmzw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4dorJwxVnx_mdPqqZslA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i1jxNmRfd_i8wojS.SZQ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LxgPlPtWssafHlRj2oLA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oR_ZPsgvt4tqy5Z9DK9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gCYwUKc5cGKjT8vOVLo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m40ig6r9AbCA4f_gonVQ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C4EOVx8cfZVpFM_wHIUg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o2wrcAkcqLtLc2NIT9Vg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oRDrDRnON6HOKJbZJvS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0sYlxhsIcSlYjs9iZB8Q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fyAA7PoTTDAxqRkoXV9A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R8O4TQJAqov24X_E8fFA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7SMXRlvlx.ZCrSfsYlO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wh.oYx3FC3TxA.J0EnAA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0fPIeId0iBrnX.AKdnpg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a3IwBy9sH.9tbS7Ymqpw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kN64ZuRBOS2UdYhHPI6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Af4ubbQtqwquyYxLddWg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QUt9rCQEKEZCgybYlnBQ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NEsWGWn0etpGkZHMAJp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JF9wRbC2cSrPaBcFPagg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sjuZN_ixGmMOILrix02w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.QjaH2ER5YE.Ag_lytG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jfmznoS_iwngxcCtBLZg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s4COVzMEKseLGCJdH5NA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ppM9n49Uc9RRZkVC9Gow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yy1cSyITfK3GB4wiBYfg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KLpImATBtNAxGCig9Gf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imwqW6u5ceOKzgU9gPrw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wt1_cOFvH6MgNuJEISG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.moCKCmb0vebd4wyJ3Y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_UBpG1ALU3T2.Lw_NoDQ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bIpC4ulXOc.hz4Lakz.A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nC4GuxxXiX7V0yend9d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z_NPQ1GEuE79LY.zoa3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5SaxadXE.llnmp6RdM8A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VsyCYyRrJBf3gOSJnQcA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ivZyHr0WttYYmq_BV3Nw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Ky_TO8Q9a4EEEOnYE7qQ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aUUqGREUCOSsReV4mrCA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HVSJoXy6b6LbJds02lE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p4drfqZ_aAlahv81pPSw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8vlgrx.ISgPIXclAG1Mw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LhaThbkES9hx31rG0z5A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JmAjpuU0ySCdvVuFDptA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f3DSKmvl7WB8IfRRPAxg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j4I2PxTu2lZ0blLdsAHQ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WFEN6Wzgg_2TKEhVlTaA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7NLFmWRCRQrilDfBUOM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FTlSqDOIpU5obtkf_5lg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iqNjHincyRheuZT6H0Qw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rE1NJRfCi_mtSfVpxGu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5SfNVgjFDBlKYo27QmGQ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BYwyiQSGOzE11AyX4N9g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TyFjffXsZxfqgPFSjCGg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E0alhcTbKKYXy9vrqdDQ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wh7rjUgkmjIrINJwn81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mAQzQw4WQTh5bD3tM6Fw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V7baFDRhmAN8VOJLaNTg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alBhXtRLuLmaPxyrRMgQ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FADFOb6OAyA5Sn2I37LA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CY2B0mT4OUUNwCYmbB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wpcgRrj0.G51EIO3qy.Q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DlP3dAb2HOgJcw1EcAog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rP5bccZEW64w1ZSxKY2Q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X2_cB7Js6t8ETcvGkU9w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yhl7Z3v72tYptRHkZgLQ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_eAVu.i9IbKT3SkI9EhA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G8XMjPFuHkzSkkSnvTl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.TdcL41PAhEs19GT785Q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lteW6GZKHuysyfWmrZrw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UMCY6iAYBohssTDhCK0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clhHY2R3qaShGIl0MoxQ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..FXeqxb3Q56c6oOI56g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rFPWYlCa4ynZI39BxTiA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yRWQE9ExY4lSn1PT6GlA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p1bCqy8zSbousHkN00jA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clhHY2R3qaShGIl0Mox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lWx6Nc0UHF1Mh7ligAwQ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F2ZdM8P6P4J_0YzmkRlg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1dPMHY_svwRHvAzCiy_Q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YkuBwadcVERrn0m4ADP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ojdnsFSvOsjRXUZx2x_g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fIPytyW_DcJJpkxuQwLw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EkjGJ8tCUGuTwfmGYQ3A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J8qrzznnKbMw6orcl7O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6yQe.0ZDnin3Ty68Ty7A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dHuVJWwLYST2BymW5b_Q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koK9hnzggymiWNDzM4U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wdc85peh06g70926AuDw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fGKbkbi0dESb2HpLqIRw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STX3kxWPVRZhXP9mK0xg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pqufCVjH3Yb1AUDvu7o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RbnAk3RjaCACOjlJQXeQ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tIO0snbyPcapmVZJL92A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J9ZjF4DrNHpmvX1EX.Ow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Xvak7JCovGdHPvx4pCaQ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.wzGDkBaVk9do5zi_yZQ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R1d3XFtrvVLiVAkVjFgw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a0rM46Igw8iIskQ.t7wg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dh8HXZt7.K9Tg.5NEpb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4koJgt1NRgDbBGgrYoSA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4CwKUXXEEa8gyGn4cXxg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P56kP3EthKQkapdM0EP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nMDRe9Q.quuS1X9dc1Yw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ZP7NWHAOh.74SVdv3OYw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u7bJV_0KuJDMk1vtQQfg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LrNDDstfbNlduqgJqwpw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odtd6VPhP79iYjDHt.zg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pjpOKiH38kOxq3_VZCi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qZdwe26Iknht8TjpAf2Q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B5SWeV4q2lKcVe6WmJlw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j1RE4pmLp3hbOdS06rw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_d4h3br.sTkPJ44NDVL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zumU5bI1Q56_Kdi6dmO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HiROznRd.54SiC2bKdcg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d4faquzbWPdM73gpBmzw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2QGoB.DtLoMCww_7xHQ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9okMeGT8dXfXXO_nec4A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86HvSfzEsf0Eqn3W7uLg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SeCKcTJMIsQlxSZdKu8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m40ig6r9AbCA4f_gonV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o2wrcAkcqLtLc2NIT9Vg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C4EOVx8cfZVpFM_wHIUg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oRDrDRnON6HOKJbZJvSQ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fyAA7PoTTDAxqRkoXV9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L.x__LRaOjND8O32tRT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R8O4TQJAqov24X_E8fFA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wh.oYx3FC3TxA.J0EnAA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7SMXRlvlx.ZCrSfsYlOw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clhHY2R3qaShGIl0MoxQ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ouvNzPS6OZGJZNn9qaKg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32IFOOTRu8s51vSI67Mg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U.SNRYRluwIrcU.FDHIg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0Nt9kDS3CAqUwtI.IwfQ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JgJ6yRQieYAsBUF4VnA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P4aBPMNQox.qJB54ir6g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a9icThQfStnKeZUHB9IQ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wqIizWQlm1ETovMeBJfg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lZTI_bSDi6X8zXnZvlWw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vwSQ.24z1sRWSUAesWYg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g2QyVIOxz.lj4URfmj4w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.z5lXw7dLbuVLi.QUjaQ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e2_O5oc2k017pA41rO1g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Zy0ojJSrGkE0Rcs33xXg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sKO8xMR6iStBN_lzt1.g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OwXi2hTw2VQ_zxviAVB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6K2ihsTxe2P3GGSlbmmw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uqTdSgTuCiUrr2mpNTYQ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QNkBeASjWpMS06HM0_Tg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Ls.43SQI.vO1iXqm.2Tw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c.TxITBI8lPfBc6Z6tpA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ift9x_Zd7v7bGZRTWRIg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UWQWW8qI2Xr8hDfeMvcQ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9BNX6AlyvReqXzVB8O5w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DoyTGa_G4QGgyS9fPYcg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azpRawKjl9w2EoKqfL4g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g7fy5mkY04EuY8ecfRs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crqkS8R2.b_OP0BIy.RA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lBKoupUkLSs5e7DTNuyQ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lF0N79iZSI6Pa20MOu7Q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WwLRjXye94ZqIqmianKA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_CWEH7LiKsi_3ixdCHNQ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TGHVdMOdQArfZHDwMnHw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WwXHXx6QLRtdkigNcKew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bx2PmR_qzHRneESEIvHg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fnohMkqsjSvHe2MM5D0Q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_rIaxVxrwXNbqzxKRsgg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KSaaNCGFPNjELc8WSV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jO_Qw7GS6UhRTeSHnrXQ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OfcEfCNp5DIQgv0bGcmg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O4YIGBxCiNHIRymfnQAw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ia8hkVSsOVznUzmEl.Fw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MbD2cBRHeFVPvQXXtfdg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6RD729RXWx0xDTtBWrvA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b.3Xpn8rei89TzDeOZMQ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t3BC1ITdOsX_yRV6S2UA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v1or.Y2HZPG.J.HJmAQg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3TnoiiEIz1OtIQgYTwBg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kGJzD0RmCOWCFjL3j8v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0cbrFpgiVQIKnKZLic3g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tmUJ3xT4Scf6.GMVEf2w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LCgWV2EMhwJzgoE3DFsQ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KSMjQfXEMC.2u_PehvwA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dpih_B3XZ2GYSEVlwIzA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uQwmrN8Hb10NuNajy3Sg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qGw9jiBxNPxeO9zzUwFw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G0Kzu7DGvxzGO91xjByw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TNk4S39LtcBPmn8iO0BA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HhiQztowOS4zmzMJhNXQ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5ZiRhMvwLs8Z0oJ3y_M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d__tYGQd.GQt.HVNGGuw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szws.iQaKzVH9krl4fFg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TjlVmzTwiKPArCWiTdzg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A8IYIZQO.I0.v6vN9XAg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gJdvUCScGV2v7m5_6eqA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NNssPGlmi0yhAX8n2VQw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6ioNYa96ciyg8WGUsNGg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3WGW94lnMVy8bTpxLOUQ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_F3.XPqlgXQr0SfCZsLQ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noO75p8.JTUz64Fs_cMQ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9qtH2tfI4FbQ_NFxtxt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s1bpZSSkCeqd8KkP.DwA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0.Urur_xS90nU5QOGrxw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3aN6tAQ.miCSQ.Qe2SIQ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atHrZsSTOIXTpJX3nU8A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H8H.nd.xmrgKHSaW1H.g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VM_tN.5Ou4hV7PtC4Psw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rqhx8JMeGjY_ykIRHmzg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Z_09mX15Dfe.V9Md6oGQ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clhHY2R3qaShGIl0MoxQ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HYVJL9CoiaWIcyPp8WG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2wh0etHR.4_LfAISDddA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Ugq1rvpxwKSX8CBARFXA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lEh8.AN27d0wbmBdYCLQ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IVgn53Us9izWRm3c2q1w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xltyJ8htKi45M1o8.Hkg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.XO.nc0uC6LkOybXFbuA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Kb9Qhw7M6wv1yFoY_8Ww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3jorNB.qjxO1VPwGjBug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DpITVVWpEITm3GNFvjxw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tP6V7XZWybPhjPg7HFBw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IbAALDBtLFpElY8NUlb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_8ot1qTymWTHf5dPKm6Q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_diU6c.AvxuMzLy8D5gA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2RHgZUgpqqw53rIo_brg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ptlMv_gthBNksyo6kJyQ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kW5Guw46IDhrzw8_OjDw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mJ.fRzbZBVMeIX0M9w6Q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QBvAnPVlCyEQvMkvcWaA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q9D51upZdXRw16WgOoWA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1KUPRabNMPCAtj0XVxEg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2NY8MayE6mfBn5MP6wRg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SuzmjWQIfDbuYGvzeXR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DKAbsselwSnTGr7E.BuQ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shGoHyEH7WTQWH3CYrOw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bd9JOUDdr9huGdOFkvJw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e03F_oLa4d8_BPKcX62Q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oLZrwmgNPGlHOr4NyYew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1GBE4Mf2XKedpRVOxpqw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0lW4mNTxMiBwT_.yPJ0Q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15upTyCgigMAifbFjHKg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u.vj9Oe8qunsFMCFGkEg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8feJ4lfUyuxkoybRZs_Q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sWcAHcJip1C.E_4g3oi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hQ8V6YRhuiAAyqc9oWbQ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pOoAnD_6qFX2CUJDLzBw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SNxv5RCQHwVLcrTi9Fuw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9xtiXVUQThdoOOLCVekw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OOHHzW_UIzO3PSAvePmg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1.DbiLSGlN6cuAniQ3Mg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e6YNUGWIpwcZSY3EFmYg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PO8u0NqrvB.jh4UDq_hQ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EsyUfgcWn3JRGmYcRqMw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po7B_ePBE.WTsrA4rLgw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kTcvOeHL.jg7imj.JZJ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EWcJ0FSaG7jdflAHPqjA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ua.9kBT.jAhUbMfUwOgQ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TwQ9BzvVxPsO.eIkifGw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eXFnAy.0.oz.B1Wiw8IQ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nMQdB3UHioHqz5lhcM_Q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TGVqONB8oLhcEsTsEZwA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ts5pYLNBrdz8QfJ9iYJg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WlkFTVMv9itz9FXH7A.w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GpQTYBBZbC1Bo0LzP3qw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GDwbAtFnPOODluOz3qcQ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FvgdFYIbX_lzu9cizk7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SSzA5fTKKz7sTAwgr8Mg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fZKzRnEXdssbMrT84VlA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CgM1ofFwzYs0hqUo2Seg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zkbPZMInORDgzVusVpEQ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IizHwZJ6nBMi_Gk27rFw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UXuaQIX7jx.jhkEP18iw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7nz6_9sF8DKpFJoEUNUQ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NPyazv5goVmy4J1rTTA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mvdhrvhDBeLLlAIo_vog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wZAMLbKNVB2jmpKyzkeQ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bpQSru4amPZmhoWWTY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WiCxZBSKK6AVHlVpObgQ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Nnq1bRgBFmhQPtOYH.KA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tRPpTtU_R3lRCIUCkNIQ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JobzOyq0GU200TUYnhyw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bnWtj.LOeqONzJSYFMQg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YsawWfM8_borm7_nPV5g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F8dEcjThZXoy330FqWKQ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KNM4MozOAh.Os9YStbDg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U2tSpfalXU_P0QQ8W.GQ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AT2UygAYSVz043DjpdHQ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HWzKvVLLS.7PG.hskss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Zhgwe8Cu6S.O8JsgRNvQ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llwyQJAt53ZJJje4ScAw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2PUrx3IwYCQnqQNwKoAw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n2AOUAoZb4Od77lB4_6A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_DZo9z6lrkSevmxrE9Iw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0EmoOfvdQt3yfqymi2cw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9U1FUHPQ2th5fQZMLTyA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5VlvlV05_pgisIeYFXLA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dpkbP.jFhkAme4UzVBLQ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NgFKD5wxPrc4bg1H0oIQ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fuXwpEtyb3y1UNs2l.4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lUn1C7yin0YW8Z2vWDvg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AZv33cjKUboMrgHFEPqQ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3_a663A2CZA9icv6Nsew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bDb_tusyxXATn1L5ayDQ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oLluddSPu_wuoA2_fas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nlIlHK6XaIT3Wn.jH18g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_ESxPugfHEtM5_9pXQcA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LQGgC5QHy2GyZiKOVcYA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W2hegLAPMrAn.4JU8mnA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tfM7QAQiqOWTnc_cQhF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4IQgtFTCim.3Rv5VsV5w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TNVGXgHX3WkSDnzY4syw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x6_jzz6eOp0B38noOWAw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tcez4YTmuFMuQk_sTU5g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A.zL9Klyu6.Zr7jQdkaA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srVXuSPRZy2M1UJuPMDw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_5iOtVTmep6ghCa1oJcg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swHebGRy6fgCnMnZNnVA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SVb9A6TqaL_TILlvg.RA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iy7mMFRKqHwG_tXV7hjQ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ZYwxJ8SCaWn1pQW8CRM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es5Sz_Z6jYQU3MrtdLNQ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pnT4Z.Q5y65TBYNpaBzw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90.kU1SsGZaCgvlWM_MQ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OcBoomReiJZA_0rDM81g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McBtINEm4L_iMrxVMj9A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71K0K4REOMS9R7_oZhHQ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wFXe1W5Aem62yFWvTEVg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wBjLkc3wyTd1jq4Ry2Rg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Duy3NEQZCu77jRQIF5PQ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K9Scprs_qETsKb71yr7A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Bv7_sP5keQRDa.j.lPh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cMW2kASd2CCDucuZ2PwA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clhHY2R3qaShGIl0MoxQ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Qddy3urycyT7zvZSzx2g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JE7f_iQpexjr118TaSyA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96JDbfT2.s8XJDtz3EHQ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HLk0GRvX4ph6DvpDB71w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_dpaIPTKOLCzcC0MRuhA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YWwz1mQQ6dmTgFghjuXA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Q4PhnMRWCt3y035G2apg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NC6P9PkXdPCMc8Erp99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qAHOsSQbOEzFsSeqDZ0w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JI6R5jDYeebkGUN7YPRw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v60rw1RfqqQO94LW635Q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FzTiX9TCiJ4vpIZmxkuw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9roooYS3mB518u5MmYZQ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hV1YULutnHOhbu9wQKAw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4rKq2zTdGdFChY0SXlcQ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lTiALBivh55fkjknbhFQ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hxV0YOSc6w29ZPvq4PUQ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xtnmQlR.uR_xSlvD9J9A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9xBNVCQi8ihr00FCUA5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xHv4jFS9.SNIsTzwR3_A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GWFWcyKKWzXA4TzgNquw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JSBooaRiGWPzh4z7C4fw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HI8O_zSZWts9yAlysFJA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kF3volQum4IvcHwimC7g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_gst.Xs831Tv_PyKPHCQ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ZeRMWLTaCjPH9y8KWeLA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e2L85KRUKi3PmCzvFoyg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aq8Q8XTfK8DHeNyv_BCA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iNEbPtj3ESgkylR8iH4Q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cxNJ4HRTyuEdPvduQQB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2byOBlTWCI2kCVlbmMNQ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ufCvnSSQm0cjt99P8VRw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.eFS.VQMuie6ewUkat_A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qUehweR4SUhs5eojb1sA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3aE1g9TyevlD3HzPhf4g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LyZJCOT5iL.BvrMlXjCQ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3EpHCqQDeAOc1tz9lLbA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okkIQUTueY215ZmeK.xg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WNk1zVS1iaE2_lXE_6fQ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3XO8IOSiiC8fbrSy78dg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oKtmteQQ62xlhRanYhN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2tuZgWS7ilmbDEsxFKqg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Y7f.KRQ.O5Scx.b3twvQ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uFtah7TmqsADk0jR1FeA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oNUJyWRhuYI3Alx8PtjQ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se4BUlQtW.FzYz10SN1w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iIOiMhR9qE9YAa9Q1ROA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O2NY9sTLyMqVSRlXfkUA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hUAk4sS_qi3ZqdH9ChwQ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bsKtXsSwa81ens7WbMwg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c8cBOsTECjMDke.hxonQ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50V_cnSzCO2oEn1rnymQ"/>
</p:tagLst>
</file>

<file path=ppt/theme/theme1.xml><?xml version="1.0" encoding="utf-8"?>
<a:theme xmlns:a="http://schemas.openxmlformats.org/drawingml/2006/main" name="IQVIATemplate_WS_2017">
  <a:themeElements>
    <a:clrScheme name="IQVIA">
      <a:dk1>
        <a:srgbClr val="2B3A42"/>
      </a:dk1>
      <a:lt1>
        <a:sysClr val="window" lastClr="FFFFFF"/>
      </a:lt1>
      <a:dk2>
        <a:srgbClr val="3F5765"/>
      </a:dk2>
      <a:lt2>
        <a:srgbClr val="FFD100"/>
      </a:lt2>
      <a:accent1>
        <a:srgbClr val="00A3E0"/>
      </a:accent1>
      <a:accent2>
        <a:srgbClr val="005587"/>
      </a:accent2>
      <a:accent3>
        <a:srgbClr val="FE8A12"/>
      </a:accent3>
      <a:accent4>
        <a:srgbClr val="43B02A"/>
      </a:accent4>
      <a:accent5>
        <a:srgbClr val="027223"/>
      </a:accent5>
      <a:accent6>
        <a:srgbClr val="00C7B1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72000" tIns="72000" rIns="72000" bIns="72000" rtlCol="0" anchor="t" anchorCtr="0"/>
      <a:lstStyle>
        <a:defPPr algn="l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>
        <a:spAutoFit/>
      </a:bodyPr>
      <a:lstStyle>
        <a:defPPr indent="-171450" algn="l">
          <a:lnSpc>
            <a:spcPct val="90000"/>
          </a:lnSpc>
          <a:spcBef>
            <a:spcPts val="400"/>
          </a:spcBef>
          <a:buFont typeface="Arial" panose="020B0604020202020204" pitchFamily="34" charset="0"/>
          <a:buChar char="•"/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C6F045F7-BA6A-41BB-8BA5-45666DE6E50E}" vid="{F4C31C11-16F3-4016-960E-113C4237ABB0}"/>
    </a:ext>
  </a:extLst>
</a:theme>
</file>

<file path=ppt/theme/theme2.xml><?xml version="1.0" encoding="utf-8"?>
<a:theme xmlns:a="http://schemas.openxmlformats.org/drawingml/2006/main" name="1_IQVIATemplate_WS_2017">
  <a:themeElements>
    <a:clrScheme name="IQVIA">
      <a:dk1>
        <a:srgbClr val="2B3A42"/>
      </a:dk1>
      <a:lt1>
        <a:sysClr val="window" lastClr="FFFFFF"/>
      </a:lt1>
      <a:dk2>
        <a:srgbClr val="3F5765"/>
      </a:dk2>
      <a:lt2>
        <a:srgbClr val="FFD100"/>
      </a:lt2>
      <a:accent1>
        <a:srgbClr val="00A3E0"/>
      </a:accent1>
      <a:accent2>
        <a:srgbClr val="005587"/>
      </a:accent2>
      <a:accent3>
        <a:srgbClr val="FE8A12"/>
      </a:accent3>
      <a:accent4>
        <a:srgbClr val="43B02A"/>
      </a:accent4>
      <a:accent5>
        <a:srgbClr val="027223"/>
      </a:accent5>
      <a:accent6>
        <a:srgbClr val="00C7B1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72000" tIns="72000" rIns="72000" bIns="72000" rtlCol="0" anchor="t" anchorCtr="0"/>
      <a:lstStyle>
        <a:defPPr algn="l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>
        <a:spAutoFit/>
      </a:bodyPr>
      <a:lstStyle>
        <a:defPPr indent="-171450" algn="l">
          <a:lnSpc>
            <a:spcPct val="90000"/>
          </a:lnSpc>
          <a:spcBef>
            <a:spcPts val="400"/>
          </a:spcBef>
          <a:buFont typeface="Arial" panose="020B0604020202020204" pitchFamily="34" charset="0"/>
          <a:buChar char="•"/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C6F045F7-BA6A-41BB-8BA5-45666DE6E50E}" vid="{F4C31C11-16F3-4016-960E-113C4237ABB0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596CD142687024384F5062B61CA14CA" ma:contentTypeVersion="12" ma:contentTypeDescription="Create a new document." ma:contentTypeScope="" ma:versionID="206752585277d2607be2e4e6513ed12a">
  <xsd:schema xmlns:xsd="http://www.w3.org/2001/XMLSchema" xmlns:xs="http://www.w3.org/2001/XMLSchema" xmlns:p="http://schemas.microsoft.com/office/2006/metadata/properties" xmlns:ns3="ece6fbec-e7b3-43e6-a5bc-487f41c90acb" xmlns:ns4="24fddd24-6be3-47e2-baa2-04740993df3c" targetNamespace="http://schemas.microsoft.com/office/2006/metadata/properties" ma:root="true" ma:fieldsID="d15413012c6ad3349d9f3272a4b7eb1f" ns3:_="" ns4:_="">
    <xsd:import namespace="ece6fbec-e7b3-43e6-a5bc-487f41c90acb"/>
    <xsd:import namespace="24fddd24-6be3-47e2-baa2-04740993df3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e6fbec-e7b3-43e6-a5bc-487f41c90a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fddd24-6be3-47e2-baa2-04740993df3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A385F09-4618-4CAB-A6B7-E217F3742D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ce6fbec-e7b3-43e6-a5bc-487f41c90acb"/>
    <ds:schemaRef ds:uri="24fddd24-6be3-47e2-baa2-04740993df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55850B8-237D-49CD-84EC-811876DDF15C}">
  <ds:schemaRefs>
    <ds:schemaRef ds:uri="ece6fbec-e7b3-43e6-a5bc-487f41c90acb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24fddd24-6be3-47e2-baa2-04740993df3c"/>
    <ds:schemaRef ds:uri="http://purl.org/dc/terms/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6B06505-65D4-4E56-B121-8CF8A91A1B34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989ece0-f90e-40bf-9c79-1a7beccdb861}" enabled="0" method="" siteId="{5989ece0-f90e-40bf-9c79-1a7beccdb86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01_IQVIA Widescreen_Template</Template>
  <TotalTime>47421</TotalTime>
  <Words>7251</Words>
  <Application>Microsoft Office PowerPoint</Application>
  <PresentationFormat>Widescreen</PresentationFormat>
  <Paragraphs>2507</Paragraphs>
  <Slides>45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3" baseType="lpstr">
      <vt:lpstr>Arial</vt:lpstr>
      <vt:lpstr>Arial Narrow</vt:lpstr>
      <vt:lpstr>Calibri</vt:lpstr>
      <vt:lpstr>Verdana</vt:lpstr>
      <vt:lpstr>Wingdings</vt:lpstr>
      <vt:lpstr>IQVIATemplate_WS_2017</vt:lpstr>
      <vt:lpstr>1_IQVIATemplate_WS_2017</vt:lpstr>
      <vt:lpstr>think-cell Slide</vt:lpstr>
      <vt:lpstr>Market Trends Q1/2023</vt:lpstr>
      <vt:lpstr>Pharma Market Trends</vt:lpstr>
      <vt:lpstr>Key findings: Overall</vt:lpstr>
      <vt:lpstr>Key Terms</vt:lpstr>
      <vt:lpstr>PowerPoint Presentation</vt:lpstr>
      <vt:lpstr>PowerPoint Presentation</vt:lpstr>
      <vt:lpstr>€4.55B the estimated pharma market size at retail prices (excl. L.3816 drugs)</vt:lpstr>
      <vt:lpstr>~27% the value market share of Generics in MAT/03/23</vt:lpstr>
      <vt:lpstr> Total market increased by 9.0% in Q1/23 vs. Q1/22</vt:lpstr>
      <vt:lpstr>Sales in the Reimbursable market increased by ~8.1% in Q1/23 vs. Q1/22</vt:lpstr>
      <vt:lpstr>The estimated value of the Reimbursed units is reaching ~€3.5B (PSP) in MAT/03/23</vt:lpstr>
      <vt:lpstr>The estimated value (PSP) of the Reimbursed units is 86% of the total Reimbursable market value</vt:lpstr>
      <vt:lpstr>In terms of units, ~78% of the total Reimbursable units are estimated to be Reimbursed</vt:lpstr>
      <vt:lpstr>The Greek pharma market in MAT/03/23 is reaching €4.55B at retail prices; MAT/03/23 values increased by 5.9% vs. MAT/03/22</vt:lpstr>
      <vt:lpstr>The Reimbursed market in MAT/03/23 is reaching €3.5B at retail prices; MAT/03/23 values increased by 5.0% vs. MAT/03/22</vt:lpstr>
      <vt:lpstr>In terms of volume, Greek pharma market in MAT/03/23 increased by ~3.5%, reaching to ~441M units, driven by Gx performance</vt:lpstr>
      <vt:lpstr>In terms of volume, Reimbursed market in MAT/03/23 increased by ~3.7%, reaching to ~268M units</vt:lpstr>
      <vt:lpstr>Q1/23 market values increased by ~9.0% vs. Q1/22</vt:lpstr>
      <vt:lpstr>In terms of volume, Q1/23 increased by ~7.0% vs. Q1/22</vt:lpstr>
      <vt:lpstr>Off-patent and Gx value &amp; volume m.s. in the Reimbursed Market increased (Q1/23 vs. Q1/22), while On-patent and Other decreased</vt:lpstr>
      <vt:lpstr>Drugs with PSP&lt;€15 account for ~38% of the Reimbursed market in values</vt:lpstr>
      <vt:lpstr>The market is concentrated in the low-price segments; Drugs with PSP&lt;€10 account for ~67% of the Reimbursed market in volume</vt:lpstr>
      <vt:lpstr>The market is highly concentrated in the low-price segments, while drugs with PSP≥€75 represent only ~5.3% of total # of Reimb. SKUs1</vt:lpstr>
      <vt:lpstr>PowerPoint Presentation</vt:lpstr>
      <vt:lpstr> Top-4 ATC-1s account for ~70% of the Reimbursed market</vt:lpstr>
      <vt:lpstr>Reimbursed value sales increased in the last 12 months across top-4 ATC-1s, except N and B</vt:lpstr>
      <vt:lpstr>Market values in the Reimbursed market are increasing vs. STLY for the majority of top 10 (WHO) ATC-4s</vt:lpstr>
      <vt:lpstr>PowerPoint Presentation</vt:lpstr>
      <vt:lpstr>Average price slightly decreases compared to Q1/2014</vt:lpstr>
      <vt:lpstr> In terms of ATC-1, the price growth is driven by A and B categories vs. Q1/2014</vt:lpstr>
      <vt:lpstr>PowerPoint Presentation</vt:lpstr>
      <vt:lpstr>~€46M price drop is outpaced by growth in volume (~€150M) and volume mix (~€149M)</vt:lpstr>
      <vt:lpstr>~€56M price drop in the Reimbursed market, outpaced by growth in volume (~€122M) and volume mix (~€104M)</vt:lpstr>
      <vt:lpstr>PowerPoint Presentation</vt:lpstr>
      <vt:lpstr>On-patent products in Greece have one of the lowest average prices in EU</vt:lpstr>
      <vt:lpstr>On-patent drugs in Greece have one of the lowest average prices, compared to other EU countries with similar GDP per capita</vt:lpstr>
      <vt:lpstr>Off-patent products in Greece have the 4th lowest average price in EU</vt:lpstr>
      <vt:lpstr>The prices of the off-patent drugs in Greece are close to other EU countries with similar GDP per capita (apart from Slovakia)</vt:lpstr>
      <vt:lpstr>Generic products in Greece have the 2nd highest average price in EU, being 36% higher vs. EU average</vt:lpstr>
      <vt:lpstr>Generic products in Greece have the highest average price, compared to other EU countries with similar GDP per capita</vt:lpstr>
      <vt:lpstr>Greece has similar price distribution to Portugal, having most drugs at low price points</vt:lpstr>
      <vt:lpstr>Pharma expenditure in retail channel per country was increased the last 3 years from ~3% (United Kingdom) to ~23% (Austria)</vt:lpstr>
      <vt:lpstr>UK and Germany have the highest market shares of generic drugs, while Portugal and Austria have the lowest</vt:lpstr>
      <vt:lpstr>Please contact us for more inform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QVIA Consulting</dc:creator>
  <cp:lastModifiedBy>Kyriaki Tsoumpi</cp:lastModifiedBy>
  <cp:revision>1823</cp:revision>
  <cp:lastPrinted>2020-02-19T13:57:44Z</cp:lastPrinted>
  <dcterms:created xsi:type="dcterms:W3CDTF">2017-11-22T21:40:24Z</dcterms:created>
  <dcterms:modified xsi:type="dcterms:W3CDTF">2023-06-12T10:41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596CD142687024384F5062B61CA14CA</vt:lpwstr>
  </property>
</Properties>
</file>